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application/x-fontdata" Extension="fntdata"/>
  <Default ContentType="image/jpeg" Extension="jpeg"/>
  <Default ContentType="image/jpeg" Extension="jpg"/>
  <Default ContentType="image/png" Extension="png"/>
  <Default ContentType="application/vnd.openxmlformats-package.relationships+xml" Extension="rels"/>
  <Default ContentType="application/vnd.openxmlformats-officedocument.vmlDrawing" Extension="vml"/>
  <Default ContentType="application/xml" Extension="xml"/>
  <Override ContentType="application/vnd.openxmlformats-officedocument.presentationml.presentation.main+xml" PartName="/ppt/presentation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slide+xml" PartName="/ppt/slides/slide11.xml"/>
  <Override ContentType="application/vnd.openxmlformats-officedocument.presentationml.slide+xml" PartName="/ppt/slides/slide12.xml"/>
  <Override ContentType="application/vnd.openxmlformats-officedocument.presentationml.slide+xml" PartName="/ppt/slides/slide13.xml"/>
  <Override ContentType="application/vnd.openxmlformats-officedocument.presentationml.slide+xml" PartName="/ppt/slides/slide14.xml"/>
  <Override ContentType="application/vnd.openxmlformats-officedocument.presentationml.slide+xml" PartName="/ppt/slides/slide15.xml"/>
  <Override ContentType="application/vnd.openxmlformats-officedocument.presentationml.slide+xml" PartName="/ppt/slides/slide16.xml"/>
  <Override ContentType="application/vnd.openxmlformats-officedocument.presentationml.slide+xml" PartName="/ppt/slides/slide17.xml"/>
  <Override ContentType="application/vnd.openxmlformats-officedocument.presentationml.slide+xml" PartName="/ppt/slides/slide18.xml"/>
  <Override ContentType="application/vnd.openxmlformats-officedocument.presentationml.slide+xml" PartName="/ppt/slides/slide19.xml"/>
  <Override ContentType="application/vnd.openxmlformats-officedocument.presentationml.slide+xml" PartName="/ppt/slides/slide20.xml"/>
  <Override ContentType="application/vnd.openxmlformats-officedocument.presentationml.slide+xml" PartName="/ppt/slides/slide21.xml"/>
  <Override ContentType="application/vnd.openxmlformats-officedocument.presentationml.slide+xml" PartName="/ppt/slides/slide22.xml"/>
  <Override ContentType="application/vnd.openxmlformats-officedocument.presentationml.slide+xml" PartName="/ppt/slides/slide23.xml"/>
  <Override ContentType="application/vnd.openxmlformats-officedocument.presentationml.slide+xml" PartName="/ppt/slides/slide24.xml"/>
  <Override ContentType="application/vnd.openxmlformats-officedocument.presentationml.slide+xml" PartName="/ppt/slides/slide25.xml"/>
  <Override ContentType="application/vnd.openxmlformats-officedocument.presentationml.slide+xml" PartName="/ppt/slides/slide26.xml"/>
  <Override ContentType="application/vnd.openxmlformats-officedocument.presentationml.notesMaster+xml" PartName="/ppt/notesMasters/notesMaster1.xml"/>
  <Override ContentType="application/vnd.openxmlformats-officedocument.presentationml.tags+xml" PartName="/ppt/tags/tag1.xml"/>
  <Override ContentType="application/vnd.openxmlformats-officedocument.presentationml.commentAuthors+xml" PartName="/ppt/commentAuthors.xml"/>
  <Override ContentType="application/vnd.openxmlformats-officedocument.presentationml.presProps+xml" PartName="/ppt/presProps.xml"/>
  <Override ContentType="application/vnd.openxmlformats-officedocument.presentationml.viewProps+xml" PartName="/ppt/viewProps.xml"/>
  <Override ContentType="application/vnd.openxmlformats-officedocument.theme+xml" PartName="/ppt/theme/theme1.xml"/>
  <Override ContentType="application/vnd.openxmlformats-officedocument.presentationml.tableStyles+xml" PartName="/ppt/tableStyles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theme+xml" PartName="/ppt/theme/theme2.xml"/>
  <Override ContentType="application/vnd.openxmlformats-officedocument.presentationml.tags+xml" PartName="/ppt/tags/tag4.xml"/>
  <Override ContentType="application/vnd.openxmlformats-officedocument.themeOverride+xml" PartName="/ppt/theme/themeOverride1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themeOverride+xml" PartName="/ppt/theme/themeOverride2.xml"/>
  <Override ContentType="application/vnd.openxmlformats-officedocument.presentationml.tags+xml" PartName="/ppt/tags/tag7.xml"/>
  <Override ContentType="application/vnd.openxmlformats-officedocument.presentationml.comments+xml" PartName="/ppt/comments/comment1.xml"/>
  <Override ContentType="application/vnd.openxmlformats-officedocument.themeOverride+xml" PartName="/ppt/theme/themeOverride3.xml"/>
  <Override ContentType="application/vnd.openxmlformats-officedocument.presentationml.tags+xml" PartName="/ppt/tags/tag8.xml"/>
  <Override ContentType="application/vnd.openxmlformats-officedocument.themeOverride+xml" PartName="/ppt/theme/themeOverride4.xml"/>
  <Override ContentType="application/vnd.openxmlformats-officedocument.presentationml.tags+xml" PartName="/ppt/tags/tag9.xml"/>
  <Override ContentType="application/vnd.openxmlformats-officedocument.themeOverride+xml" PartName="/ppt/theme/themeOverride5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themeOverride+xml" PartName="/ppt/theme/themeOverride6.xml"/>
  <Override ContentType="application/vnd.openxmlformats-officedocument.presentationml.tags+xml" PartName="/ppt/tags/tag14.xml"/>
  <Override ContentType="application/vnd.openxmlformats-officedocument.themeOverride+xml" PartName="/ppt/theme/themeOverride7.xml"/>
  <Override ContentType="application/vnd.openxmlformats-officedocument.presentationml.tags+xml" PartName="/ppt/tags/tag15.xml"/>
  <Override ContentType="application/vnd.openxmlformats-officedocument.themeOverride+xml" PartName="/ppt/theme/themeOverride8.xml"/>
  <Override ContentType="application/vnd.openxmlformats-officedocument.presentationml.tags+xml" PartName="/ppt/tags/tag16.xml"/>
  <Override ContentType="application/vnd.openxmlformats-officedocument.presentationml.tags+xml" PartName="/ppt/tags/tag17.xml"/>
  <Override ContentType="application/vnd.openxmlformats-officedocument.presentationml.tags+xml" PartName="/ppt/tags/tag18.xml"/>
  <Override ContentType="application/vnd.openxmlformats-officedocument.presentationml.tags+xml" PartName="/ppt/tags/tag19.xml"/>
  <Override ContentType="application/vnd.openxmlformats-officedocument.presentationml.tags+xml" PartName="/ppt/tags/tag20.xml"/>
  <Override ContentType="application/vnd.openxmlformats-officedocument.presentationml.tags+xml" PartName="/ppt/tags/tag21.xml"/>
  <Override ContentType="application/vnd.openxmlformats-officedocument.presentationml.tags+xml" PartName="/ppt/tags/tag22.xml"/>
  <Override ContentType="application/vnd.openxmlformats-officedocument.themeOverride+xml" PartName="/ppt/theme/themeOverride9.xml"/>
  <Override ContentType="application/vnd.openxmlformats-officedocument.presentationml.tags+xml" PartName="/ppt/tags/tag23.xml"/>
  <Override ContentType="application/vnd.openxmlformats-package.core-properties+xml" PartName="/docProps/core.xml"/>
  <Override ContentType="application/vnd.openxmlformats-officedocument.extended-properties+xml" PartName="/docProps/app.xml"/>
  <Override ContentType="application/vnd.openxmlformats-officedocument.custom-properties+xml" PartName="/docProps/custom.xml"/>
</Types>
</file>

<file path=_rels/.rels><?xml version="1.0" encoding="UTF-8" standalone="yes" ?><Relationships xmlns="http://schemas.openxmlformats.org/package/2006/relationships"><Relationship Id="rId3" Target="docProps/app.xml" Type="http://schemas.openxmlformats.org/officeDocument/2006/relationships/extended-properties"/><Relationship Id="rId2" Target="docProps/core.xml" Type="http://schemas.openxmlformats.org/package/2006/relationships/metadata/core-properties"/><Relationship Id="rId1" Target="ppt/presentation.xml" Type="http://schemas.openxmlformats.org/officeDocument/2006/relationships/officeDocument"/><Relationship Id="rId4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28"/>
  </p:notesMasterIdLst>
  <p:sldIdLst>
    <p:sldId id="256" r:id="rId2"/>
    <p:sldId id="257" r:id="rId3"/>
    <p:sldId id="258" r:id="rId4"/>
    <p:sldId id="259" r:id="rId5"/>
    <p:sldId id="261" r:id="rId6"/>
    <p:sldId id="264" r:id="rId7"/>
    <p:sldId id="276" r:id="rId8"/>
    <p:sldId id="279" r:id="rId9"/>
    <p:sldId id="280" r:id="rId10"/>
    <p:sldId id="321" r:id="rId11"/>
    <p:sldId id="283" r:id="rId12"/>
    <p:sldId id="284" r:id="rId13"/>
    <p:sldId id="278" r:id="rId14"/>
    <p:sldId id="315" r:id="rId15"/>
    <p:sldId id="316" r:id="rId16"/>
    <p:sldId id="317" r:id="rId17"/>
    <p:sldId id="318" r:id="rId18"/>
    <p:sldId id="319" r:id="rId19"/>
    <p:sldId id="301" r:id="rId20"/>
    <p:sldId id="313" r:id="rId21"/>
    <p:sldId id="305" r:id="rId22"/>
    <p:sldId id="306" r:id="rId23"/>
    <p:sldId id="307" r:id="rId24"/>
    <p:sldId id="312" r:id="rId25"/>
    <p:sldId id="286" r:id="rId26"/>
    <p:sldId id="320" r:id="rId27"/>
  </p:sldIdLst>
  <p:sldSz cx="12192000" cy="6858000"/>
  <p:notesSz cx="6858000" cy="9144000"/>
  <p:embeddedFontLst>
    <p:embeddedFont>
      <p:font typeface="Calibri" panose="020F0502020204030204" pitchFamily="34" charset="0"/>
      <p:regular r:id="rId29"/>
      <p:bold r:id="rId30"/>
      <p:italic r:id="rId31"/>
      <p:boldItalic r:id="rId32"/>
    </p:embeddedFont>
    <p:embeddedFont>
      <p:font typeface="Calibri Light" panose="020F0302020204030204" pitchFamily="34" charset="0"/>
      <p:regular r:id="rId33"/>
      <p:italic r:id="rId34"/>
    </p:embeddedFont>
    <p:embeddedFont>
      <p:font typeface="Lato" panose="020B0604020202020204" pitchFamily="34" charset="0"/>
      <p:regular r:id="rId35"/>
      <p:bold r:id="rId36"/>
      <p:italic r:id="rId37"/>
      <p:boldItalic r:id="rId38"/>
    </p:embeddedFont>
    <p:embeddedFont>
      <p:font typeface="Lato Black" panose="020F0502020204030203" pitchFamily="34" charset="0"/>
      <p:bold r:id="rId39"/>
      <p:italic r:id="rId40"/>
      <p:boldItalic r:id="rId41"/>
    </p:embeddedFont>
    <p:embeddedFont>
      <p:font typeface="Lato Light" panose="020F0502020204030203" pitchFamily="34" charset="0"/>
      <p:regular r:id="rId42"/>
      <p:italic r:id="rId43"/>
    </p:embeddedFont>
    <p:embeddedFont>
      <p:font typeface="Lato Medium" panose="020F0502020204030203" pitchFamily="34" charset="0"/>
      <p:regular r:id="rId44"/>
      <p:italic r:id="rId45"/>
    </p:embeddedFont>
    <p:embeddedFont>
      <p:font typeface="Montserrat" pitchFamily="2" charset="77"/>
      <p:regular r:id="rId46"/>
      <p:bold r:id="rId47"/>
      <p:italic r:id="rId48"/>
      <p:boldItalic r:id="rId49"/>
    </p:embeddedFont>
    <p:embeddedFont>
      <p:font typeface="Montserrat Black" pitchFamily="2" charset="77"/>
      <p:bold r:id="rId50"/>
      <p:italic r:id="rId51"/>
      <p:boldItalic r:id="rId52"/>
    </p:embeddedFont>
    <p:embeddedFont>
      <p:font typeface="Montserrat Medium" pitchFamily="2" charset="77"/>
      <p:regular r:id="rId53"/>
      <p:italic r:id="rId54"/>
    </p:embeddedFont>
    <p:embeddedFont>
      <p:font typeface="Tahoma" panose="020B0604030504040204" pitchFamily="34" charset="0"/>
      <p:regular r:id="rId55"/>
      <p:bold r:id="rId56"/>
    </p:embeddedFont>
  </p:embeddedFontLst>
  <p:custDataLst>
    <p:tags r:id="rId5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6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5314" userDrawn="1">
          <p15:clr>
            <a:srgbClr val="A4A3A4"/>
          </p15:clr>
        </p15:guide>
        <p15:guide id="4" pos="7514" userDrawn="1">
          <p15:clr>
            <a:srgbClr val="A4A3A4"/>
          </p15:clr>
        </p15:guide>
        <p15:guide id="5" pos="3940" userDrawn="1">
          <p15:clr>
            <a:srgbClr val="A4A3A4"/>
          </p15:clr>
        </p15:guide>
        <p15:guide id="6" orient="horz" pos="3634" userDrawn="1">
          <p15:clr>
            <a:srgbClr val="A4A3A4"/>
          </p15:clr>
        </p15:guide>
        <p15:guide id="8" orient="horz" pos="61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KHISSI Aassem" initials="DA" lastIdx="1" clrIdx="0">
    <p:extLst>
      <p:ext uri="{19B8F6BF-5375-455C-9EA6-DF929625EA0E}">
        <p15:presenceInfo xmlns:p15="http://schemas.microsoft.com/office/powerpoint/2012/main" userId="S-1-5-21-3126896699-2736327119-1644971827-1493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36A0"/>
    <a:srgbClr val="F6F9FB"/>
    <a:srgbClr val="C64724"/>
    <a:srgbClr val="DF6F51"/>
    <a:srgbClr val="E57518"/>
    <a:srgbClr val="FEC232"/>
    <a:srgbClr val="7030A0"/>
    <a:srgbClr val="007E6C"/>
    <a:srgbClr val="04B09A"/>
    <a:srgbClr val="00B3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62" autoAdjust="0"/>
    <p:restoredTop sz="94660"/>
  </p:normalViewPr>
  <p:slideViewPr>
    <p:cSldViewPr snapToGrid="0" showGuides="1">
      <p:cViewPr varScale="1">
        <p:scale>
          <a:sx n="128" d="100"/>
          <a:sy n="128" d="100"/>
        </p:scale>
        <p:origin x="328" y="176"/>
      </p:cViewPr>
      <p:guideLst>
        <p:guide orient="horz" pos="663"/>
        <p:guide pos="3840"/>
        <p:guide pos="5314"/>
        <p:guide pos="7514"/>
        <p:guide pos="3940"/>
        <p:guide orient="horz" pos="3634"/>
        <p:guide orient="horz" pos="61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11.fntdata"/><Relationship Id="rId21" Type="http://schemas.openxmlformats.org/officeDocument/2006/relationships/slide" Target="slides/slide20.xml"/><Relationship Id="rId34" Type="http://schemas.openxmlformats.org/officeDocument/2006/relationships/font" Target="fonts/font6.fntdata"/><Relationship Id="rId42" Type="http://schemas.openxmlformats.org/officeDocument/2006/relationships/font" Target="fonts/font14.fntdata"/><Relationship Id="rId47" Type="http://schemas.openxmlformats.org/officeDocument/2006/relationships/font" Target="fonts/font19.fntdata"/><Relationship Id="rId50" Type="http://schemas.openxmlformats.org/officeDocument/2006/relationships/font" Target="fonts/font22.fntdata"/><Relationship Id="rId55" Type="http://schemas.openxmlformats.org/officeDocument/2006/relationships/font" Target="fonts/font27.fntdata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1.fntdata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4.fntdata"/><Relationship Id="rId37" Type="http://schemas.openxmlformats.org/officeDocument/2006/relationships/font" Target="fonts/font9.fntdata"/><Relationship Id="rId40" Type="http://schemas.openxmlformats.org/officeDocument/2006/relationships/font" Target="fonts/font12.fntdata"/><Relationship Id="rId45" Type="http://schemas.openxmlformats.org/officeDocument/2006/relationships/font" Target="fonts/font17.fntdata"/><Relationship Id="rId53" Type="http://schemas.openxmlformats.org/officeDocument/2006/relationships/font" Target="fonts/font25.fntdata"/><Relationship Id="rId58" Type="http://schemas.openxmlformats.org/officeDocument/2006/relationships/commentAuthors" Target="commentAuthors.xml"/><Relationship Id="rId5" Type="http://schemas.openxmlformats.org/officeDocument/2006/relationships/slide" Target="slides/slide4.xml"/><Relationship Id="rId61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2.fntdata"/><Relationship Id="rId35" Type="http://schemas.openxmlformats.org/officeDocument/2006/relationships/font" Target="fonts/font7.fntdata"/><Relationship Id="rId43" Type="http://schemas.openxmlformats.org/officeDocument/2006/relationships/font" Target="fonts/font15.fntdata"/><Relationship Id="rId48" Type="http://schemas.openxmlformats.org/officeDocument/2006/relationships/font" Target="fonts/font20.fntdata"/><Relationship Id="rId56" Type="http://schemas.openxmlformats.org/officeDocument/2006/relationships/font" Target="fonts/font28.fntdata"/><Relationship Id="rId8" Type="http://schemas.openxmlformats.org/officeDocument/2006/relationships/slide" Target="slides/slide7.xml"/><Relationship Id="rId51" Type="http://schemas.openxmlformats.org/officeDocument/2006/relationships/font" Target="fonts/font23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5.fntdata"/><Relationship Id="rId38" Type="http://schemas.openxmlformats.org/officeDocument/2006/relationships/font" Target="fonts/font10.fntdata"/><Relationship Id="rId46" Type="http://schemas.openxmlformats.org/officeDocument/2006/relationships/font" Target="fonts/font18.fntdata"/><Relationship Id="rId59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font" Target="fonts/font13.fntdata"/><Relationship Id="rId54" Type="http://schemas.openxmlformats.org/officeDocument/2006/relationships/font" Target="fonts/font26.fntdata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8.fntdata"/><Relationship Id="rId49" Type="http://schemas.openxmlformats.org/officeDocument/2006/relationships/font" Target="fonts/font21.fntdata"/><Relationship Id="rId57" Type="http://schemas.openxmlformats.org/officeDocument/2006/relationships/tags" Target="tags/tag1.xml"/><Relationship Id="rId10" Type="http://schemas.openxmlformats.org/officeDocument/2006/relationships/slide" Target="slides/slide9.xml"/><Relationship Id="rId31" Type="http://schemas.openxmlformats.org/officeDocument/2006/relationships/font" Target="fonts/font3.fntdata"/><Relationship Id="rId44" Type="http://schemas.openxmlformats.org/officeDocument/2006/relationships/font" Target="fonts/font16.fntdata"/><Relationship Id="rId52" Type="http://schemas.openxmlformats.org/officeDocument/2006/relationships/font" Target="fonts/font24.fntdata"/><Relationship Id="rId6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6-08T15:37:08.372" idx="1">
    <p:pos x="10" y="10"/>
    <p:text/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44C491-8E48-4D6B-B7A5-D1B5768141F2}" type="datetimeFigureOut">
              <a:rPr lang="en-US" smtClean="0"/>
              <a:t>2/5/21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CCA11C-54D6-42D7-9E77-04377AC342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938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C634F-FCB8-4939-A636-8A1AE265F6CE}" type="datetimeFigureOut">
              <a:rPr lang="en-US" smtClean="0"/>
              <a:t>2/5/21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D2AA5-CABB-4467-8A69-C511B00C37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4400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C634F-FCB8-4939-A636-8A1AE265F6CE}" type="datetimeFigureOut">
              <a:rPr lang="en-US" smtClean="0"/>
              <a:t>2/5/21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D2AA5-CABB-4467-8A69-C511B00C37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771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C634F-FCB8-4939-A636-8A1AE265F6CE}" type="datetimeFigureOut">
              <a:rPr lang="en-US" smtClean="0"/>
              <a:t>2/5/21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D2AA5-CABB-4467-8A69-C511B00C37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0407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C634F-FCB8-4939-A636-8A1AE265F6CE}" type="datetimeFigureOut">
              <a:rPr lang="en-US" smtClean="0"/>
              <a:t>2/5/21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D2AA5-CABB-4467-8A69-C511B00C37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883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C634F-FCB8-4939-A636-8A1AE265F6CE}" type="datetimeFigureOut">
              <a:rPr lang="en-US" smtClean="0"/>
              <a:t>2/5/21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D2AA5-CABB-4467-8A69-C511B00C37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7990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C634F-FCB8-4939-A636-8A1AE265F6CE}" type="datetimeFigureOut">
              <a:rPr lang="en-US" smtClean="0"/>
              <a:t>2/5/21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D2AA5-CABB-4467-8A69-C511B00C37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0214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C634F-FCB8-4939-A636-8A1AE265F6CE}" type="datetimeFigureOut">
              <a:rPr lang="en-US" smtClean="0"/>
              <a:t>2/5/21</a:t>
            </a:fld>
            <a:endParaRPr lang="en-US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D2AA5-CABB-4467-8A69-C511B00C37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1596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C634F-FCB8-4939-A636-8A1AE265F6CE}" type="datetimeFigureOut">
              <a:rPr lang="en-US" smtClean="0"/>
              <a:t>2/5/21</a:t>
            </a:fld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D2AA5-CABB-4467-8A69-C511B00C37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636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C634F-FCB8-4939-A636-8A1AE265F6CE}" type="datetimeFigureOut">
              <a:rPr lang="en-US" smtClean="0"/>
              <a:t>2/5/21</a:t>
            </a:fld>
            <a:endParaRPr lang="en-US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D2AA5-CABB-4467-8A69-C511B00C37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6668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C634F-FCB8-4939-A636-8A1AE265F6CE}" type="datetimeFigureOut">
              <a:rPr lang="en-US" smtClean="0"/>
              <a:t>2/5/21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D2AA5-CABB-4467-8A69-C511B00C37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6064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C634F-FCB8-4939-A636-8A1AE265F6CE}" type="datetimeFigureOut">
              <a:rPr lang="en-US" smtClean="0"/>
              <a:t>2/5/21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BD2AA5-CABB-4467-8A69-C511B00C37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8733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71567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" name="Diapositive think-cell" r:id="rId16" imgW="592" imgH="595" progId="TCLayout.ActiveDocument.1">
                  <p:embed/>
                </p:oleObj>
              </mc:Choice>
              <mc:Fallback>
                <p:oleObj name="Diapositive think-cell" r:id="rId16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fr-FR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5C634F-FCB8-4939-A636-8A1AE265F6CE}" type="datetimeFigureOut">
              <a:rPr lang="en-US" smtClean="0"/>
              <a:t>2/5/21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BD2AA5-CABB-4467-8A69-C511B00C37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398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 ?><Relationships xmlns="http://schemas.openxmlformats.org/package/2006/relationships"><Relationship Id="rId8" Target="../media/image4.emf" Type="http://schemas.openxmlformats.org/officeDocument/2006/relationships/image"/><Relationship Id="rId3" Target="../slideLayouts/slideLayout1.xml" Type="http://schemas.openxmlformats.org/officeDocument/2006/relationships/slideLayout"/><Relationship Id="rId7" Target="../media/image3.emf" Type="http://schemas.openxmlformats.org/officeDocument/2006/relationships/image"/><Relationship Id="rId2" Target="../tags/tag4.xml" Type="http://schemas.openxmlformats.org/officeDocument/2006/relationships/tags"/><Relationship Id="rId1" Target="../drawings/vmlDrawing2.vml" Type="http://schemas.openxmlformats.org/officeDocument/2006/relationships/vmlDrawing"/><Relationship Id="rId6" Target="../media/image2.jpeg" Type="http://schemas.openxmlformats.org/officeDocument/2006/relationships/image"/><Relationship Id="rId5" Target="../media/image1.emf" Type="http://schemas.openxmlformats.org/officeDocument/2006/relationships/image"/><Relationship Id="rId4" Target="../embeddings/oleObject2.bin" Type="http://schemas.openxmlformats.org/officeDocument/2006/relationships/oleObject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4.emf"/><Relationship Id="rId2" Type="http://schemas.openxmlformats.org/officeDocument/2006/relationships/vmlDrawing" Target="../drawings/vmlDrawing12.v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5.xml"/><Relationship Id="rId7" Type="http://schemas.openxmlformats.org/officeDocument/2006/relationships/image" Target="../media/image17.jpeg"/><Relationship Id="rId2" Type="http://schemas.openxmlformats.org/officeDocument/2006/relationships/vmlDrawing" Target="../drawings/vmlDrawing13.v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6.xml"/><Relationship Id="rId7" Type="http://schemas.openxmlformats.org/officeDocument/2006/relationships/image" Target="../media/image18.jpeg"/><Relationship Id="rId2" Type="http://schemas.openxmlformats.org/officeDocument/2006/relationships/vmlDrawing" Target="../drawings/vmlDrawing14.v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vmlDrawing" Target="../drawings/vmlDrawing3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7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0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3.xml"/><Relationship Id="rId7" Type="http://schemas.openxmlformats.org/officeDocument/2006/relationships/image" Target="../media/image12.jpeg"/><Relationship Id="rId2" Type="http://schemas.openxmlformats.org/officeDocument/2006/relationships/vmlDrawing" Target="../drawings/vmlDrawing21.v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2.xml"/></Relationships>
</file>

<file path=ppt/slides/_rels/slide26.xml.rels><?xml version="1.0" encoding="UTF-8" standalone="yes" ?><Relationships xmlns="http://schemas.openxmlformats.org/package/2006/relationships"><Relationship Id="rId2" Target="../media/image33.jpeg" Type="http://schemas.openxmlformats.org/officeDocument/2006/relationships/image"/><Relationship Id="rId1" Target="../slideLayouts/slideLayout2.xml" Type="http://schemas.openxmlformats.org/officeDocument/2006/relationships/slideLayout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7.xml"/><Relationship Id="rId7" Type="http://schemas.openxmlformats.org/officeDocument/2006/relationships/image" Target="../media/image6.jpg"/><Relationship Id="rId2" Type="http://schemas.openxmlformats.org/officeDocument/2006/relationships/vmlDrawing" Target="../drawings/vmlDrawing5.v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Relationship Id="rId9" Type="http://schemas.openxmlformats.org/officeDocument/2006/relationships/comments" Target="../comments/commen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tags" Target="../tags/tag8.xml"/><Relationship Id="rId7" Type="http://schemas.openxmlformats.org/officeDocument/2006/relationships/image" Target="../media/image7.jpeg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9.xml"/><Relationship Id="rId7" Type="http://schemas.openxmlformats.org/officeDocument/2006/relationships/image" Target="../media/image9.jpeg"/><Relationship Id="rId2" Type="http://schemas.openxmlformats.org/officeDocument/2006/relationships/vmlDrawing" Target="../drawings/vmlDrawing7.v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0.xml"/><Relationship Id="rId7" Type="http://schemas.openxmlformats.org/officeDocument/2006/relationships/image" Target="../media/image10.png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rgbClr val="EAEAEA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3207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8" name="Diapositive think-cell" r:id="rId4" imgW="592" imgH="595" progId="TCLayout.ActiveDocument.1">
                  <p:embed/>
                </p:oleObj>
              </mc:Choice>
              <mc:Fallback>
                <p:oleObj name="Diapositive think-cell" r:id="rId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6"/>
          <a:srcRect t="14935" b="35939"/>
          <a:stretch/>
        </p:blipFill>
        <p:spPr>
          <a:xfrm>
            <a:off x="-1057" y="1759227"/>
            <a:ext cx="12193057" cy="3359425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 rot="10800000">
            <a:off x="0" y="1759228"/>
            <a:ext cx="12192000" cy="3359424"/>
          </a:xfrm>
          <a:prstGeom prst="rect">
            <a:avLst/>
          </a:prstGeom>
          <a:gradFill>
            <a:gsLst>
              <a:gs pos="0">
                <a:srgbClr val="A136A0">
                  <a:alpha val="74000"/>
                </a:srgbClr>
              </a:gs>
              <a:gs pos="100000">
                <a:srgbClr val="7030A0">
                  <a:alpha val="87000"/>
                </a:srgb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2669553" y="2146278"/>
            <a:ext cx="6852894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5400" b="1" dirty="0">
                <a:solidFill>
                  <a:schemeClr val="bg1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MAKING </a:t>
            </a:r>
            <a:r>
              <a:rPr lang="en-GB" sz="5400" b="1" dirty="0">
                <a:solidFill>
                  <a:srgbClr val="FEC232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WORKING SAFELY </a:t>
            </a:r>
            <a:r>
              <a:rPr lang="en-GB" sz="5400" b="1" dirty="0">
                <a:solidFill>
                  <a:schemeClr val="bg1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A REALITY</a:t>
            </a:r>
          </a:p>
        </p:txBody>
      </p:sp>
      <p:grpSp>
        <p:nvGrpSpPr>
          <p:cNvPr id="6" name="Groupe 5"/>
          <p:cNvGrpSpPr/>
          <p:nvPr/>
        </p:nvGrpSpPr>
        <p:grpSpPr>
          <a:xfrm>
            <a:off x="4286286" y="368299"/>
            <a:ext cx="3619429" cy="1058166"/>
            <a:chOff x="4321118" y="368299"/>
            <a:chExt cx="3619429" cy="1058166"/>
          </a:xfrm>
        </p:grpSpPr>
        <p:pic>
          <p:nvPicPr>
            <p:cNvPr id="17" name="Image 1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53525" y="368300"/>
              <a:ext cx="1187022" cy="1058165"/>
            </a:xfrm>
            <a:prstGeom prst="rect">
              <a:avLst/>
            </a:prstGeom>
          </p:spPr>
        </p:pic>
        <p:pic>
          <p:nvPicPr>
            <p:cNvPr id="5" name="Image 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1118" y="368299"/>
              <a:ext cx="2291449" cy="1058165"/>
            </a:xfrm>
            <a:prstGeom prst="rect">
              <a:avLst/>
            </a:prstGeom>
          </p:spPr>
        </p:pic>
      </p:grpSp>
      <p:sp>
        <p:nvSpPr>
          <p:cNvPr id="8" name="Rectangle 7"/>
          <p:cNvSpPr/>
          <p:nvPr/>
        </p:nvSpPr>
        <p:spPr>
          <a:xfrm>
            <a:off x="4525617" y="5792621"/>
            <a:ext cx="3140765" cy="278296"/>
          </a:xfrm>
          <a:prstGeom prst="rect">
            <a:avLst/>
          </a:prstGeom>
          <a:solidFill>
            <a:srgbClr val="FEC232"/>
          </a:solidFill>
          <a:ln>
            <a:noFill/>
          </a:ln>
          <a:effectLst>
            <a:outerShdw dist="38100" dir="4920000" sx="101000" sy="101000" algn="tl" rotWithShape="0">
              <a:srgbClr val="DF6F51">
                <a:alpha val="22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A136A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be-safetechnologies.com</a:t>
            </a:r>
          </a:p>
        </p:txBody>
      </p:sp>
      <p:grpSp>
        <p:nvGrpSpPr>
          <p:cNvPr id="22" name="Group 56"/>
          <p:cNvGrpSpPr>
            <a:grpSpLocks noChangeAspect="1"/>
          </p:cNvGrpSpPr>
          <p:nvPr/>
        </p:nvGrpSpPr>
        <p:grpSpPr bwMode="auto">
          <a:xfrm>
            <a:off x="7494765" y="5896784"/>
            <a:ext cx="343234" cy="342295"/>
            <a:chOff x="2551" y="873"/>
            <a:chExt cx="2558" cy="2551"/>
          </a:xfrm>
          <a:gradFill>
            <a:gsLst>
              <a:gs pos="0">
                <a:srgbClr val="A136A0"/>
              </a:gs>
              <a:gs pos="100000">
                <a:srgbClr val="7030A0"/>
              </a:gs>
            </a:gsLst>
            <a:lin ang="12600000" scaled="0"/>
          </a:gradFill>
        </p:grpSpPr>
        <p:sp>
          <p:nvSpPr>
            <p:cNvPr id="23" name="Freeform 57"/>
            <p:cNvSpPr>
              <a:spLocks noEditPoints="1"/>
            </p:cNvSpPr>
            <p:nvPr/>
          </p:nvSpPr>
          <p:spPr bwMode="auto">
            <a:xfrm>
              <a:off x="3253" y="1572"/>
              <a:ext cx="1856" cy="1852"/>
            </a:xfrm>
            <a:custGeom>
              <a:avLst/>
              <a:gdLst>
                <a:gd name="T0" fmla="*/ 1411 w 3867"/>
                <a:gd name="T1" fmla="*/ 3859 h 3859"/>
                <a:gd name="T2" fmla="*/ 1398 w 3867"/>
                <a:gd name="T3" fmla="*/ 3859 h 3859"/>
                <a:gd name="T4" fmla="*/ 1228 w 3867"/>
                <a:gd name="T5" fmla="*/ 3729 h 3859"/>
                <a:gd name="T6" fmla="*/ 27 w 3867"/>
                <a:gd name="T7" fmla="*/ 274 h 3859"/>
                <a:gd name="T8" fmla="*/ 72 w 3867"/>
                <a:gd name="T9" fmla="*/ 71 h 3859"/>
                <a:gd name="T10" fmla="*/ 275 w 3867"/>
                <a:gd name="T11" fmla="*/ 26 h 3859"/>
                <a:gd name="T12" fmla="*/ 3729 w 3867"/>
                <a:gd name="T13" fmla="*/ 1227 h 3859"/>
                <a:gd name="T14" fmla="*/ 3860 w 3867"/>
                <a:gd name="T15" fmla="*/ 1397 h 3859"/>
                <a:gd name="T16" fmla="*/ 3756 w 3867"/>
                <a:gd name="T17" fmla="*/ 1587 h 3859"/>
                <a:gd name="T18" fmla="*/ 2822 w 3867"/>
                <a:gd name="T19" fmla="*/ 2083 h 3859"/>
                <a:gd name="T20" fmla="*/ 3475 w 3867"/>
                <a:gd name="T21" fmla="*/ 2729 h 3859"/>
                <a:gd name="T22" fmla="*/ 3534 w 3867"/>
                <a:gd name="T23" fmla="*/ 2867 h 3859"/>
                <a:gd name="T24" fmla="*/ 3475 w 3867"/>
                <a:gd name="T25" fmla="*/ 3004 h 3859"/>
                <a:gd name="T26" fmla="*/ 3005 w 3867"/>
                <a:gd name="T27" fmla="*/ 3474 h 3859"/>
                <a:gd name="T28" fmla="*/ 2867 w 3867"/>
                <a:gd name="T29" fmla="*/ 3533 h 3859"/>
                <a:gd name="T30" fmla="*/ 2867 w 3867"/>
                <a:gd name="T31" fmla="*/ 3533 h 3859"/>
                <a:gd name="T32" fmla="*/ 2730 w 3867"/>
                <a:gd name="T33" fmla="*/ 3474 h 3859"/>
                <a:gd name="T34" fmla="*/ 2084 w 3867"/>
                <a:gd name="T35" fmla="*/ 2821 h 3859"/>
                <a:gd name="T36" fmla="*/ 1587 w 3867"/>
                <a:gd name="T37" fmla="*/ 3755 h 3859"/>
                <a:gd name="T38" fmla="*/ 1411 w 3867"/>
                <a:gd name="T39" fmla="*/ 3859 h 3859"/>
                <a:gd name="T40" fmla="*/ 529 w 3867"/>
                <a:gd name="T41" fmla="*/ 529 h 3859"/>
                <a:gd name="T42" fmla="*/ 1450 w 3867"/>
                <a:gd name="T43" fmla="*/ 3173 h 3859"/>
                <a:gd name="T44" fmla="*/ 1862 w 3867"/>
                <a:gd name="T45" fmla="*/ 2403 h 3859"/>
                <a:gd name="T46" fmla="*/ 2005 w 3867"/>
                <a:gd name="T47" fmla="*/ 2298 h 3859"/>
                <a:gd name="T48" fmla="*/ 2175 w 3867"/>
                <a:gd name="T49" fmla="*/ 2357 h 3859"/>
                <a:gd name="T50" fmla="*/ 2874 w 3867"/>
                <a:gd name="T51" fmla="*/ 3062 h 3859"/>
                <a:gd name="T52" fmla="*/ 3063 w 3867"/>
                <a:gd name="T53" fmla="*/ 2873 h 3859"/>
                <a:gd name="T54" fmla="*/ 2358 w 3867"/>
                <a:gd name="T55" fmla="*/ 2168 h 3859"/>
                <a:gd name="T56" fmla="*/ 2299 w 3867"/>
                <a:gd name="T57" fmla="*/ 1998 h 3859"/>
                <a:gd name="T58" fmla="*/ 2404 w 3867"/>
                <a:gd name="T59" fmla="*/ 1854 h 3859"/>
                <a:gd name="T60" fmla="*/ 3174 w 3867"/>
                <a:gd name="T61" fmla="*/ 1443 h 3859"/>
                <a:gd name="T62" fmla="*/ 529 w 3867"/>
                <a:gd name="T63" fmla="*/ 529 h 3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867" h="3859">
                  <a:moveTo>
                    <a:pt x="1411" y="3859"/>
                  </a:moveTo>
                  <a:lnTo>
                    <a:pt x="1398" y="3859"/>
                  </a:lnTo>
                  <a:cubicBezTo>
                    <a:pt x="1320" y="3853"/>
                    <a:pt x="1254" y="3800"/>
                    <a:pt x="1228" y="3729"/>
                  </a:cubicBezTo>
                  <a:lnTo>
                    <a:pt x="27" y="274"/>
                  </a:lnTo>
                  <a:cubicBezTo>
                    <a:pt x="0" y="202"/>
                    <a:pt x="20" y="124"/>
                    <a:pt x="72" y="71"/>
                  </a:cubicBezTo>
                  <a:cubicBezTo>
                    <a:pt x="125" y="19"/>
                    <a:pt x="203" y="0"/>
                    <a:pt x="275" y="26"/>
                  </a:cubicBezTo>
                  <a:lnTo>
                    <a:pt x="3729" y="1227"/>
                  </a:lnTo>
                  <a:cubicBezTo>
                    <a:pt x="3801" y="1253"/>
                    <a:pt x="3854" y="1319"/>
                    <a:pt x="3860" y="1397"/>
                  </a:cubicBezTo>
                  <a:cubicBezTo>
                    <a:pt x="3867" y="1476"/>
                    <a:pt x="3827" y="1547"/>
                    <a:pt x="3756" y="1587"/>
                  </a:cubicBezTo>
                  <a:lnTo>
                    <a:pt x="2822" y="2083"/>
                  </a:lnTo>
                  <a:lnTo>
                    <a:pt x="3475" y="2729"/>
                  </a:lnTo>
                  <a:cubicBezTo>
                    <a:pt x="3514" y="2769"/>
                    <a:pt x="3534" y="2814"/>
                    <a:pt x="3534" y="2867"/>
                  </a:cubicBezTo>
                  <a:cubicBezTo>
                    <a:pt x="3534" y="2919"/>
                    <a:pt x="3514" y="2971"/>
                    <a:pt x="3475" y="3004"/>
                  </a:cubicBezTo>
                  <a:lnTo>
                    <a:pt x="3005" y="3474"/>
                  </a:lnTo>
                  <a:cubicBezTo>
                    <a:pt x="2965" y="3513"/>
                    <a:pt x="2920" y="3533"/>
                    <a:pt x="2867" y="3533"/>
                  </a:cubicBezTo>
                  <a:lnTo>
                    <a:pt x="2867" y="3533"/>
                  </a:lnTo>
                  <a:cubicBezTo>
                    <a:pt x="2815" y="3533"/>
                    <a:pt x="2763" y="3513"/>
                    <a:pt x="2730" y="3474"/>
                  </a:cubicBezTo>
                  <a:lnTo>
                    <a:pt x="2084" y="2821"/>
                  </a:lnTo>
                  <a:lnTo>
                    <a:pt x="1587" y="3755"/>
                  </a:lnTo>
                  <a:cubicBezTo>
                    <a:pt x="1548" y="3820"/>
                    <a:pt x="1483" y="3859"/>
                    <a:pt x="1411" y="3859"/>
                  </a:cubicBezTo>
                  <a:close/>
                  <a:moveTo>
                    <a:pt x="529" y="529"/>
                  </a:moveTo>
                  <a:lnTo>
                    <a:pt x="1450" y="3173"/>
                  </a:lnTo>
                  <a:lnTo>
                    <a:pt x="1862" y="2403"/>
                  </a:lnTo>
                  <a:cubicBezTo>
                    <a:pt x="1888" y="2351"/>
                    <a:pt x="1947" y="2311"/>
                    <a:pt x="2005" y="2298"/>
                  </a:cubicBezTo>
                  <a:cubicBezTo>
                    <a:pt x="2064" y="2292"/>
                    <a:pt x="2129" y="2311"/>
                    <a:pt x="2175" y="2357"/>
                  </a:cubicBezTo>
                  <a:lnTo>
                    <a:pt x="2874" y="3062"/>
                  </a:lnTo>
                  <a:lnTo>
                    <a:pt x="3063" y="2873"/>
                  </a:lnTo>
                  <a:lnTo>
                    <a:pt x="2358" y="2168"/>
                  </a:lnTo>
                  <a:cubicBezTo>
                    <a:pt x="2312" y="2122"/>
                    <a:pt x="2293" y="2063"/>
                    <a:pt x="2299" y="1998"/>
                  </a:cubicBezTo>
                  <a:cubicBezTo>
                    <a:pt x="2306" y="1933"/>
                    <a:pt x="2345" y="1880"/>
                    <a:pt x="2404" y="1854"/>
                  </a:cubicBezTo>
                  <a:lnTo>
                    <a:pt x="3174" y="1443"/>
                  </a:lnTo>
                  <a:lnTo>
                    <a:pt x="529" y="52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58"/>
            <p:cNvSpPr>
              <a:spLocks/>
            </p:cNvSpPr>
            <p:nvPr/>
          </p:nvSpPr>
          <p:spPr bwMode="auto">
            <a:xfrm>
              <a:off x="2714" y="1033"/>
              <a:ext cx="405" cy="395"/>
            </a:xfrm>
            <a:custGeom>
              <a:avLst/>
              <a:gdLst>
                <a:gd name="T0" fmla="*/ 627 w 843"/>
                <a:gd name="T1" fmla="*/ 823 h 823"/>
                <a:gd name="T2" fmla="*/ 490 w 843"/>
                <a:gd name="T3" fmla="*/ 764 h 823"/>
                <a:gd name="T4" fmla="*/ 79 w 843"/>
                <a:gd name="T5" fmla="*/ 353 h 823"/>
                <a:gd name="T6" fmla="*/ 79 w 843"/>
                <a:gd name="T7" fmla="*/ 79 h 823"/>
                <a:gd name="T8" fmla="*/ 353 w 843"/>
                <a:gd name="T9" fmla="*/ 79 h 823"/>
                <a:gd name="T10" fmla="*/ 764 w 843"/>
                <a:gd name="T11" fmla="*/ 490 h 823"/>
                <a:gd name="T12" fmla="*/ 764 w 843"/>
                <a:gd name="T13" fmla="*/ 764 h 823"/>
                <a:gd name="T14" fmla="*/ 627 w 843"/>
                <a:gd name="T15" fmla="*/ 823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823">
                  <a:moveTo>
                    <a:pt x="627" y="823"/>
                  </a:moveTo>
                  <a:cubicBezTo>
                    <a:pt x="575" y="823"/>
                    <a:pt x="529" y="804"/>
                    <a:pt x="490" y="764"/>
                  </a:cubicBezTo>
                  <a:lnTo>
                    <a:pt x="79" y="353"/>
                  </a:lnTo>
                  <a:cubicBezTo>
                    <a:pt x="0" y="275"/>
                    <a:pt x="0" y="151"/>
                    <a:pt x="79" y="79"/>
                  </a:cubicBezTo>
                  <a:cubicBezTo>
                    <a:pt x="157" y="0"/>
                    <a:pt x="281" y="0"/>
                    <a:pt x="353" y="79"/>
                  </a:cubicBezTo>
                  <a:lnTo>
                    <a:pt x="764" y="490"/>
                  </a:lnTo>
                  <a:cubicBezTo>
                    <a:pt x="843" y="568"/>
                    <a:pt x="843" y="693"/>
                    <a:pt x="764" y="764"/>
                  </a:cubicBezTo>
                  <a:cubicBezTo>
                    <a:pt x="725" y="804"/>
                    <a:pt x="679" y="823"/>
                    <a:pt x="627" y="82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59"/>
            <p:cNvSpPr>
              <a:spLocks/>
            </p:cNvSpPr>
            <p:nvPr/>
          </p:nvSpPr>
          <p:spPr bwMode="auto">
            <a:xfrm>
              <a:off x="3369" y="873"/>
              <a:ext cx="260" cy="495"/>
            </a:xfrm>
            <a:custGeom>
              <a:avLst/>
              <a:gdLst>
                <a:gd name="T0" fmla="*/ 327 w 542"/>
                <a:gd name="T1" fmla="*/ 1032 h 1032"/>
                <a:gd name="T2" fmla="*/ 137 w 542"/>
                <a:gd name="T3" fmla="*/ 875 h 1032"/>
                <a:gd name="T4" fmla="*/ 20 w 542"/>
                <a:gd name="T5" fmla="*/ 248 h 1032"/>
                <a:gd name="T6" fmla="*/ 176 w 542"/>
                <a:gd name="T7" fmla="*/ 20 h 1032"/>
                <a:gd name="T8" fmla="*/ 405 w 542"/>
                <a:gd name="T9" fmla="*/ 177 h 1032"/>
                <a:gd name="T10" fmla="*/ 523 w 542"/>
                <a:gd name="T11" fmla="*/ 804 h 1032"/>
                <a:gd name="T12" fmla="*/ 366 w 542"/>
                <a:gd name="T13" fmla="*/ 1032 h 1032"/>
                <a:gd name="T14" fmla="*/ 327 w 542"/>
                <a:gd name="T15" fmla="*/ 1032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2" h="1032">
                  <a:moveTo>
                    <a:pt x="327" y="1032"/>
                  </a:moveTo>
                  <a:cubicBezTo>
                    <a:pt x="235" y="1032"/>
                    <a:pt x="150" y="967"/>
                    <a:pt x="137" y="875"/>
                  </a:cubicBezTo>
                  <a:lnTo>
                    <a:pt x="20" y="248"/>
                  </a:lnTo>
                  <a:cubicBezTo>
                    <a:pt x="0" y="144"/>
                    <a:pt x="72" y="39"/>
                    <a:pt x="176" y="20"/>
                  </a:cubicBezTo>
                  <a:cubicBezTo>
                    <a:pt x="281" y="0"/>
                    <a:pt x="385" y="72"/>
                    <a:pt x="405" y="177"/>
                  </a:cubicBezTo>
                  <a:lnTo>
                    <a:pt x="523" y="804"/>
                  </a:lnTo>
                  <a:cubicBezTo>
                    <a:pt x="542" y="908"/>
                    <a:pt x="470" y="1012"/>
                    <a:pt x="366" y="1032"/>
                  </a:cubicBezTo>
                  <a:lnTo>
                    <a:pt x="327" y="103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60"/>
            <p:cNvSpPr>
              <a:spLocks/>
            </p:cNvSpPr>
            <p:nvPr/>
          </p:nvSpPr>
          <p:spPr bwMode="auto">
            <a:xfrm>
              <a:off x="2551" y="1685"/>
              <a:ext cx="505" cy="254"/>
            </a:xfrm>
            <a:custGeom>
              <a:avLst/>
              <a:gdLst>
                <a:gd name="T0" fmla="*/ 842 w 1051"/>
                <a:gd name="T1" fmla="*/ 529 h 529"/>
                <a:gd name="T2" fmla="*/ 803 w 1051"/>
                <a:gd name="T3" fmla="*/ 522 h 529"/>
                <a:gd name="T4" fmla="*/ 176 w 1051"/>
                <a:gd name="T5" fmla="*/ 405 h 529"/>
                <a:gd name="T6" fmla="*/ 19 w 1051"/>
                <a:gd name="T7" fmla="*/ 176 h 529"/>
                <a:gd name="T8" fmla="*/ 248 w 1051"/>
                <a:gd name="T9" fmla="*/ 19 h 529"/>
                <a:gd name="T10" fmla="*/ 875 w 1051"/>
                <a:gd name="T11" fmla="*/ 137 h 529"/>
                <a:gd name="T12" fmla="*/ 1031 w 1051"/>
                <a:gd name="T13" fmla="*/ 365 h 529"/>
                <a:gd name="T14" fmla="*/ 842 w 1051"/>
                <a:gd name="T15" fmla="*/ 529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1" h="529">
                  <a:moveTo>
                    <a:pt x="842" y="529"/>
                  </a:moveTo>
                  <a:cubicBezTo>
                    <a:pt x="829" y="529"/>
                    <a:pt x="816" y="529"/>
                    <a:pt x="803" y="522"/>
                  </a:cubicBezTo>
                  <a:lnTo>
                    <a:pt x="176" y="405"/>
                  </a:lnTo>
                  <a:cubicBezTo>
                    <a:pt x="71" y="385"/>
                    <a:pt x="0" y="281"/>
                    <a:pt x="19" y="176"/>
                  </a:cubicBezTo>
                  <a:cubicBezTo>
                    <a:pt x="39" y="72"/>
                    <a:pt x="143" y="0"/>
                    <a:pt x="248" y="19"/>
                  </a:cubicBezTo>
                  <a:lnTo>
                    <a:pt x="875" y="137"/>
                  </a:lnTo>
                  <a:cubicBezTo>
                    <a:pt x="979" y="156"/>
                    <a:pt x="1051" y="261"/>
                    <a:pt x="1031" y="365"/>
                  </a:cubicBezTo>
                  <a:cubicBezTo>
                    <a:pt x="1018" y="463"/>
                    <a:pt x="934" y="529"/>
                    <a:pt x="842" y="52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766588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Diapositive think-cell" r:id="rId4" imgW="592" imgH="595" progId="TCLayout.ActiveDocument.1">
                  <p:embed/>
                </p:oleObj>
              </mc:Choice>
              <mc:Fallback>
                <p:oleObj name="Diapositive think-cell" r:id="rId4" imgW="592" imgH="595" progId="TCLayout.ActiveDocument.1">
                  <p:embed/>
                  <p:pic>
                    <p:nvPicPr>
                      <p:cNvPr id="5" name="Obje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0" name="Rectangle 529"/>
          <p:cNvSpPr/>
          <p:nvPr/>
        </p:nvSpPr>
        <p:spPr>
          <a:xfrm>
            <a:off x="334963" y="206624"/>
            <a:ext cx="115935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Bespoke User Modes</a:t>
            </a:r>
          </a:p>
        </p:txBody>
      </p:sp>
      <p:pic>
        <p:nvPicPr>
          <p:cNvPr id="23" name="Image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982373"/>
            <a:ext cx="1174243" cy="542252"/>
          </a:xfrm>
          <a:prstGeom prst="rect">
            <a:avLst/>
          </a:prstGeom>
        </p:spPr>
      </p:pic>
      <p:sp>
        <p:nvSpPr>
          <p:cNvPr id="24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rgbClr val="A136A0"/>
                </a:solidFill>
                <a:latin typeface="Lato Medium"/>
                <a:ea typeface="Lato Medium"/>
                <a:cs typeface="Lato Medium"/>
              </a:rPr>
              <a:t>be-safetech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.c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</a:t>
            </a:r>
            <a:r>
              <a:rPr lang="en-US" b="1" dirty="0">
                <a:solidFill>
                  <a:srgbClr val="FEC232"/>
                </a:solidFill>
                <a:latin typeface="Montserrat"/>
              </a:rPr>
              <a:t>| </a:t>
            </a:r>
            <a:fld id="{DABD2AA5-CABB-4467-8A69-C511B00C377E}" type="slidenum">
              <a:rPr lang="en-US" b="1" dirty="0" smtClean="0">
                <a:solidFill>
                  <a:srgbClr val="A136A0"/>
                </a:solidFill>
                <a:latin typeface="Montserrat"/>
              </a:rPr>
              <a:pPr algn="l" rtl="1"/>
              <a:t>10</a:t>
            </a:fld>
            <a:endParaRPr lang="en-US" b="1" dirty="0">
              <a:solidFill>
                <a:srgbClr val="A136A0"/>
              </a:solidFill>
              <a:latin typeface="Montserra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34963" y="3273939"/>
            <a:ext cx="3715657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DF6F51"/>
                </a:solidFill>
                <a:latin typeface="Montserrat Black" panose="00000A00000000000000" pitchFamily="50" charset="0"/>
              </a:rPr>
              <a:t>Dedicated Mode</a:t>
            </a:r>
          </a:p>
          <a:p>
            <a:pPr algn="ctr"/>
            <a:r>
              <a:rPr lang="en-US" dirty="0">
                <a:solidFill>
                  <a:srgbClr val="A136A0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For shared / project specific device</a:t>
            </a:r>
          </a:p>
          <a:p>
            <a:pPr algn="ctr"/>
            <a:endParaRPr lang="en-US" dirty="0">
              <a:latin typeface="Lato Medium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algn="ctr"/>
            <a:r>
              <a:rPr lang="en-US" sz="1400" dirty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This device will remain on a site and hold ALL data relevant to that site allowing supervisors, managers, employed workforce, and subcontractors to log  in and access all data relevant to that site/project</a:t>
            </a:r>
          </a:p>
          <a:p>
            <a:pPr algn="ctr"/>
            <a:r>
              <a:rPr lang="en-US" sz="1400" dirty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HSE will find ALL relevant information at the touch of a button should they require it</a:t>
            </a:r>
          </a:p>
        </p:txBody>
      </p:sp>
      <p:sp>
        <p:nvSpPr>
          <p:cNvPr id="10" name="Rectangle 9"/>
          <p:cNvSpPr/>
          <p:nvPr/>
        </p:nvSpPr>
        <p:spPr>
          <a:xfrm>
            <a:off x="2155529" y="1034950"/>
            <a:ext cx="78809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We have created bespoke modes to ensure simplicity and flexibility: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271316" y="3273939"/>
            <a:ext cx="3715657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DF6F51"/>
                </a:solidFill>
                <a:latin typeface="Montserrat Black" panose="00000A00000000000000" pitchFamily="50" charset="0"/>
              </a:rPr>
              <a:t>Personal Mode </a:t>
            </a:r>
          </a:p>
          <a:p>
            <a:pPr algn="ctr"/>
            <a:r>
              <a:rPr lang="en-US" sz="1600" dirty="0">
                <a:solidFill>
                  <a:srgbClr val="A136A0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Designed for use by remote/roaming engineers/managers</a:t>
            </a:r>
          </a:p>
          <a:p>
            <a:pPr algn="ctr"/>
            <a:endParaRPr lang="en-US" dirty="0">
              <a:latin typeface="Lato Medium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algn="ctr"/>
            <a:r>
              <a:rPr lang="en-US" sz="1400" dirty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llowing them to access different projects/sites equipment and personnel detail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8207670" y="3273939"/>
            <a:ext cx="3715657" cy="2646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DF6F51"/>
                </a:solidFill>
                <a:latin typeface="Montserrat Black" panose="00000A00000000000000" pitchFamily="50" charset="0"/>
              </a:rPr>
              <a:t>Desktop Mode</a:t>
            </a:r>
          </a:p>
          <a:p>
            <a:pPr algn="ctr"/>
            <a:r>
              <a:rPr lang="en-US" sz="1600" dirty="0">
                <a:solidFill>
                  <a:srgbClr val="A136A0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Providing your office-based staff total access (credentials dependent)</a:t>
            </a:r>
          </a:p>
          <a:p>
            <a:pPr algn="ctr"/>
            <a:endParaRPr lang="en-US" dirty="0">
              <a:latin typeface="Lato Medium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algn="ctr"/>
            <a:r>
              <a:rPr lang="en-US" sz="1400" dirty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ccess to all aspects of the service including individual site/projects, detailed system information in addition to comprehensive dashboards which deliver real-time and historical core data.</a:t>
            </a:r>
          </a:p>
          <a:p>
            <a:pPr algn="ctr"/>
            <a:r>
              <a:rPr lang="en-US" sz="1400" dirty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ccess to the Compliance Genie™ will allow senior admin access to core functionality too</a:t>
            </a:r>
          </a:p>
        </p:txBody>
      </p:sp>
      <p:grpSp>
        <p:nvGrpSpPr>
          <p:cNvPr id="9" name="Groupe 8"/>
          <p:cNvGrpSpPr/>
          <p:nvPr/>
        </p:nvGrpSpPr>
        <p:grpSpPr>
          <a:xfrm>
            <a:off x="4361354" y="1602445"/>
            <a:ext cx="3535580" cy="1614344"/>
            <a:chOff x="4145135" y="1602445"/>
            <a:chExt cx="3535580" cy="1614344"/>
          </a:xfrm>
        </p:grpSpPr>
        <p:pic>
          <p:nvPicPr>
            <p:cNvPr id="20" name="Image 1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45135" y="1750866"/>
              <a:ext cx="2980421" cy="1429684"/>
            </a:xfrm>
            <a:prstGeom prst="rect">
              <a:avLst/>
            </a:prstGeom>
          </p:spPr>
        </p:pic>
        <p:pic>
          <p:nvPicPr>
            <p:cNvPr id="8" name="Image 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4750" y="1602445"/>
              <a:ext cx="1425965" cy="1614344"/>
            </a:xfrm>
            <a:prstGeom prst="rect">
              <a:avLst/>
            </a:prstGeom>
          </p:spPr>
        </p:pic>
      </p:grpSp>
      <p:grpSp>
        <p:nvGrpSpPr>
          <p:cNvPr id="21" name="Groupe 20"/>
          <p:cNvGrpSpPr/>
          <p:nvPr/>
        </p:nvGrpSpPr>
        <p:grpSpPr>
          <a:xfrm>
            <a:off x="515040" y="1558686"/>
            <a:ext cx="3535580" cy="1614344"/>
            <a:chOff x="4145135" y="1602445"/>
            <a:chExt cx="3535580" cy="1614344"/>
          </a:xfrm>
        </p:grpSpPr>
        <p:pic>
          <p:nvPicPr>
            <p:cNvPr id="22" name="Image 2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45135" y="1750866"/>
              <a:ext cx="2980421" cy="1429684"/>
            </a:xfrm>
            <a:prstGeom prst="rect">
              <a:avLst/>
            </a:prstGeom>
          </p:spPr>
        </p:pic>
        <p:pic>
          <p:nvPicPr>
            <p:cNvPr id="25" name="Image 2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4750" y="1602445"/>
              <a:ext cx="1425965" cy="1614344"/>
            </a:xfrm>
            <a:prstGeom prst="rect">
              <a:avLst/>
            </a:prstGeom>
          </p:spPr>
        </p:pic>
      </p:grpSp>
      <p:pic>
        <p:nvPicPr>
          <p:cNvPr id="11" name="Image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8844" y="1538994"/>
            <a:ext cx="2415488" cy="1734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1791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54807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2" name="Diapositive think-cell" r:id="rId5" imgW="592" imgH="595" progId="TCLayout.ActiveDocument.1">
                  <p:embed/>
                </p:oleObj>
              </mc:Choice>
              <mc:Fallback>
                <p:oleObj name="Diapositive think-cell" r:id="rId5" imgW="592" imgH="595" progId="TCLayout.ActiveDocument.1">
                  <p:embed/>
                  <p:pic>
                    <p:nvPicPr>
                      <p:cNvPr id="5" name="Obje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Freeform 14"/>
          <p:cNvSpPr>
            <a:spLocks/>
          </p:cNvSpPr>
          <p:nvPr/>
        </p:nvSpPr>
        <p:spPr bwMode="auto">
          <a:xfrm>
            <a:off x="1454863" y="3755574"/>
            <a:ext cx="809179" cy="1018800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>
            <a:gsLst>
              <a:gs pos="0">
                <a:srgbClr val="A136A0"/>
              </a:gs>
              <a:gs pos="100000">
                <a:srgbClr val="7030A0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EC232"/>
              </a:solidFill>
              <a:latin typeface="Montserrat Black" panose="00000A00000000000000" pitchFamily="50" charset="0"/>
            </a:endParaRPr>
          </a:p>
        </p:txBody>
      </p:sp>
      <p:sp>
        <p:nvSpPr>
          <p:cNvPr id="35" name="Freeform 14"/>
          <p:cNvSpPr>
            <a:spLocks/>
          </p:cNvSpPr>
          <p:nvPr/>
        </p:nvSpPr>
        <p:spPr bwMode="auto">
          <a:xfrm>
            <a:off x="5903671" y="3755574"/>
            <a:ext cx="809179" cy="1018800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>
            <a:gsLst>
              <a:gs pos="0">
                <a:srgbClr val="A136A0"/>
              </a:gs>
              <a:gs pos="100000">
                <a:srgbClr val="7030A0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EC232"/>
              </a:solidFill>
              <a:latin typeface="Montserrat Black" panose="00000A00000000000000" pitchFamily="50" charset="0"/>
            </a:endParaRPr>
          </a:p>
        </p:txBody>
      </p:sp>
      <p:sp>
        <p:nvSpPr>
          <p:cNvPr id="36" name="Freeform 14"/>
          <p:cNvSpPr>
            <a:spLocks/>
          </p:cNvSpPr>
          <p:nvPr/>
        </p:nvSpPr>
        <p:spPr bwMode="auto">
          <a:xfrm>
            <a:off x="10076369" y="3755574"/>
            <a:ext cx="809179" cy="1018800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>
            <a:gsLst>
              <a:gs pos="0">
                <a:srgbClr val="A136A0"/>
              </a:gs>
              <a:gs pos="100000">
                <a:srgbClr val="7030A0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EC232"/>
              </a:solidFill>
              <a:latin typeface="Montserrat Black" panose="00000A00000000000000" pitchFamily="50" charset="0"/>
            </a:endParaRPr>
          </a:p>
        </p:txBody>
      </p:sp>
      <p:sp>
        <p:nvSpPr>
          <p:cNvPr id="31" name="Freeform 14"/>
          <p:cNvSpPr>
            <a:spLocks/>
          </p:cNvSpPr>
          <p:nvPr/>
        </p:nvSpPr>
        <p:spPr bwMode="auto">
          <a:xfrm>
            <a:off x="1454863" y="1682510"/>
            <a:ext cx="809179" cy="1018800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>
            <a:gsLst>
              <a:gs pos="0">
                <a:srgbClr val="A136A0"/>
              </a:gs>
              <a:gs pos="100000">
                <a:srgbClr val="7030A0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EC232"/>
              </a:solidFill>
              <a:latin typeface="Montserrat Black" panose="00000A00000000000000" pitchFamily="50" charset="0"/>
            </a:endParaRPr>
          </a:p>
        </p:txBody>
      </p:sp>
      <p:sp>
        <p:nvSpPr>
          <p:cNvPr id="32" name="Freeform 14"/>
          <p:cNvSpPr>
            <a:spLocks/>
          </p:cNvSpPr>
          <p:nvPr/>
        </p:nvSpPr>
        <p:spPr bwMode="auto">
          <a:xfrm>
            <a:off x="5903671" y="1682510"/>
            <a:ext cx="809179" cy="1018800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>
            <a:gsLst>
              <a:gs pos="0">
                <a:srgbClr val="A136A0"/>
              </a:gs>
              <a:gs pos="100000">
                <a:srgbClr val="7030A0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EC232"/>
              </a:solidFill>
              <a:latin typeface="Montserrat Black" panose="00000A00000000000000" pitchFamily="50" charset="0"/>
            </a:endParaRPr>
          </a:p>
        </p:txBody>
      </p:sp>
      <p:sp>
        <p:nvSpPr>
          <p:cNvPr id="33" name="Freeform 14"/>
          <p:cNvSpPr>
            <a:spLocks/>
          </p:cNvSpPr>
          <p:nvPr/>
        </p:nvSpPr>
        <p:spPr bwMode="auto">
          <a:xfrm>
            <a:off x="10076369" y="1682510"/>
            <a:ext cx="809179" cy="1018800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>
            <a:gsLst>
              <a:gs pos="0">
                <a:srgbClr val="A136A0"/>
              </a:gs>
              <a:gs pos="100000">
                <a:srgbClr val="7030A0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EC232"/>
              </a:solidFill>
              <a:latin typeface="Montserrat Black" panose="00000A00000000000000" pitchFamily="50" charset="0"/>
            </a:endParaRPr>
          </a:p>
        </p:txBody>
      </p:sp>
      <p:sp>
        <p:nvSpPr>
          <p:cNvPr id="530" name="Rectangle 529"/>
          <p:cNvSpPr/>
          <p:nvPr/>
        </p:nvSpPr>
        <p:spPr>
          <a:xfrm>
            <a:off x="334963" y="206624"/>
            <a:ext cx="115935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Example user modes functionality </a:t>
            </a:r>
          </a:p>
        </p:txBody>
      </p:sp>
      <p:pic>
        <p:nvPicPr>
          <p:cNvPr id="23" name="Image 2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982373"/>
            <a:ext cx="1174243" cy="542252"/>
          </a:xfrm>
          <a:prstGeom prst="rect">
            <a:avLst/>
          </a:prstGeom>
        </p:spPr>
      </p:pic>
      <p:sp>
        <p:nvSpPr>
          <p:cNvPr id="24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rgbClr val="A136A0"/>
                </a:solidFill>
                <a:latin typeface="Lato Medium"/>
                <a:ea typeface="Lato Medium"/>
                <a:cs typeface="Lato Medium"/>
              </a:rPr>
              <a:t>be-safetech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.c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</a:t>
            </a:r>
            <a:r>
              <a:rPr lang="en-US" b="1" dirty="0">
                <a:solidFill>
                  <a:srgbClr val="FEC232"/>
                </a:solidFill>
                <a:latin typeface="Montserrat"/>
              </a:rPr>
              <a:t>| </a:t>
            </a:r>
            <a:fld id="{DABD2AA5-CABB-4467-8A69-C511B00C377E}" type="slidenum">
              <a:rPr lang="en-US" b="1" dirty="0" smtClean="0">
                <a:solidFill>
                  <a:srgbClr val="A136A0"/>
                </a:solidFill>
                <a:latin typeface="Montserrat"/>
              </a:rPr>
              <a:pPr algn="l" rtl="1"/>
              <a:t>11</a:t>
            </a:fld>
            <a:endParaRPr lang="en-US" b="1" dirty="0">
              <a:solidFill>
                <a:srgbClr val="A136A0"/>
              </a:solidFill>
              <a:latin typeface="Montserra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155529" y="745039"/>
            <a:ext cx="78809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A136A0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Create and distribute risk assessments quickly and track sign off</a:t>
            </a:r>
          </a:p>
        </p:txBody>
      </p:sp>
      <p:sp>
        <p:nvSpPr>
          <p:cNvPr id="3" name="Rectangle 2"/>
          <p:cNvSpPr/>
          <p:nvPr/>
        </p:nvSpPr>
        <p:spPr>
          <a:xfrm>
            <a:off x="276907" y="2716118"/>
            <a:ext cx="31650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Create your own induction process </a:t>
            </a:r>
          </a:p>
        </p:txBody>
      </p:sp>
      <p:sp>
        <p:nvSpPr>
          <p:cNvPr id="4" name="Rectangle 3"/>
          <p:cNvSpPr/>
          <p:nvPr/>
        </p:nvSpPr>
        <p:spPr>
          <a:xfrm>
            <a:off x="4725715" y="2716118"/>
            <a:ext cx="316509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Uniquely identify each employee, visitor, and delivery </a:t>
            </a:r>
          </a:p>
        </p:txBody>
      </p:sp>
      <p:sp>
        <p:nvSpPr>
          <p:cNvPr id="8" name="Rectangle 7"/>
          <p:cNvSpPr/>
          <p:nvPr/>
        </p:nvSpPr>
        <p:spPr>
          <a:xfrm>
            <a:off x="8898414" y="2716118"/>
            <a:ext cx="316509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utomated inductions covering the salient points relevant to that individual</a:t>
            </a:r>
          </a:p>
        </p:txBody>
      </p:sp>
      <p:sp>
        <p:nvSpPr>
          <p:cNvPr id="10" name="Rectangle 9"/>
          <p:cNvSpPr/>
          <p:nvPr/>
        </p:nvSpPr>
        <p:spPr>
          <a:xfrm>
            <a:off x="276907" y="4848484"/>
            <a:ext cx="316509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utomatically notify users when new documents are issued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725715" y="4848484"/>
            <a:ext cx="316509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Prompt review and track the status of the document sign off</a:t>
            </a:r>
          </a:p>
        </p:txBody>
      </p:sp>
      <p:sp>
        <p:nvSpPr>
          <p:cNvPr id="12" name="Rectangle 11"/>
          <p:cNvSpPr/>
          <p:nvPr/>
        </p:nvSpPr>
        <p:spPr>
          <a:xfrm>
            <a:off x="8898414" y="4848484"/>
            <a:ext cx="316509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Highlights actual and potential issues/accidents/concerns</a:t>
            </a:r>
            <a:endParaRPr lang="en-US" dirty="0"/>
          </a:p>
        </p:txBody>
      </p:sp>
      <p:grpSp>
        <p:nvGrpSpPr>
          <p:cNvPr id="22" name="Group 89"/>
          <p:cNvGrpSpPr>
            <a:grpSpLocks noChangeAspect="1"/>
          </p:cNvGrpSpPr>
          <p:nvPr/>
        </p:nvGrpSpPr>
        <p:grpSpPr bwMode="auto">
          <a:xfrm>
            <a:off x="6019478" y="3980460"/>
            <a:ext cx="557522" cy="540000"/>
            <a:chOff x="5242" y="-778"/>
            <a:chExt cx="350" cy="339"/>
          </a:xfrm>
          <a:gradFill>
            <a:gsLst>
              <a:gs pos="100000">
                <a:srgbClr val="E57518"/>
              </a:gs>
              <a:gs pos="0">
                <a:srgbClr val="FEC232"/>
              </a:gs>
            </a:gsLst>
            <a:path path="circle">
              <a:fillToRect l="50000" t="50000" r="50000" b="50000"/>
            </a:path>
          </a:gradFill>
        </p:grpSpPr>
        <p:sp>
          <p:nvSpPr>
            <p:cNvPr id="25" name="Freeform 90"/>
            <p:cNvSpPr>
              <a:spLocks noEditPoints="1"/>
            </p:cNvSpPr>
            <p:nvPr/>
          </p:nvSpPr>
          <p:spPr bwMode="auto">
            <a:xfrm>
              <a:off x="5242" y="-778"/>
              <a:ext cx="350" cy="339"/>
            </a:xfrm>
            <a:custGeom>
              <a:avLst/>
              <a:gdLst>
                <a:gd name="T0" fmla="*/ 4308 w 6620"/>
                <a:gd name="T1" fmla="*/ 2 h 6402"/>
                <a:gd name="T2" fmla="*/ 2454 w 6620"/>
                <a:gd name="T3" fmla="*/ 1076 h 6402"/>
                <a:gd name="T4" fmla="*/ 2472 w 6620"/>
                <a:gd name="T5" fmla="*/ 3217 h 6402"/>
                <a:gd name="T6" fmla="*/ 197 w 6620"/>
                <a:gd name="T7" fmla="*/ 5493 h 6402"/>
                <a:gd name="T8" fmla="*/ 82 w 6620"/>
                <a:gd name="T9" fmla="*/ 6073 h 6402"/>
                <a:gd name="T10" fmla="*/ 574 w 6620"/>
                <a:gd name="T11" fmla="*/ 6402 h 6402"/>
                <a:gd name="T12" fmla="*/ 951 w 6620"/>
                <a:gd name="T13" fmla="*/ 6246 h 6402"/>
                <a:gd name="T14" fmla="*/ 1216 w 6620"/>
                <a:gd name="T15" fmla="*/ 5981 h 6402"/>
                <a:gd name="T16" fmla="*/ 1219 w 6620"/>
                <a:gd name="T17" fmla="*/ 5979 h 6402"/>
                <a:gd name="T18" fmla="*/ 1221 w 6620"/>
                <a:gd name="T19" fmla="*/ 5976 h 6402"/>
                <a:gd name="T20" fmla="*/ 1536 w 6620"/>
                <a:gd name="T21" fmla="*/ 5661 h 6402"/>
                <a:gd name="T22" fmla="*/ 1539 w 6620"/>
                <a:gd name="T23" fmla="*/ 5659 h 6402"/>
                <a:gd name="T24" fmla="*/ 1541 w 6620"/>
                <a:gd name="T25" fmla="*/ 5656 h 6402"/>
                <a:gd name="T26" fmla="*/ 3226 w 6620"/>
                <a:gd name="T27" fmla="*/ 3971 h 6402"/>
                <a:gd name="T28" fmla="*/ 5670 w 6620"/>
                <a:gd name="T29" fmla="*/ 3776 h 6402"/>
                <a:gd name="T30" fmla="*/ 6315 w 6620"/>
                <a:gd name="T31" fmla="*/ 1410 h 6402"/>
                <a:gd name="T32" fmla="*/ 4308 w 6620"/>
                <a:gd name="T33" fmla="*/ 2 h 6402"/>
                <a:gd name="T34" fmla="*/ 1462 w 6620"/>
                <a:gd name="T35" fmla="*/ 5433 h 6402"/>
                <a:gd name="T36" fmla="*/ 1290 w 6620"/>
                <a:gd name="T37" fmla="*/ 5260 h 6402"/>
                <a:gd name="T38" fmla="*/ 1140 w 6620"/>
                <a:gd name="T39" fmla="*/ 5261 h 6402"/>
                <a:gd name="T40" fmla="*/ 1139 w 6620"/>
                <a:gd name="T41" fmla="*/ 5411 h 6402"/>
                <a:gd name="T42" fmla="*/ 1312 w 6620"/>
                <a:gd name="T43" fmla="*/ 5583 h 6402"/>
                <a:gd name="T44" fmla="*/ 1142 w 6620"/>
                <a:gd name="T45" fmla="*/ 5753 h 6402"/>
                <a:gd name="T46" fmla="*/ 970 w 6620"/>
                <a:gd name="T47" fmla="*/ 5580 h 6402"/>
                <a:gd name="T48" fmla="*/ 866 w 6620"/>
                <a:gd name="T49" fmla="*/ 5551 h 6402"/>
                <a:gd name="T50" fmla="*/ 790 w 6620"/>
                <a:gd name="T51" fmla="*/ 5627 h 6402"/>
                <a:gd name="T52" fmla="*/ 819 w 6620"/>
                <a:gd name="T53" fmla="*/ 5731 h 6402"/>
                <a:gd name="T54" fmla="*/ 992 w 6620"/>
                <a:gd name="T55" fmla="*/ 5903 h 6402"/>
                <a:gd name="T56" fmla="*/ 800 w 6620"/>
                <a:gd name="T57" fmla="*/ 6095 h 6402"/>
                <a:gd name="T58" fmla="*/ 574 w 6620"/>
                <a:gd name="T59" fmla="*/ 6189 h 6402"/>
                <a:gd name="T60" fmla="*/ 280 w 6620"/>
                <a:gd name="T61" fmla="*/ 5991 h 6402"/>
                <a:gd name="T62" fmla="*/ 348 w 6620"/>
                <a:gd name="T63" fmla="*/ 5643 h 6402"/>
                <a:gd name="T64" fmla="*/ 2593 w 6620"/>
                <a:gd name="T65" fmla="*/ 3399 h 6402"/>
                <a:gd name="T66" fmla="*/ 3044 w 6620"/>
                <a:gd name="T67" fmla="*/ 3850 h 6402"/>
                <a:gd name="T68" fmla="*/ 1462 w 6620"/>
                <a:gd name="T69" fmla="*/ 5433 h 6402"/>
                <a:gd name="T70" fmla="*/ 4308 w 6620"/>
                <a:gd name="T71" fmla="*/ 4055 h 6402"/>
                <a:gd name="T72" fmla="*/ 2388 w 6620"/>
                <a:gd name="T73" fmla="*/ 2135 h 6402"/>
                <a:gd name="T74" fmla="*/ 4308 w 6620"/>
                <a:gd name="T75" fmla="*/ 215 h 6402"/>
                <a:gd name="T76" fmla="*/ 6228 w 6620"/>
                <a:gd name="T77" fmla="*/ 2135 h 6402"/>
                <a:gd name="T78" fmla="*/ 4308 w 6620"/>
                <a:gd name="T79" fmla="*/ 4055 h 6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620" h="6402">
                  <a:moveTo>
                    <a:pt x="4308" y="2"/>
                  </a:moveTo>
                  <a:cubicBezTo>
                    <a:pt x="3542" y="0"/>
                    <a:pt x="2834" y="410"/>
                    <a:pt x="2454" y="1076"/>
                  </a:cubicBezTo>
                  <a:cubicBezTo>
                    <a:pt x="2075" y="1741"/>
                    <a:pt x="2082" y="2559"/>
                    <a:pt x="2472" y="3217"/>
                  </a:cubicBezTo>
                  <a:lnTo>
                    <a:pt x="197" y="5493"/>
                  </a:lnTo>
                  <a:cubicBezTo>
                    <a:pt x="45" y="5645"/>
                    <a:pt x="0" y="5874"/>
                    <a:pt x="82" y="6073"/>
                  </a:cubicBezTo>
                  <a:cubicBezTo>
                    <a:pt x="165" y="6272"/>
                    <a:pt x="359" y="6402"/>
                    <a:pt x="574" y="6402"/>
                  </a:cubicBezTo>
                  <a:cubicBezTo>
                    <a:pt x="716" y="6402"/>
                    <a:pt x="851" y="6346"/>
                    <a:pt x="951" y="6246"/>
                  </a:cubicBezTo>
                  <a:lnTo>
                    <a:pt x="1216" y="5981"/>
                  </a:lnTo>
                  <a:cubicBezTo>
                    <a:pt x="1216" y="5981"/>
                    <a:pt x="1218" y="5980"/>
                    <a:pt x="1219" y="5979"/>
                  </a:cubicBezTo>
                  <a:cubicBezTo>
                    <a:pt x="1220" y="5978"/>
                    <a:pt x="1220" y="5977"/>
                    <a:pt x="1221" y="5976"/>
                  </a:cubicBezTo>
                  <a:lnTo>
                    <a:pt x="1536" y="5661"/>
                  </a:lnTo>
                  <a:cubicBezTo>
                    <a:pt x="1536" y="5661"/>
                    <a:pt x="1538" y="5660"/>
                    <a:pt x="1539" y="5659"/>
                  </a:cubicBezTo>
                  <a:cubicBezTo>
                    <a:pt x="1540" y="5658"/>
                    <a:pt x="1540" y="5657"/>
                    <a:pt x="1541" y="5656"/>
                  </a:cubicBezTo>
                  <a:lnTo>
                    <a:pt x="3226" y="3971"/>
                  </a:lnTo>
                  <a:cubicBezTo>
                    <a:pt x="4001" y="4427"/>
                    <a:pt x="4978" y="4349"/>
                    <a:pt x="5670" y="3776"/>
                  </a:cubicBezTo>
                  <a:cubicBezTo>
                    <a:pt x="6362" y="3202"/>
                    <a:pt x="6620" y="2256"/>
                    <a:pt x="6315" y="1410"/>
                  </a:cubicBezTo>
                  <a:cubicBezTo>
                    <a:pt x="6009" y="565"/>
                    <a:pt x="5207" y="1"/>
                    <a:pt x="4308" y="2"/>
                  </a:cubicBezTo>
                  <a:close/>
                  <a:moveTo>
                    <a:pt x="1462" y="5433"/>
                  </a:moveTo>
                  <a:lnTo>
                    <a:pt x="1290" y="5260"/>
                  </a:lnTo>
                  <a:cubicBezTo>
                    <a:pt x="1248" y="5219"/>
                    <a:pt x="1181" y="5220"/>
                    <a:pt x="1140" y="5261"/>
                  </a:cubicBezTo>
                  <a:cubicBezTo>
                    <a:pt x="1099" y="5302"/>
                    <a:pt x="1098" y="5369"/>
                    <a:pt x="1139" y="5411"/>
                  </a:cubicBezTo>
                  <a:lnTo>
                    <a:pt x="1312" y="5583"/>
                  </a:lnTo>
                  <a:lnTo>
                    <a:pt x="1142" y="5753"/>
                  </a:lnTo>
                  <a:lnTo>
                    <a:pt x="970" y="5580"/>
                  </a:lnTo>
                  <a:cubicBezTo>
                    <a:pt x="943" y="5552"/>
                    <a:pt x="903" y="5541"/>
                    <a:pt x="866" y="5551"/>
                  </a:cubicBezTo>
                  <a:cubicBezTo>
                    <a:pt x="829" y="5561"/>
                    <a:pt x="800" y="5590"/>
                    <a:pt x="790" y="5627"/>
                  </a:cubicBezTo>
                  <a:cubicBezTo>
                    <a:pt x="780" y="5664"/>
                    <a:pt x="791" y="5704"/>
                    <a:pt x="819" y="5731"/>
                  </a:cubicBezTo>
                  <a:lnTo>
                    <a:pt x="992" y="5903"/>
                  </a:lnTo>
                  <a:lnTo>
                    <a:pt x="800" y="6095"/>
                  </a:lnTo>
                  <a:cubicBezTo>
                    <a:pt x="740" y="6155"/>
                    <a:pt x="659" y="6189"/>
                    <a:pt x="574" y="6189"/>
                  </a:cubicBezTo>
                  <a:cubicBezTo>
                    <a:pt x="445" y="6188"/>
                    <a:pt x="329" y="6110"/>
                    <a:pt x="280" y="5991"/>
                  </a:cubicBezTo>
                  <a:cubicBezTo>
                    <a:pt x="231" y="5872"/>
                    <a:pt x="258" y="5735"/>
                    <a:pt x="348" y="5643"/>
                  </a:cubicBezTo>
                  <a:lnTo>
                    <a:pt x="2593" y="3399"/>
                  </a:lnTo>
                  <a:cubicBezTo>
                    <a:pt x="2720" y="3571"/>
                    <a:pt x="2872" y="3723"/>
                    <a:pt x="3044" y="3850"/>
                  </a:cubicBezTo>
                  <a:lnTo>
                    <a:pt x="1462" y="5433"/>
                  </a:lnTo>
                  <a:close/>
                  <a:moveTo>
                    <a:pt x="4308" y="4055"/>
                  </a:moveTo>
                  <a:cubicBezTo>
                    <a:pt x="3247" y="4055"/>
                    <a:pt x="2388" y="3196"/>
                    <a:pt x="2388" y="2135"/>
                  </a:cubicBezTo>
                  <a:cubicBezTo>
                    <a:pt x="2388" y="1075"/>
                    <a:pt x="3247" y="215"/>
                    <a:pt x="4308" y="215"/>
                  </a:cubicBezTo>
                  <a:cubicBezTo>
                    <a:pt x="5368" y="215"/>
                    <a:pt x="6228" y="1075"/>
                    <a:pt x="6228" y="2135"/>
                  </a:cubicBezTo>
                  <a:cubicBezTo>
                    <a:pt x="6226" y="3195"/>
                    <a:pt x="5368" y="4054"/>
                    <a:pt x="4308" y="40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91"/>
            <p:cNvSpPr>
              <a:spLocks/>
            </p:cNvSpPr>
            <p:nvPr/>
          </p:nvSpPr>
          <p:spPr bwMode="auto">
            <a:xfrm>
              <a:off x="5377" y="-758"/>
              <a:ext cx="142" cy="141"/>
            </a:xfrm>
            <a:custGeom>
              <a:avLst/>
              <a:gdLst>
                <a:gd name="T0" fmla="*/ 772 w 2679"/>
                <a:gd name="T1" fmla="*/ 772 h 2666"/>
                <a:gd name="T2" fmla="*/ 2500 w 2679"/>
                <a:gd name="T3" fmla="*/ 584 h 2666"/>
                <a:gd name="T4" fmla="*/ 2648 w 2679"/>
                <a:gd name="T5" fmla="*/ 552 h 2666"/>
                <a:gd name="T6" fmla="*/ 2615 w 2679"/>
                <a:gd name="T7" fmla="*/ 404 h 2666"/>
                <a:gd name="T8" fmla="*/ 621 w 2679"/>
                <a:gd name="T9" fmla="*/ 622 h 2666"/>
                <a:gd name="T10" fmla="*/ 405 w 2679"/>
                <a:gd name="T11" fmla="*/ 2615 h 2666"/>
                <a:gd name="T12" fmla="*/ 499 w 2679"/>
                <a:gd name="T13" fmla="*/ 2664 h 2666"/>
                <a:gd name="T14" fmla="*/ 589 w 2679"/>
                <a:gd name="T15" fmla="*/ 2607 h 2666"/>
                <a:gd name="T16" fmla="*/ 584 w 2679"/>
                <a:gd name="T17" fmla="*/ 2500 h 2666"/>
                <a:gd name="T18" fmla="*/ 772 w 2679"/>
                <a:gd name="T19" fmla="*/ 772 h 2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79" h="2666">
                  <a:moveTo>
                    <a:pt x="772" y="772"/>
                  </a:moveTo>
                  <a:cubicBezTo>
                    <a:pt x="1234" y="314"/>
                    <a:pt x="1951" y="237"/>
                    <a:pt x="2500" y="584"/>
                  </a:cubicBezTo>
                  <a:cubicBezTo>
                    <a:pt x="2550" y="616"/>
                    <a:pt x="2616" y="601"/>
                    <a:pt x="2648" y="552"/>
                  </a:cubicBezTo>
                  <a:cubicBezTo>
                    <a:pt x="2679" y="502"/>
                    <a:pt x="2665" y="436"/>
                    <a:pt x="2615" y="404"/>
                  </a:cubicBezTo>
                  <a:cubicBezTo>
                    <a:pt x="1982" y="0"/>
                    <a:pt x="1153" y="90"/>
                    <a:pt x="621" y="622"/>
                  </a:cubicBezTo>
                  <a:cubicBezTo>
                    <a:pt x="90" y="1153"/>
                    <a:pt x="0" y="1982"/>
                    <a:pt x="405" y="2615"/>
                  </a:cubicBezTo>
                  <a:cubicBezTo>
                    <a:pt x="425" y="2647"/>
                    <a:pt x="461" y="2666"/>
                    <a:pt x="499" y="2664"/>
                  </a:cubicBezTo>
                  <a:cubicBezTo>
                    <a:pt x="538" y="2663"/>
                    <a:pt x="572" y="2641"/>
                    <a:pt x="589" y="2607"/>
                  </a:cubicBezTo>
                  <a:cubicBezTo>
                    <a:pt x="607" y="2573"/>
                    <a:pt x="605" y="2532"/>
                    <a:pt x="584" y="2500"/>
                  </a:cubicBezTo>
                  <a:cubicBezTo>
                    <a:pt x="237" y="1951"/>
                    <a:pt x="314" y="1234"/>
                    <a:pt x="772" y="7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92"/>
            <p:cNvSpPr>
              <a:spLocks/>
            </p:cNvSpPr>
            <p:nvPr/>
          </p:nvSpPr>
          <p:spPr bwMode="auto">
            <a:xfrm>
              <a:off x="5421" y="-714"/>
              <a:ext cx="141" cy="141"/>
            </a:xfrm>
            <a:custGeom>
              <a:avLst/>
              <a:gdLst>
                <a:gd name="T0" fmla="*/ 2128 w 2677"/>
                <a:gd name="T1" fmla="*/ 21 h 2666"/>
                <a:gd name="T2" fmla="*/ 2096 w 2677"/>
                <a:gd name="T3" fmla="*/ 168 h 2666"/>
                <a:gd name="T4" fmla="*/ 1909 w 2677"/>
                <a:gd name="T5" fmla="*/ 1897 h 2666"/>
                <a:gd name="T6" fmla="*/ 180 w 2677"/>
                <a:gd name="T7" fmla="*/ 2085 h 2666"/>
                <a:gd name="T8" fmla="*/ 32 w 2677"/>
                <a:gd name="T9" fmla="*/ 2117 h 2666"/>
                <a:gd name="T10" fmla="*/ 65 w 2677"/>
                <a:gd name="T11" fmla="*/ 2264 h 2666"/>
                <a:gd name="T12" fmla="*/ 2059 w 2677"/>
                <a:gd name="T13" fmla="*/ 2048 h 2666"/>
                <a:gd name="T14" fmla="*/ 2276 w 2677"/>
                <a:gd name="T15" fmla="*/ 53 h 2666"/>
                <a:gd name="T16" fmla="*/ 2209 w 2677"/>
                <a:gd name="T17" fmla="*/ 6 h 2666"/>
                <a:gd name="T18" fmla="*/ 2128 w 2677"/>
                <a:gd name="T19" fmla="*/ 21 h 2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77" h="2666">
                  <a:moveTo>
                    <a:pt x="2128" y="21"/>
                  </a:moveTo>
                  <a:cubicBezTo>
                    <a:pt x="2079" y="53"/>
                    <a:pt x="2064" y="119"/>
                    <a:pt x="2096" y="168"/>
                  </a:cubicBezTo>
                  <a:cubicBezTo>
                    <a:pt x="2448" y="717"/>
                    <a:pt x="2370" y="1437"/>
                    <a:pt x="1909" y="1897"/>
                  </a:cubicBezTo>
                  <a:cubicBezTo>
                    <a:pt x="1448" y="2358"/>
                    <a:pt x="728" y="2436"/>
                    <a:pt x="180" y="2085"/>
                  </a:cubicBezTo>
                  <a:cubicBezTo>
                    <a:pt x="130" y="2053"/>
                    <a:pt x="64" y="2067"/>
                    <a:pt x="32" y="2117"/>
                  </a:cubicBezTo>
                  <a:cubicBezTo>
                    <a:pt x="0" y="2167"/>
                    <a:pt x="15" y="2233"/>
                    <a:pt x="65" y="2264"/>
                  </a:cubicBezTo>
                  <a:cubicBezTo>
                    <a:pt x="699" y="2666"/>
                    <a:pt x="1526" y="2576"/>
                    <a:pt x="2059" y="2048"/>
                  </a:cubicBezTo>
                  <a:cubicBezTo>
                    <a:pt x="2587" y="1514"/>
                    <a:pt x="2677" y="687"/>
                    <a:pt x="2276" y="53"/>
                  </a:cubicBezTo>
                  <a:cubicBezTo>
                    <a:pt x="2261" y="29"/>
                    <a:pt x="2236" y="12"/>
                    <a:pt x="2209" y="6"/>
                  </a:cubicBezTo>
                  <a:cubicBezTo>
                    <a:pt x="2181" y="0"/>
                    <a:pt x="2152" y="5"/>
                    <a:pt x="2128" y="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93"/>
            <p:cNvSpPr>
              <a:spLocks/>
            </p:cNvSpPr>
            <p:nvPr/>
          </p:nvSpPr>
          <p:spPr bwMode="auto">
            <a:xfrm>
              <a:off x="5413" y="-722"/>
              <a:ext cx="57" cy="57"/>
            </a:xfrm>
            <a:custGeom>
              <a:avLst/>
              <a:gdLst>
                <a:gd name="T0" fmla="*/ 190 w 1084"/>
                <a:gd name="T1" fmla="*/ 1045 h 1084"/>
                <a:gd name="T2" fmla="*/ 1043 w 1084"/>
                <a:gd name="T3" fmla="*/ 192 h 1084"/>
                <a:gd name="T4" fmla="*/ 1042 w 1084"/>
                <a:gd name="T5" fmla="*/ 42 h 1084"/>
                <a:gd name="T6" fmla="*/ 893 w 1084"/>
                <a:gd name="T7" fmla="*/ 41 h 1084"/>
                <a:gd name="T8" fmla="*/ 39 w 1084"/>
                <a:gd name="T9" fmla="*/ 894 h 1084"/>
                <a:gd name="T10" fmla="*/ 10 w 1084"/>
                <a:gd name="T11" fmla="*/ 998 h 1084"/>
                <a:gd name="T12" fmla="*/ 86 w 1084"/>
                <a:gd name="T13" fmla="*/ 1074 h 1084"/>
                <a:gd name="T14" fmla="*/ 190 w 1084"/>
                <a:gd name="T15" fmla="*/ 1045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84" h="1084">
                  <a:moveTo>
                    <a:pt x="190" y="1045"/>
                  </a:moveTo>
                  <a:lnTo>
                    <a:pt x="1043" y="192"/>
                  </a:lnTo>
                  <a:cubicBezTo>
                    <a:pt x="1084" y="150"/>
                    <a:pt x="1083" y="83"/>
                    <a:pt x="1042" y="42"/>
                  </a:cubicBezTo>
                  <a:cubicBezTo>
                    <a:pt x="1001" y="1"/>
                    <a:pt x="934" y="0"/>
                    <a:pt x="893" y="41"/>
                  </a:cubicBezTo>
                  <a:lnTo>
                    <a:pt x="39" y="894"/>
                  </a:lnTo>
                  <a:cubicBezTo>
                    <a:pt x="12" y="921"/>
                    <a:pt x="0" y="961"/>
                    <a:pt x="10" y="998"/>
                  </a:cubicBezTo>
                  <a:cubicBezTo>
                    <a:pt x="20" y="1035"/>
                    <a:pt x="49" y="1064"/>
                    <a:pt x="86" y="1074"/>
                  </a:cubicBezTo>
                  <a:cubicBezTo>
                    <a:pt x="124" y="1084"/>
                    <a:pt x="163" y="1073"/>
                    <a:pt x="190" y="10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94"/>
            <p:cNvSpPr>
              <a:spLocks/>
            </p:cNvSpPr>
            <p:nvPr/>
          </p:nvSpPr>
          <p:spPr bwMode="auto">
            <a:xfrm>
              <a:off x="5447" y="-688"/>
              <a:ext cx="57" cy="57"/>
            </a:xfrm>
            <a:custGeom>
              <a:avLst/>
              <a:gdLst>
                <a:gd name="T0" fmla="*/ 893 w 1084"/>
                <a:gd name="T1" fmla="*/ 41 h 1084"/>
                <a:gd name="T2" fmla="*/ 39 w 1084"/>
                <a:gd name="T3" fmla="*/ 894 h 1084"/>
                <a:gd name="T4" fmla="*/ 10 w 1084"/>
                <a:gd name="T5" fmla="*/ 998 h 1084"/>
                <a:gd name="T6" fmla="*/ 86 w 1084"/>
                <a:gd name="T7" fmla="*/ 1074 h 1084"/>
                <a:gd name="T8" fmla="*/ 190 w 1084"/>
                <a:gd name="T9" fmla="*/ 1045 h 1084"/>
                <a:gd name="T10" fmla="*/ 1043 w 1084"/>
                <a:gd name="T11" fmla="*/ 192 h 1084"/>
                <a:gd name="T12" fmla="*/ 1042 w 1084"/>
                <a:gd name="T13" fmla="*/ 42 h 1084"/>
                <a:gd name="T14" fmla="*/ 893 w 1084"/>
                <a:gd name="T15" fmla="*/ 41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84" h="1084">
                  <a:moveTo>
                    <a:pt x="893" y="41"/>
                  </a:moveTo>
                  <a:lnTo>
                    <a:pt x="39" y="894"/>
                  </a:lnTo>
                  <a:cubicBezTo>
                    <a:pt x="12" y="921"/>
                    <a:pt x="0" y="961"/>
                    <a:pt x="10" y="998"/>
                  </a:cubicBezTo>
                  <a:cubicBezTo>
                    <a:pt x="20" y="1035"/>
                    <a:pt x="49" y="1064"/>
                    <a:pt x="86" y="1074"/>
                  </a:cubicBezTo>
                  <a:cubicBezTo>
                    <a:pt x="124" y="1084"/>
                    <a:pt x="163" y="1073"/>
                    <a:pt x="190" y="1045"/>
                  </a:cubicBezTo>
                  <a:lnTo>
                    <a:pt x="1043" y="192"/>
                  </a:lnTo>
                  <a:cubicBezTo>
                    <a:pt x="1084" y="150"/>
                    <a:pt x="1083" y="83"/>
                    <a:pt x="1042" y="42"/>
                  </a:cubicBezTo>
                  <a:cubicBezTo>
                    <a:pt x="1001" y="1"/>
                    <a:pt x="934" y="0"/>
                    <a:pt x="893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5"/>
            <p:cNvSpPr>
              <a:spLocks/>
            </p:cNvSpPr>
            <p:nvPr/>
          </p:nvSpPr>
          <p:spPr bwMode="auto">
            <a:xfrm>
              <a:off x="5419" y="-716"/>
              <a:ext cx="79" cy="80"/>
            </a:xfrm>
            <a:custGeom>
              <a:avLst/>
              <a:gdLst>
                <a:gd name="T0" fmla="*/ 190 w 1510"/>
                <a:gd name="T1" fmla="*/ 1471 h 1510"/>
                <a:gd name="T2" fmla="*/ 1470 w 1510"/>
                <a:gd name="T3" fmla="*/ 191 h 1510"/>
                <a:gd name="T4" fmla="*/ 1468 w 1510"/>
                <a:gd name="T5" fmla="*/ 42 h 1510"/>
                <a:gd name="T6" fmla="*/ 1319 w 1510"/>
                <a:gd name="T7" fmla="*/ 41 h 1510"/>
                <a:gd name="T8" fmla="*/ 39 w 1510"/>
                <a:gd name="T9" fmla="*/ 1321 h 1510"/>
                <a:gd name="T10" fmla="*/ 10 w 1510"/>
                <a:gd name="T11" fmla="*/ 1424 h 1510"/>
                <a:gd name="T12" fmla="*/ 86 w 1510"/>
                <a:gd name="T13" fmla="*/ 1501 h 1510"/>
                <a:gd name="T14" fmla="*/ 190 w 1510"/>
                <a:gd name="T15" fmla="*/ 1471 h 1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10" h="1510">
                  <a:moveTo>
                    <a:pt x="190" y="1471"/>
                  </a:moveTo>
                  <a:lnTo>
                    <a:pt x="1470" y="191"/>
                  </a:lnTo>
                  <a:cubicBezTo>
                    <a:pt x="1510" y="150"/>
                    <a:pt x="1510" y="83"/>
                    <a:pt x="1468" y="42"/>
                  </a:cubicBezTo>
                  <a:cubicBezTo>
                    <a:pt x="1427" y="1"/>
                    <a:pt x="1361" y="0"/>
                    <a:pt x="1319" y="41"/>
                  </a:cubicBezTo>
                  <a:lnTo>
                    <a:pt x="39" y="1321"/>
                  </a:lnTo>
                  <a:cubicBezTo>
                    <a:pt x="11" y="1347"/>
                    <a:pt x="0" y="1387"/>
                    <a:pt x="10" y="1424"/>
                  </a:cubicBezTo>
                  <a:cubicBezTo>
                    <a:pt x="20" y="1462"/>
                    <a:pt x="49" y="1491"/>
                    <a:pt x="86" y="1501"/>
                  </a:cubicBezTo>
                  <a:cubicBezTo>
                    <a:pt x="123" y="1510"/>
                    <a:pt x="163" y="1499"/>
                    <a:pt x="190" y="147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" name="Group 21"/>
          <p:cNvGrpSpPr>
            <a:grpSpLocks noChangeAspect="1"/>
          </p:cNvGrpSpPr>
          <p:nvPr/>
        </p:nvGrpSpPr>
        <p:grpSpPr bwMode="auto">
          <a:xfrm>
            <a:off x="1591688" y="1943101"/>
            <a:ext cx="544512" cy="539750"/>
            <a:chOff x="967" y="1313"/>
            <a:chExt cx="343" cy="340"/>
          </a:xfrm>
          <a:gradFill>
            <a:gsLst>
              <a:gs pos="0">
                <a:srgbClr val="FEC232"/>
              </a:gs>
              <a:gs pos="100000">
                <a:srgbClr val="E57518"/>
              </a:gs>
            </a:gsLst>
            <a:path path="circle">
              <a:fillToRect l="50000" t="50000" r="50000" b="50000"/>
            </a:path>
          </a:gradFill>
        </p:grpSpPr>
        <p:sp>
          <p:nvSpPr>
            <p:cNvPr id="15" name="Freeform 22"/>
            <p:cNvSpPr>
              <a:spLocks noEditPoints="1"/>
            </p:cNvSpPr>
            <p:nvPr/>
          </p:nvSpPr>
          <p:spPr bwMode="auto">
            <a:xfrm>
              <a:off x="967" y="1349"/>
              <a:ext cx="322" cy="304"/>
            </a:xfrm>
            <a:custGeom>
              <a:avLst/>
              <a:gdLst>
                <a:gd name="T0" fmla="*/ 6168 w 6335"/>
                <a:gd name="T1" fmla="*/ 3525 h 6002"/>
                <a:gd name="T2" fmla="*/ 6002 w 6335"/>
                <a:gd name="T3" fmla="*/ 3692 h 6002"/>
                <a:gd name="T4" fmla="*/ 6002 w 6335"/>
                <a:gd name="T5" fmla="*/ 5170 h 6002"/>
                <a:gd name="T6" fmla="*/ 5503 w 6335"/>
                <a:gd name="T7" fmla="*/ 5669 h 6002"/>
                <a:gd name="T8" fmla="*/ 832 w 6335"/>
                <a:gd name="T9" fmla="*/ 5669 h 6002"/>
                <a:gd name="T10" fmla="*/ 333 w 6335"/>
                <a:gd name="T11" fmla="*/ 5170 h 6002"/>
                <a:gd name="T12" fmla="*/ 333 w 6335"/>
                <a:gd name="T13" fmla="*/ 832 h 6002"/>
                <a:gd name="T14" fmla="*/ 832 w 6335"/>
                <a:gd name="T15" fmla="*/ 333 h 6002"/>
                <a:gd name="T16" fmla="*/ 2310 w 6335"/>
                <a:gd name="T17" fmla="*/ 333 h 6002"/>
                <a:gd name="T18" fmla="*/ 2477 w 6335"/>
                <a:gd name="T19" fmla="*/ 166 h 6002"/>
                <a:gd name="T20" fmla="*/ 2310 w 6335"/>
                <a:gd name="T21" fmla="*/ 0 h 6002"/>
                <a:gd name="T22" fmla="*/ 832 w 6335"/>
                <a:gd name="T23" fmla="*/ 0 h 6002"/>
                <a:gd name="T24" fmla="*/ 0 w 6335"/>
                <a:gd name="T25" fmla="*/ 832 h 6002"/>
                <a:gd name="T26" fmla="*/ 0 w 6335"/>
                <a:gd name="T27" fmla="*/ 5170 h 6002"/>
                <a:gd name="T28" fmla="*/ 832 w 6335"/>
                <a:gd name="T29" fmla="*/ 6002 h 6002"/>
                <a:gd name="T30" fmla="*/ 5503 w 6335"/>
                <a:gd name="T31" fmla="*/ 6002 h 6002"/>
                <a:gd name="T32" fmla="*/ 6335 w 6335"/>
                <a:gd name="T33" fmla="*/ 5170 h 6002"/>
                <a:gd name="T34" fmla="*/ 6335 w 6335"/>
                <a:gd name="T35" fmla="*/ 3692 h 6002"/>
                <a:gd name="T36" fmla="*/ 6168 w 6335"/>
                <a:gd name="T37" fmla="*/ 3525 h 6002"/>
                <a:gd name="T38" fmla="*/ 6168 w 6335"/>
                <a:gd name="T39" fmla="*/ 3525 h 6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335" h="6002">
                  <a:moveTo>
                    <a:pt x="6168" y="3525"/>
                  </a:moveTo>
                  <a:cubicBezTo>
                    <a:pt x="6077" y="3525"/>
                    <a:pt x="6002" y="3600"/>
                    <a:pt x="6002" y="3692"/>
                  </a:cubicBezTo>
                  <a:lnTo>
                    <a:pt x="6002" y="5170"/>
                  </a:lnTo>
                  <a:cubicBezTo>
                    <a:pt x="6002" y="5445"/>
                    <a:pt x="5778" y="5669"/>
                    <a:pt x="5503" y="5669"/>
                  </a:cubicBezTo>
                  <a:lnTo>
                    <a:pt x="832" y="5669"/>
                  </a:lnTo>
                  <a:cubicBezTo>
                    <a:pt x="557" y="5669"/>
                    <a:pt x="333" y="5445"/>
                    <a:pt x="333" y="5170"/>
                  </a:cubicBezTo>
                  <a:lnTo>
                    <a:pt x="333" y="832"/>
                  </a:lnTo>
                  <a:cubicBezTo>
                    <a:pt x="333" y="557"/>
                    <a:pt x="557" y="333"/>
                    <a:pt x="832" y="333"/>
                  </a:cubicBezTo>
                  <a:lnTo>
                    <a:pt x="2310" y="333"/>
                  </a:lnTo>
                  <a:cubicBezTo>
                    <a:pt x="2402" y="333"/>
                    <a:pt x="2477" y="258"/>
                    <a:pt x="2477" y="166"/>
                  </a:cubicBezTo>
                  <a:cubicBezTo>
                    <a:pt x="2477" y="75"/>
                    <a:pt x="2402" y="0"/>
                    <a:pt x="2310" y="0"/>
                  </a:cubicBezTo>
                  <a:lnTo>
                    <a:pt x="832" y="0"/>
                  </a:lnTo>
                  <a:cubicBezTo>
                    <a:pt x="373" y="1"/>
                    <a:pt x="1" y="373"/>
                    <a:pt x="0" y="832"/>
                  </a:cubicBezTo>
                  <a:lnTo>
                    <a:pt x="0" y="5170"/>
                  </a:lnTo>
                  <a:cubicBezTo>
                    <a:pt x="1" y="5629"/>
                    <a:pt x="373" y="6002"/>
                    <a:pt x="832" y="6002"/>
                  </a:cubicBezTo>
                  <a:lnTo>
                    <a:pt x="5503" y="6002"/>
                  </a:lnTo>
                  <a:cubicBezTo>
                    <a:pt x="5962" y="6002"/>
                    <a:pt x="6334" y="5629"/>
                    <a:pt x="6335" y="5170"/>
                  </a:cubicBezTo>
                  <a:lnTo>
                    <a:pt x="6335" y="3692"/>
                  </a:lnTo>
                  <a:cubicBezTo>
                    <a:pt x="6335" y="3600"/>
                    <a:pt x="6260" y="3525"/>
                    <a:pt x="6168" y="3525"/>
                  </a:cubicBezTo>
                  <a:close/>
                  <a:moveTo>
                    <a:pt x="6168" y="3525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3"/>
            <p:cNvSpPr>
              <a:spLocks noEditPoints="1"/>
            </p:cNvSpPr>
            <p:nvPr/>
          </p:nvSpPr>
          <p:spPr bwMode="auto">
            <a:xfrm>
              <a:off x="1058" y="1313"/>
              <a:ext cx="252" cy="251"/>
            </a:xfrm>
            <a:custGeom>
              <a:avLst/>
              <a:gdLst>
                <a:gd name="T0" fmla="*/ 4478 w 4965"/>
                <a:gd name="T1" fmla="*/ 293 h 4966"/>
                <a:gd name="T2" fmla="*/ 3419 w 4965"/>
                <a:gd name="T3" fmla="*/ 293 h 4966"/>
                <a:gd name="T4" fmla="*/ 449 w 4965"/>
                <a:gd name="T5" fmla="*/ 3262 h 4966"/>
                <a:gd name="T6" fmla="*/ 406 w 4965"/>
                <a:gd name="T7" fmla="*/ 3336 h 4966"/>
                <a:gd name="T8" fmla="*/ 16 w 4965"/>
                <a:gd name="T9" fmla="*/ 4745 h 4966"/>
                <a:gd name="T10" fmla="*/ 59 w 4965"/>
                <a:gd name="T11" fmla="*/ 4908 h 4966"/>
                <a:gd name="T12" fmla="*/ 221 w 4965"/>
                <a:gd name="T13" fmla="*/ 4950 h 4966"/>
                <a:gd name="T14" fmla="*/ 1631 w 4965"/>
                <a:gd name="T15" fmla="*/ 4560 h 4966"/>
                <a:gd name="T16" fmla="*/ 1704 w 4965"/>
                <a:gd name="T17" fmla="*/ 4517 h 4966"/>
                <a:gd name="T18" fmla="*/ 4673 w 4965"/>
                <a:gd name="T19" fmla="*/ 1547 h 4966"/>
                <a:gd name="T20" fmla="*/ 4673 w 4965"/>
                <a:gd name="T21" fmla="*/ 488 h 4966"/>
                <a:gd name="T22" fmla="*/ 4478 w 4965"/>
                <a:gd name="T23" fmla="*/ 293 h 4966"/>
                <a:gd name="T24" fmla="*/ 812 w 4965"/>
                <a:gd name="T25" fmla="*/ 3370 h 4966"/>
                <a:gd name="T26" fmla="*/ 3242 w 4965"/>
                <a:gd name="T27" fmla="*/ 940 h 4966"/>
                <a:gd name="T28" fmla="*/ 4026 w 4965"/>
                <a:gd name="T29" fmla="*/ 1724 h 4966"/>
                <a:gd name="T30" fmla="*/ 1596 w 4965"/>
                <a:gd name="T31" fmla="*/ 4154 h 4966"/>
                <a:gd name="T32" fmla="*/ 812 w 4965"/>
                <a:gd name="T33" fmla="*/ 3370 h 4966"/>
                <a:gd name="T34" fmla="*/ 655 w 4965"/>
                <a:gd name="T35" fmla="*/ 3685 h 4966"/>
                <a:gd name="T36" fmla="*/ 1281 w 4965"/>
                <a:gd name="T37" fmla="*/ 4311 h 4966"/>
                <a:gd name="T38" fmla="*/ 415 w 4965"/>
                <a:gd name="T39" fmla="*/ 4551 h 4966"/>
                <a:gd name="T40" fmla="*/ 655 w 4965"/>
                <a:gd name="T41" fmla="*/ 3685 h 4966"/>
                <a:gd name="T42" fmla="*/ 4438 w 4965"/>
                <a:gd name="T43" fmla="*/ 1312 h 4966"/>
                <a:gd name="T44" fmla="*/ 4261 w 4965"/>
                <a:gd name="T45" fmla="*/ 1488 h 4966"/>
                <a:gd name="T46" fmla="*/ 3478 w 4965"/>
                <a:gd name="T47" fmla="*/ 705 h 4966"/>
                <a:gd name="T48" fmla="*/ 3654 w 4965"/>
                <a:gd name="T49" fmla="*/ 528 h 4966"/>
                <a:gd name="T50" fmla="*/ 4243 w 4965"/>
                <a:gd name="T51" fmla="*/ 528 h 4966"/>
                <a:gd name="T52" fmla="*/ 4438 w 4965"/>
                <a:gd name="T53" fmla="*/ 723 h 4966"/>
                <a:gd name="T54" fmla="*/ 4438 w 4965"/>
                <a:gd name="T55" fmla="*/ 1312 h 4966"/>
                <a:gd name="T56" fmla="*/ 4438 w 4965"/>
                <a:gd name="T57" fmla="*/ 1312 h 4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965" h="4966">
                  <a:moveTo>
                    <a:pt x="4478" y="293"/>
                  </a:moveTo>
                  <a:cubicBezTo>
                    <a:pt x="4185" y="0"/>
                    <a:pt x="3711" y="0"/>
                    <a:pt x="3419" y="293"/>
                  </a:cubicBezTo>
                  <a:lnTo>
                    <a:pt x="449" y="3262"/>
                  </a:lnTo>
                  <a:cubicBezTo>
                    <a:pt x="429" y="3283"/>
                    <a:pt x="414" y="3308"/>
                    <a:pt x="406" y="3336"/>
                  </a:cubicBezTo>
                  <a:lnTo>
                    <a:pt x="16" y="4745"/>
                  </a:lnTo>
                  <a:cubicBezTo>
                    <a:pt x="0" y="4803"/>
                    <a:pt x="16" y="4865"/>
                    <a:pt x="59" y="4908"/>
                  </a:cubicBezTo>
                  <a:cubicBezTo>
                    <a:pt x="101" y="4950"/>
                    <a:pt x="163" y="4966"/>
                    <a:pt x="221" y="4950"/>
                  </a:cubicBezTo>
                  <a:lnTo>
                    <a:pt x="1631" y="4560"/>
                  </a:lnTo>
                  <a:cubicBezTo>
                    <a:pt x="1658" y="4552"/>
                    <a:pt x="1683" y="4537"/>
                    <a:pt x="1704" y="4517"/>
                  </a:cubicBezTo>
                  <a:lnTo>
                    <a:pt x="4673" y="1547"/>
                  </a:lnTo>
                  <a:cubicBezTo>
                    <a:pt x="4965" y="1255"/>
                    <a:pt x="4965" y="781"/>
                    <a:pt x="4673" y="488"/>
                  </a:cubicBezTo>
                  <a:lnTo>
                    <a:pt x="4478" y="293"/>
                  </a:lnTo>
                  <a:close/>
                  <a:moveTo>
                    <a:pt x="812" y="3370"/>
                  </a:moveTo>
                  <a:lnTo>
                    <a:pt x="3242" y="940"/>
                  </a:lnTo>
                  <a:lnTo>
                    <a:pt x="4026" y="1724"/>
                  </a:lnTo>
                  <a:lnTo>
                    <a:pt x="1596" y="4154"/>
                  </a:lnTo>
                  <a:lnTo>
                    <a:pt x="812" y="3370"/>
                  </a:lnTo>
                  <a:close/>
                  <a:moveTo>
                    <a:pt x="655" y="3685"/>
                  </a:moveTo>
                  <a:lnTo>
                    <a:pt x="1281" y="4311"/>
                  </a:lnTo>
                  <a:lnTo>
                    <a:pt x="415" y="4551"/>
                  </a:lnTo>
                  <a:lnTo>
                    <a:pt x="655" y="3685"/>
                  </a:lnTo>
                  <a:close/>
                  <a:moveTo>
                    <a:pt x="4438" y="1312"/>
                  </a:moveTo>
                  <a:lnTo>
                    <a:pt x="4261" y="1488"/>
                  </a:lnTo>
                  <a:lnTo>
                    <a:pt x="3478" y="705"/>
                  </a:lnTo>
                  <a:lnTo>
                    <a:pt x="3654" y="528"/>
                  </a:lnTo>
                  <a:cubicBezTo>
                    <a:pt x="3817" y="366"/>
                    <a:pt x="4080" y="366"/>
                    <a:pt x="4243" y="528"/>
                  </a:cubicBezTo>
                  <a:lnTo>
                    <a:pt x="4438" y="723"/>
                  </a:lnTo>
                  <a:cubicBezTo>
                    <a:pt x="4600" y="886"/>
                    <a:pt x="4600" y="1149"/>
                    <a:pt x="4438" y="1312"/>
                  </a:cubicBezTo>
                  <a:close/>
                  <a:moveTo>
                    <a:pt x="4438" y="1312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" name="Group 26"/>
          <p:cNvGrpSpPr>
            <a:grpSpLocks noChangeAspect="1"/>
          </p:cNvGrpSpPr>
          <p:nvPr/>
        </p:nvGrpSpPr>
        <p:grpSpPr bwMode="auto">
          <a:xfrm>
            <a:off x="6107739" y="1943101"/>
            <a:ext cx="404813" cy="539750"/>
            <a:chOff x="3735" y="1314"/>
            <a:chExt cx="255" cy="340"/>
          </a:xfrm>
          <a:gradFill>
            <a:gsLst>
              <a:gs pos="0">
                <a:srgbClr val="FEC232"/>
              </a:gs>
              <a:gs pos="100000">
                <a:srgbClr val="E57518"/>
              </a:gs>
            </a:gsLst>
            <a:path path="circle">
              <a:fillToRect l="50000" t="50000" r="50000" b="50000"/>
            </a:path>
          </a:gradFill>
        </p:grpSpPr>
        <p:sp>
          <p:nvSpPr>
            <p:cNvPr id="40" name="Freeform 27"/>
            <p:cNvSpPr>
              <a:spLocks/>
            </p:cNvSpPr>
            <p:nvPr/>
          </p:nvSpPr>
          <p:spPr bwMode="auto">
            <a:xfrm>
              <a:off x="3817" y="1454"/>
              <a:ext cx="153" cy="167"/>
            </a:xfrm>
            <a:custGeom>
              <a:avLst/>
              <a:gdLst>
                <a:gd name="T0" fmla="*/ 1361 w 2898"/>
                <a:gd name="T1" fmla="*/ 536 h 3170"/>
                <a:gd name="T2" fmla="*/ 516 w 2898"/>
                <a:gd name="T3" fmla="*/ 118 h 3170"/>
                <a:gd name="T4" fmla="*/ 81 w 2898"/>
                <a:gd name="T5" fmla="*/ 905 h 3170"/>
                <a:gd name="T6" fmla="*/ 2003 w 2898"/>
                <a:gd name="T7" fmla="*/ 3124 h 3170"/>
                <a:gd name="T8" fmla="*/ 2190 w 2898"/>
                <a:gd name="T9" fmla="*/ 3103 h 3170"/>
                <a:gd name="T10" fmla="*/ 2168 w 2898"/>
                <a:gd name="T11" fmla="*/ 2915 h 3170"/>
                <a:gd name="T12" fmla="*/ 337 w 2898"/>
                <a:gd name="T13" fmla="*/ 831 h 3170"/>
                <a:gd name="T14" fmla="*/ 611 w 2898"/>
                <a:gd name="T15" fmla="*/ 336 h 3170"/>
                <a:gd name="T16" fmla="*/ 1107 w 2898"/>
                <a:gd name="T17" fmla="*/ 610 h 3170"/>
                <a:gd name="T18" fmla="*/ 2665 w 2898"/>
                <a:gd name="T19" fmla="*/ 2288 h 3170"/>
                <a:gd name="T20" fmla="*/ 2852 w 2898"/>
                <a:gd name="T21" fmla="*/ 2266 h 3170"/>
                <a:gd name="T22" fmla="*/ 2831 w 2898"/>
                <a:gd name="T23" fmla="*/ 2079 h 3170"/>
                <a:gd name="T24" fmla="*/ 1361 w 2898"/>
                <a:gd name="T25" fmla="*/ 536 h 3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98" h="3170">
                  <a:moveTo>
                    <a:pt x="1361" y="536"/>
                  </a:moveTo>
                  <a:cubicBezTo>
                    <a:pt x="1243" y="187"/>
                    <a:pt x="865" y="0"/>
                    <a:pt x="516" y="118"/>
                  </a:cubicBezTo>
                  <a:cubicBezTo>
                    <a:pt x="189" y="228"/>
                    <a:pt x="0" y="569"/>
                    <a:pt x="81" y="905"/>
                  </a:cubicBezTo>
                  <a:cubicBezTo>
                    <a:pt x="321" y="1739"/>
                    <a:pt x="1199" y="2488"/>
                    <a:pt x="2003" y="3124"/>
                  </a:cubicBezTo>
                  <a:cubicBezTo>
                    <a:pt x="2061" y="3170"/>
                    <a:pt x="2144" y="3160"/>
                    <a:pt x="2190" y="3103"/>
                  </a:cubicBezTo>
                  <a:cubicBezTo>
                    <a:pt x="2236" y="3045"/>
                    <a:pt x="2226" y="2961"/>
                    <a:pt x="2168" y="2915"/>
                  </a:cubicBezTo>
                  <a:cubicBezTo>
                    <a:pt x="1397" y="2305"/>
                    <a:pt x="555" y="1590"/>
                    <a:pt x="337" y="831"/>
                  </a:cubicBezTo>
                  <a:cubicBezTo>
                    <a:pt x="276" y="619"/>
                    <a:pt x="399" y="397"/>
                    <a:pt x="611" y="336"/>
                  </a:cubicBezTo>
                  <a:cubicBezTo>
                    <a:pt x="824" y="275"/>
                    <a:pt x="1046" y="398"/>
                    <a:pt x="1107" y="610"/>
                  </a:cubicBezTo>
                  <a:cubicBezTo>
                    <a:pt x="1252" y="1117"/>
                    <a:pt x="1976" y="1743"/>
                    <a:pt x="2665" y="2288"/>
                  </a:cubicBezTo>
                  <a:cubicBezTo>
                    <a:pt x="2723" y="2334"/>
                    <a:pt x="2807" y="2324"/>
                    <a:pt x="2852" y="2266"/>
                  </a:cubicBezTo>
                  <a:cubicBezTo>
                    <a:pt x="2898" y="2209"/>
                    <a:pt x="2888" y="2125"/>
                    <a:pt x="2831" y="2079"/>
                  </a:cubicBezTo>
                  <a:cubicBezTo>
                    <a:pt x="2467" y="1792"/>
                    <a:pt x="1504" y="1030"/>
                    <a:pt x="1361" y="5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8"/>
            <p:cNvSpPr>
              <a:spLocks/>
            </p:cNvSpPr>
            <p:nvPr/>
          </p:nvSpPr>
          <p:spPr bwMode="auto">
            <a:xfrm>
              <a:off x="3739" y="1390"/>
              <a:ext cx="251" cy="196"/>
            </a:xfrm>
            <a:custGeom>
              <a:avLst/>
              <a:gdLst>
                <a:gd name="T0" fmla="*/ 3826 w 4725"/>
                <a:gd name="T1" fmla="*/ 1391 h 3693"/>
                <a:gd name="T2" fmla="*/ 1697 w 4725"/>
                <a:gd name="T3" fmla="*/ 252 h 3693"/>
                <a:gd name="T4" fmla="*/ 509 w 4725"/>
                <a:gd name="T5" fmla="*/ 2397 h 3693"/>
                <a:gd name="T6" fmla="*/ 509 w 4725"/>
                <a:gd name="T7" fmla="*/ 2399 h 3693"/>
                <a:gd name="T8" fmla="*/ 109 w 4725"/>
                <a:gd name="T9" fmla="*/ 3416 h 3693"/>
                <a:gd name="T10" fmla="*/ 22 w 4725"/>
                <a:gd name="T11" fmla="*/ 3584 h 3693"/>
                <a:gd name="T12" fmla="*/ 189 w 4725"/>
                <a:gd name="T13" fmla="*/ 3671 h 3693"/>
                <a:gd name="T14" fmla="*/ 765 w 4725"/>
                <a:gd name="T15" fmla="*/ 2325 h 3693"/>
                <a:gd name="T16" fmla="*/ 1769 w 4725"/>
                <a:gd name="T17" fmla="*/ 509 h 3693"/>
                <a:gd name="T18" fmla="*/ 1770 w 4725"/>
                <a:gd name="T19" fmla="*/ 509 h 3693"/>
                <a:gd name="T20" fmla="*/ 3578 w 4725"/>
                <a:gd name="T21" fmla="*/ 1492 h 3693"/>
                <a:gd name="T22" fmla="*/ 3591 w 4725"/>
                <a:gd name="T23" fmla="*/ 1522 h 3693"/>
                <a:gd name="T24" fmla="*/ 4491 w 4725"/>
                <a:gd name="T25" fmla="*/ 2289 h 3693"/>
                <a:gd name="T26" fmla="*/ 4678 w 4725"/>
                <a:gd name="T27" fmla="*/ 2269 h 3693"/>
                <a:gd name="T28" fmla="*/ 4659 w 4725"/>
                <a:gd name="T29" fmla="*/ 2082 h 3693"/>
                <a:gd name="T30" fmla="*/ 3826 w 4725"/>
                <a:gd name="T31" fmla="*/ 1391 h 3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725" h="3693">
                  <a:moveTo>
                    <a:pt x="3826" y="1391"/>
                  </a:moveTo>
                  <a:cubicBezTo>
                    <a:pt x="3536" y="502"/>
                    <a:pt x="2597" y="0"/>
                    <a:pt x="1697" y="252"/>
                  </a:cubicBezTo>
                  <a:cubicBezTo>
                    <a:pt x="776" y="516"/>
                    <a:pt x="245" y="1476"/>
                    <a:pt x="509" y="2397"/>
                  </a:cubicBezTo>
                  <a:cubicBezTo>
                    <a:pt x="509" y="2397"/>
                    <a:pt x="509" y="2398"/>
                    <a:pt x="509" y="2399"/>
                  </a:cubicBezTo>
                  <a:cubicBezTo>
                    <a:pt x="728" y="3159"/>
                    <a:pt x="259" y="3370"/>
                    <a:pt x="109" y="3416"/>
                  </a:cubicBezTo>
                  <a:cubicBezTo>
                    <a:pt x="39" y="3439"/>
                    <a:pt x="0" y="3513"/>
                    <a:pt x="22" y="3584"/>
                  </a:cubicBezTo>
                  <a:cubicBezTo>
                    <a:pt x="44" y="3654"/>
                    <a:pt x="119" y="3693"/>
                    <a:pt x="189" y="3671"/>
                  </a:cubicBezTo>
                  <a:cubicBezTo>
                    <a:pt x="597" y="3543"/>
                    <a:pt x="993" y="3115"/>
                    <a:pt x="765" y="2325"/>
                  </a:cubicBezTo>
                  <a:cubicBezTo>
                    <a:pt x="541" y="1546"/>
                    <a:pt x="990" y="734"/>
                    <a:pt x="1769" y="509"/>
                  </a:cubicBezTo>
                  <a:cubicBezTo>
                    <a:pt x="1769" y="509"/>
                    <a:pt x="1770" y="509"/>
                    <a:pt x="1770" y="509"/>
                  </a:cubicBezTo>
                  <a:cubicBezTo>
                    <a:pt x="2540" y="293"/>
                    <a:pt x="3341" y="729"/>
                    <a:pt x="3578" y="1492"/>
                  </a:cubicBezTo>
                  <a:cubicBezTo>
                    <a:pt x="3581" y="1503"/>
                    <a:pt x="3586" y="1513"/>
                    <a:pt x="3591" y="1522"/>
                  </a:cubicBezTo>
                  <a:cubicBezTo>
                    <a:pt x="3605" y="1545"/>
                    <a:pt x="3634" y="1593"/>
                    <a:pt x="4491" y="2289"/>
                  </a:cubicBezTo>
                  <a:cubicBezTo>
                    <a:pt x="4548" y="2335"/>
                    <a:pt x="4632" y="2327"/>
                    <a:pt x="4678" y="2269"/>
                  </a:cubicBezTo>
                  <a:cubicBezTo>
                    <a:pt x="4725" y="2212"/>
                    <a:pt x="4716" y="2128"/>
                    <a:pt x="4659" y="2082"/>
                  </a:cubicBezTo>
                  <a:cubicBezTo>
                    <a:pt x="4348" y="1829"/>
                    <a:pt x="3892" y="1453"/>
                    <a:pt x="3826" y="139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9"/>
            <p:cNvSpPr>
              <a:spLocks/>
            </p:cNvSpPr>
            <p:nvPr/>
          </p:nvSpPr>
          <p:spPr bwMode="auto">
            <a:xfrm>
              <a:off x="3762" y="1421"/>
              <a:ext cx="221" cy="191"/>
            </a:xfrm>
            <a:custGeom>
              <a:avLst/>
              <a:gdLst>
                <a:gd name="T0" fmla="*/ 2902 w 4168"/>
                <a:gd name="T1" fmla="*/ 1003 h 3617"/>
                <a:gd name="T2" fmla="*/ 1418 w 4168"/>
                <a:gd name="T3" fmla="*/ 181 h 3617"/>
                <a:gd name="T4" fmla="*/ 594 w 4168"/>
                <a:gd name="T5" fmla="*/ 1658 h 3617"/>
                <a:gd name="T6" fmla="*/ 109 w 4168"/>
                <a:gd name="T7" fmla="*/ 3341 h 3617"/>
                <a:gd name="T8" fmla="*/ 22 w 4168"/>
                <a:gd name="T9" fmla="*/ 3508 h 3617"/>
                <a:gd name="T10" fmla="*/ 189 w 4168"/>
                <a:gd name="T11" fmla="*/ 3595 h 3617"/>
                <a:gd name="T12" fmla="*/ 856 w 4168"/>
                <a:gd name="T13" fmla="*/ 1601 h 3617"/>
                <a:gd name="T14" fmla="*/ 1493 w 4168"/>
                <a:gd name="T15" fmla="*/ 438 h 3617"/>
                <a:gd name="T16" fmla="*/ 2648 w 4168"/>
                <a:gd name="T17" fmla="*/ 1078 h 3617"/>
                <a:gd name="T18" fmla="*/ 3935 w 4168"/>
                <a:gd name="T19" fmla="*/ 2373 h 3617"/>
                <a:gd name="T20" fmla="*/ 4122 w 4168"/>
                <a:gd name="T21" fmla="*/ 2352 h 3617"/>
                <a:gd name="T22" fmla="*/ 4100 w 4168"/>
                <a:gd name="T23" fmla="*/ 2164 h 3617"/>
                <a:gd name="T24" fmla="*/ 2902 w 4168"/>
                <a:gd name="T25" fmla="*/ 1003 h 3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68" h="3617">
                  <a:moveTo>
                    <a:pt x="2902" y="1003"/>
                  </a:moveTo>
                  <a:cubicBezTo>
                    <a:pt x="2718" y="367"/>
                    <a:pt x="2054" y="0"/>
                    <a:pt x="1418" y="181"/>
                  </a:cubicBezTo>
                  <a:cubicBezTo>
                    <a:pt x="792" y="374"/>
                    <a:pt x="430" y="1025"/>
                    <a:pt x="594" y="1658"/>
                  </a:cubicBezTo>
                  <a:cubicBezTo>
                    <a:pt x="863" y="2885"/>
                    <a:pt x="662" y="3168"/>
                    <a:pt x="109" y="3341"/>
                  </a:cubicBezTo>
                  <a:cubicBezTo>
                    <a:pt x="39" y="3363"/>
                    <a:pt x="0" y="3438"/>
                    <a:pt x="22" y="3508"/>
                  </a:cubicBezTo>
                  <a:cubicBezTo>
                    <a:pt x="44" y="3578"/>
                    <a:pt x="119" y="3617"/>
                    <a:pt x="189" y="3595"/>
                  </a:cubicBezTo>
                  <a:cubicBezTo>
                    <a:pt x="961" y="3355"/>
                    <a:pt x="1129" y="2851"/>
                    <a:pt x="856" y="1601"/>
                  </a:cubicBezTo>
                  <a:cubicBezTo>
                    <a:pt x="723" y="1105"/>
                    <a:pt x="1004" y="593"/>
                    <a:pt x="1493" y="438"/>
                  </a:cubicBezTo>
                  <a:cubicBezTo>
                    <a:pt x="1988" y="297"/>
                    <a:pt x="2504" y="583"/>
                    <a:pt x="2648" y="1078"/>
                  </a:cubicBezTo>
                  <a:cubicBezTo>
                    <a:pt x="2701" y="1259"/>
                    <a:pt x="2843" y="1509"/>
                    <a:pt x="3935" y="2373"/>
                  </a:cubicBezTo>
                  <a:cubicBezTo>
                    <a:pt x="3992" y="2419"/>
                    <a:pt x="4076" y="2409"/>
                    <a:pt x="4122" y="2352"/>
                  </a:cubicBezTo>
                  <a:cubicBezTo>
                    <a:pt x="4168" y="2294"/>
                    <a:pt x="4158" y="2210"/>
                    <a:pt x="4100" y="2164"/>
                  </a:cubicBezTo>
                  <a:cubicBezTo>
                    <a:pt x="3109" y="1380"/>
                    <a:pt x="2939" y="1132"/>
                    <a:pt x="2902" y="100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0"/>
            <p:cNvSpPr>
              <a:spLocks/>
            </p:cNvSpPr>
            <p:nvPr/>
          </p:nvSpPr>
          <p:spPr bwMode="auto">
            <a:xfrm>
              <a:off x="3847" y="1484"/>
              <a:ext cx="107" cy="114"/>
            </a:xfrm>
            <a:custGeom>
              <a:avLst/>
              <a:gdLst>
                <a:gd name="T0" fmla="*/ 1667 w 2024"/>
                <a:gd name="T1" fmla="*/ 1671 h 2159"/>
                <a:gd name="T2" fmla="*/ 275 w 2024"/>
                <a:gd name="T3" fmla="*/ 110 h 2159"/>
                <a:gd name="T4" fmla="*/ 108 w 2024"/>
                <a:gd name="T5" fmla="*/ 21 h 2159"/>
                <a:gd name="T6" fmla="*/ 18 w 2024"/>
                <a:gd name="T7" fmla="*/ 183 h 2159"/>
                <a:gd name="T8" fmla="*/ 1506 w 2024"/>
                <a:gd name="T9" fmla="*/ 1883 h 2159"/>
                <a:gd name="T10" fmla="*/ 1786 w 2024"/>
                <a:gd name="T11" fmla="*/ 2107 h 2159"/>
                <a:gd name="T12" fmla="*/ 1974 w 2024"/>
                <a:gd name="T13" fmla="*/ 2104 h 2159"/>
                <a:gd name="T14" fmla="*/ 1974 w 2024"/>
                <a:gd name="T15" fmla="*/ 1919 h 2159"/>
                <a:gd name="T16" fmla="*/ 1667 w 2024"/>
                <a:gd name="T17" fmla="*/ 1671 h 2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24" h="2159">
                  <a:moveTo>
                    <a:pt x="1667" y="1671"/>
                  </a:moveTo>
                  <a:cubicBezTo>
                    <a:pt x="1216" y="1328"/>
                    <a:pt x="461" y="756"/>
                    <a:pt x="275" y="110"/>
                  </a:cubicBezTo>
                  <a:cubicBezTo>
                    <a:pt x="253" y="39"/>
                    <a:pt x="179" y="0"/>
                    <a:pt x="108" y="21"/>
                  </a:cubicBezTo>
                  <a:cubicBezTo>
                    <a:pt x="40" y="42"/>
                    <a:pt x="0" y="114"/>
                    <a:pt x="18" y="183"/>
                  </a:cubicBezTo>
                  <a:cubicBezTo>
                    <a:pt x="229" y="915"/>
                    <a:pt x="1028" y="1521"/>
                    <a:pt x="1506" y="1883"/>
                  </a:cubicBezTo>
                  <a:cubicBezTo>
                    <a:pt x="1603" y="1953"/>
                    <a:pt x="1696" y="2028"/>
                    <a:pt x="1786" y="2107"/>
                  </a:cubicBezTo>
                  <a:cubicBezTo>
                    <a:pt x="1839" y="2159"/>
                    <a:pt x="1923" y="2157"/>
                    <a:pt x="1974" y="2104"/>
                  </a:cubicBezTo>
                  <a:cubicBezTo>
                    <a:pt x="2024" y="2052"/>
                    <a:pt x="2024" y="1971"/>
                    <a:pt x="1974" y="1919"/>
                  </a:cubicBezTo>
                  <a:cubicBezTo>
                    <a:pt x="1877" y="1830"/>
                    <a:pt x="1774" y="1748"/>
                    <a:pt x="1667" y="167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1"/>
            <p:cNvSpPr>
              <a:spLocks/>
            </p:cNvSpPr>
            <p:nvPr/>
          </p:nvSpPr>
          <p:spPr bwMode="auto">
            <a:xfrm>
              <a:off x="3833" y="1597"/>
              <a:ext cx="72" cy="57"/>
            </a:xfrm>
            <a:custGeom>
              <a:avLst/>
              <a:gdLst>
                <a:gd name="T0" fmla="*/ 1203 w 1349"/>
                <a:gd name="T1" fmla="*/ 451 h 1066"/>
                <a:gd name="T2" fmla="*/ 538 w 1349"/>
                <a:gd name="T3" fmla="*/ 0 h 1066"/>
                <a:gd name="T4" fmla="*/ 5 w 1349"/>
                <a:gd name="T5" fmla="*/ 925 h 1066"/>
                <a:gd name="T6" fmla="*/ 130 w 1349"/>
                <a:gd name="T7" fmla="*/ 1066 h 1066"/>
                <a:gd name="T8" fmla="*/ 138 w 1349"/>
                <a:gd name="T9" fmla="*/ 1066 h 1066"/>
                <a:gd name="T10" fmla="*/ 272 w 1349"/>
                <a:gd name="T11" fmla="*/ 941 h 1066"/>
                <a:gd name="T12" fmla="*/ 538 w 1349"/>
                <a:gd name="T13" fmla="*/ 266 h 1066"/>
                <a:gd name="T14" fmla="*/ 989 w 1349"/>
                <a:gd name="T15" fmla="*/ 609 h 1066"/>
                <a:gd name="T16" fmla="*/ 1111 w 1349"/>
                <a:gd name="T17" fmla="*/ 760 h 1066"/>
                <a:gd name="T18" fmla="*/ 1299 w 1349"/>
                <a:gd name="T19" fmla="*/ 757 h 1066"/>
                <a:gd name="T20" fmla="*/ 1299 w 1349"/>
                <a:gd name="T21" fmla="*/ 572 h 1066"/>
                <a:gd name="T22" fmla="*/ 1203 w 1349"/>
                <a:gd name="T23" fmla="*/ 451 h 1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49" h="1066">
                  <a:moveTo>
                    <a:pt x="1203" y="451"/>
                  </a:moveTo>
                  <a:cubicBezTo>
                    <a:pt x="1069" y="201"/>
                    <a:pt x="820" y="33"/>
                    <a:pt x="538" y="0"/>
                  </a:cubicBezTo>
                  <a:cubicBezTo>
                    <a:pt x="85" y="0"/>
                    <a:pt x="15" y="770"/>
                    <a:pt x="5" y="925"/>
                  </a:cubicBezTo>
                  <a:cubicBezTo>
                    <a:pt x="0" y="998"/>
                    <a:pt x="56" y="1061"/>
                    <a:pt x="130" y="1066"/>
                  </a:cubicBezTo>
                  <a:lnTo>
                    <a:pt x="138" y="1066"/>
                  </a:lnTo>
                  <a:cubicBezTo>
                    <a:pt x="209" y="1066"/>
                    <a:pt x="267" y="1011"/>
                    <a:pt x="272" y="941"/>
                  </a:cubicBezTo>
                  <a:cubicBezTo>
                    <a:pt x="289" y="666"/>
                    <a:pt x="394" y="266"/>
                    <a:pt x="538" y="266"/>
                  </a:cubicBezTo>
                  <a:cubicBezTo>
                    <a:pt x="736" y="266"/>
                    <a:pt x="876" y="457"/>
                    <a:pt x="989" y="609"/>
                  </a:cubicBezTo>
                  <a:cubicBezTo>
                    <a:pt x="1026" y="662"/>
                    <a:pt x="1067" y="713"/>
                    <a:pt x="1111" y="760"/>
                  </a:cubicBezTo>
                  <a:cubicBezTo>
                    <a:pt x="1164" y="812"/>
                    <a:pt x="1248" y="810"/>
                    <a:pt x="1299" y="757"/>
                  </a:cubicBezTo>
                  <a:cubicBezTo>
                    <a:pt x="1349" y="705"/>
                    <a:pt x="1349" y="624"/>
                    <a:pt x="1299" y="572"/>
                  </a:cubicBezTo>
                  <a:cubicBezTo>
                    <a:pt x="1265" y="534"/>
                    <a:pt x="1233" y="494"/>
                    <a:pt x="1203" y="4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2"/>
            <p:cNvSpPr>
              <a:spLocks/>
            </p:cNvSpPr>
            <p:nvPr/>
          </p:nvSpPr>
          <p:spPr bwMode="auto">
            <a:xfrm>
              <a:off x="3790" y="1554"/>
              <a:ext cx="51" cy="87"/>
            </a:xfrm>
            <a:custGeom>
              <a:avLst/>
              <a:gdLst>
                <a:gd name="T0" fmla="*/ 811 w 952"/>
                <a:gd name="T1" fmla="*/ 105 h 1628"/>
                <a:gd name="T2" fmla="*/ 640 w 952"/>
                <a:gd name="T3" fmla="*/ 25 h 1628"/>
                <a:gd name="T4" fmla="*/ 557 w 952"/>
                <a:gd name="T5" fmla="*/ 185 h 1628"/>
                <a:gd name="T6" fmla="*/ 109 w 952"/>
                <a:gd name="T7" fmla="*/ 1351 h 1628"/>
                <a:gd name="T8" fmla="*/ 22 w 952"/>
                <a:gd name="T9" fmla="*/ 1518 h 1628"/>
                <a:gd name="T10" fmla="*/ 189 w 952"/>
                <a:gd name="T11" fmla="*/ 1606 h 1628"/>
                <a:gd name="T12" fmla="*/ 192 w 952"/>
                <a:gd name="T13" fmla="*/ 1605 h 1628"/>
                <a:gd name="T14" fmla="*/ 811 w 952"/>
                <a:gd name="T15" fmla="*/ 105 h 1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2" h="1628">
                  <a:moveTo>
                    <a:pt x="811" y="105"/>
                  </a:moveTo>
                  <a:cubicBezTo>
                    <a:pt x="786" y="36"/>
                    <a:pt x="709" y="0"/>
                    <a:pt x="640" y="25"/>
                  </a:cubicBezTo>
                  <a:cubicBezTo>
                    <a:pt x="575" y="49"/>
                    <a:pt x="539" y="119"/>
                    <a:pt x="557" y="185"/>
                  </a:cubicBezTo>
                  <a:cubicBezTo>
                    <a:pt x="671" y="542"/>
                    <a:pt x="447" y="1242"/>
                    <a:pt x="109" y="1351"/>
                  </a:cubicBezTo>
                  <a:cubicBezTo>
                    <a:pt x="39" y="1373"/>
                    <a:pt x="0" y="1448"/>
                    <a:pt x="22" y="1518"/>
                  </a:cubicBezTo>
                  <a:cubicBezTo>
                    <a:pt x="44" y="1589"/>
                    <a:pt x="119" y="1628"/>
                    <a:pt x="189" y="1606"/>
                  </a:cubicBezTo>
                  <a:cubicBezTo>
                    <a:pt x="190" y="1605"/>
                    <a:pt x="191" y="1605"/>
                    <a:pt x="192" y="1605"/>
                  </a:cubicBezTo>
                  <a:cubicBezTo>
                    <a:pt x="705" y="1440"/>
                    <a:pt x="952" y="548"/>
                    <a:pt x="811" y="10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3"/>
            <p:cNvSpPr>
              <a:spLocks/>
            </p:cNvSpPr>
            <p:nvPr/>
          </p:nvSpPr>
          <p:spPr bwMode="auto">
            <a:xfrm>
              <a:off x="3735" y="1372"/>
              <a:ext cx="255" cy="127"/>
            </a:xfrm>
            <a:custGeom>
              <a:avLst/>
              <a:gdLst>
                <a:gd name="T0" fmla="*/ 4708 w 4818"/>
                <a:gd name="T1" fmla="*/ 1740 h 2400"/>
                <a:gd name="T2" fmla="*/ 4259 w 4818"/>
                <a:gd name="T3" fmla="*/ 1230 h 2400"/>
                <a:gd name="T4" fmla="*/ 2267 w 4818"/>
                <a:gd name="T5" fmla="*/ 0 h 2400"/>
                <a:gd name="T6" fmla="*/ 0 w 4818"/>
                <a:gd name="T7" fmla="*/ 2267 h 2400"/>
                <a:gd name="T8" fmla="*/ 134 w 4818"/>
                <a:gd name="T9" fmla="*/ 2400 h 2400"/>
                <a:gd name="T10" fmla="*/ 267 w 4818"/>
                <a:gd name="T11" fmla="*/ 2267 h 2400"/>
                <a:gd name="T12" fmla="*/ 2267 w 4818"/>
                <a:gd name="T13" fmla="*/ 267 h 2400"/>
                <a:gd name="T14" fmla="*/ 4032 w 4818"/>
                <a:gd name="T15" fmla="*/ 1370 h 2400"/>
                <a:gd name="T16" fmla="*/ 4626 w 4818"/>
                <a:gd name="T17" fmla="*/ 1994 h 2400"/>
                <a:gd name="T18" fmla="*/ 4795 w 4818"/>
                <a:gd name="T19" fmla="*/ 1910 h 2400"/>
                <a:gd name="T20" fmla="*/ 4711 w 4818"/>
                <a:gd name="T21" fmla="*/ 1741 h 2400"/>
                <a:gd name="T22" fmla="*/ 4708 w 4818"/>
                <a:gd name="T23" fmla="*/ 1740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18" h="2400">
                  <a:moveTo>
                    <a:pt x="4708" y="1740"/>
                  </a:moveTo>
                  <a:cubicBezTo>
                    <a:pt x="4541" y="1686"/>
                    <a:pt x="4411" y="1473"/>
                    <a:pt x="4259" y="1230"/>
                  </a:cubicBezTo>
                  <a:cubicBezTo>
                    <a:pt x="3938" y="711"/>
                    <a:pt x="3497" y="0"/>
                    <a:pt x="2267" y="0"/>
                  </a:cubicBezTo>
                  <a:cubicBezTo>
                    <a:pt x="1016" y="1"/>
                    <a:pt x="2" y="1015"/>
                    <a:pt x="0" y="2267"/>
                  </a:cubicBezTo>
                  <a:cubicBezTo>
                    <a:pt x="0" y="2340"/>
                    <a:pt x="60" y="2400"/>
                    <a:pt x="134" y="2400"/>
                  </a:cubicBezTo>
                  <a:cubicBezTo>
                    <a:pt x="207" y="2400"/>
                    <a:pt x="267" y="2340"/>
                    <a:pt x="267" y="2267"/>
                  </a:cubicBezTo>
                  <a:cubicBezTo>
                    <a:pt x="268" y="1163"/>
                    <a:pt x="1163" y="268"/>
                    <a:pt x="2267" y="267"/>
                  </a:cubicBezTo>
                  <a:cubicBezTo>
                    <a:pt x="3349" y="267"/>
                    <a:pt x="3728" y="878"/>
                    <a:pt x="4032" y="1370"/>
                  </a:cubicBezTo>
                  <a:cubicBezTo>
                    <a:pt x="4212" y="1659"/>
                    <a:pt x="4366" y="1909"/>
                    <a:pt x="4626" y="1994"/>
                  </a:cubicBezTo>
                  <a:cubicBezTo>
                    <a:pt x="4696" y="2017"/>
                    <a:pt x="4771" y="1980"/>
                    <a:pt x="4795" y="1910"/>
                  </a:cubicBezTo>
                  <a:cubicBezTo>
                    <a:pt x="4818" y="1840"/>
                    <a:pt x="4781" y="1764"/>
                    <a:pt x="4711" y="1741"/>
                  </a:cubicBezTo>
                  <a:cubicBezTo>
                    <a:pt x="4710" y="1741"/>
                    <a:pt x="4709" y="1740"/>
                    <a:pt x="4708" y="174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4"/>
            <p:cNvSpPr>
              <a:spLocks/>
            </p:cNvSpPr>
            <p:nvPr/>
          </p:nvSpPr>
          <p:spPr bwMode="auto">
            <a:xfrm>
              <a:off x="3735" y="1513"/>
              <a:ext cx="21" cy="35"/>
            </a:xfrm>
            <a:custGeom>
              <a:avLst/>
              <a:gdLst>
                <a:gd name="T0" fmla="*/ 267 w 400"/>
                <a:gd name="T1" fmla="*/ 666 h 666"/>
                <a:gd name="T2" fmla="*/ 400 w 400"/>
                <a:gd name="T3" fmla="*/ 533 h 666"/>
                <a:gd name="T4" fmla="*/ 386 w 400"/>
                <a:gd name="T5" fmla="*/ 473 h 666"/>
                <a:gd name="T6" fmla="*/ 267 w 400"/>
                <a:gd name="T7" fmla="*/ 133 h 666"/>
                <a:gd name="T8" fmla="*/ 134 w 400"/>
                <a:gd name="T9" fmla="*/ 0 h 666"/>
                <a:gd name="T10" fmla="*/ 0 w 400"/>
                <a:gd name="T11" fmla="*/ 133 h 666"/>
                <a:gd name="T12" fmla="*/ 148 w 400"/>
                <a:gd name="T13" fmla="*/ 593 h 666"/>
                <a:gd name="T14" fmla="*/ 267 w 400"/>
                <a:gd name="T15" fmla="*/ 666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0" h="666">
                  <a:moveTo>
                    <a:pt x="267" y="666"/>
                  </a:moveTo>
                  <a:cubicBezTo>
                    <a:pt x="341" y="666"/>
                    <a:pt x="400" y="607"/>
                    <a:pt x="400" y="533"/>
                  </a:cubicBezTo>
                  <a:cubicBezTo>
                    <a:pt x="400" y="512"/>
                    <a:pt x="396" y="492"/>
                    <a:pt x="386" y="473"/>
                  </a:cubicBezTo>
                  <a:cubicBezTo>
                    <a:pt x="329" y="367"/>
                    <a:pt x="289" y="252"/>
                    <a:pt x="267" y="133"/>
                  </a:cubicBezTo>
                  <a:cubicBezTo>
                    <a:pt x="267" y="59"/>
                    <a:pt x="207" y="0"/>
                    <a:pt x="134" y="0"/>
                  </a:cubicBezTo>
                  <a:cubicBezTo>
                    <a:pt x="60" y="0"/>
                    <a:pt x="0" y="59"/>
                    <a:pt x="0" y="133"/>
                  </a:cubicBezTo>
                  <a:cubicBezTo>
                    <a:pt x="22" y="294"/>
                    <a:pt x="72" y="449"/>
                    <a:pt x="148" y="593"/>
                  </a:cubicBezTo>
                  <a:cubicBezTo>
                    <a:pt x="170" y="638"/>
                    <a:pt x="217" y="666"/>
                    <a:pt x="267" y="66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5"/>
            <p:cNvSpPr>
              <a:spLocks/>
            </p:cNvSpPr>
            <p:nvPr/>
          </p:nvSpPr>
          <p:spPr bwMode="auto">
            <a:xfrm>
              <a:off x="3741" y="1343"/>
              <a:ext cx="221" cy="58"/>
            </a:xfrm>
            <a:custGeom>
              <a:avLst/>
              <a:gdLst>
                <a:gd name="T0" fmla="*/ 83 w 4171"/>
                <a:gd name="T1" fmla="*/ 1047 h 1085"/>
                <a:gd name="T2" fmla="*/ 266 w 4171"/>
                <a:gd name="T3" fmla="*/ 1002 h 1085"/>
                <a:gd name="T4" fmla="*/ 266 w 4171"/>
                <a:gd name="T5" fmla="*/ 1002 h 1085"/>
                <a:gd name="T6" fmla="*/ 2019 w 4171"/>
                <a:gd name="T7" fmla="*/ 266 h 1085"/>
                <a:gd name="T8" fmla="*/ 3905 w 4171"/>
                <a:gd name="T9" fmla="*/ 1002 h 1085"/>
                <a:gd name="T10" fmla="*/ 4088 w 4171"/>
                <a:gd name="T11" fmla="*/ 1047 h 1085"/>
                <a:gd name="T12" fmla="*/ 4133 w 4171"/>
                <a:gd name="T13" fmla="*/ 864 h 1085"/>
                <a:gd name="T14" fmla="*/ 4133 w 4171"/>
                <a:gd name="T15" fmla="*/ 864 h 1085"/>
                <a:gd name="T16" fmla="*/ 2019 w 4171"/>
                <a:gd name="T17" fmla="*/ 0 h 1085"/>
                <a:gd name="T18" fmla="*/ 38 w 4171"/>
                <a:gd name="T19" fmla="*/ 864 h 1085"/>
                <a:gd name="T20" fmla="*/ 83 w 4171"/>
                <a:gd name="T21" fmla="*/ 1047 h 1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71" h="1085">
                  <a:moveTo>
                    <a:pt x="83" y="1047"/>
                  </a:moveTo>
                  <a:cubicBezTo>
                    <a:pt x="146" y="1085"/>
                    <a:pt x="228" y="1065"/>
                    <a:pt x="266" y="1002"/>
                  </a:cubicBezTo>
                  <a:cubicBezTo>
                    <a:pt x="266" y="1002"/>
                    <a:pt x="266" y="1002"/>
                    <a:pt x="266" y="1002"/>
                  </a:cubicBezTo>
                  <a:cubicBezTo>
                    <a:pt x="382" y="811"/>
                    <a:pt x="952" y="266"/>
                    <a:pt x="2019" y="266"/>
                  </a:cubicBezTo>
                  <a:cubicBezTo>
                    <a:pt x="3044" y="266"/>
                    <a:pt x="3773" y="785"/>
                    <a:pt x="3905" y="1002"/>
                  </a:cubicBezTo>
                  <a:cubicBezTo>
                    <a:pt x="3943" y="1065"/>
                    <a:pt x="4025" y="1085"/>
                    <a:pt x="4088" y="1047"/>
                  </a:cubicBezTo>
                  <a:cubicBezTo>
                    <a:pt x="4151" y="1009"/>
                    <a:pt x="4171" y="927"/>
                    <a:pt x="4133" y="864"/>
                  </a:cubicBezTo>
                  <a:lnTo>
                    <a:pt x="4133" y="864"/>
                  </a:lnTo>
                  <a:cubicBezTo>
                    <a:pt x="3950" y="562"/>
                    <a:pt x="3142" y="0"/>
                    <a:pt x="2019" y="0"/>
                  </a:cubicBezTo>
                  <a:cubicBezTo>
                    <a:pt x="824" y="0"/>
                    <a:pt x="184" y="623"/>
                    <a:pt x="38" y="864"/>
                  </a:cubicBezTo>
                  <a:cubicBezTo>
                    <a:pt x="0" y="927"/>
                    <a:pt x="20" y="1009"/>
                    <a:pt x="83" y="104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6"/>
            <p:cNvSpPr>
              <a:spLocks/>
            </p:cNvSpPr>
            <p:nvPr/>
          </p:nvSpPr>
          <p:spPr bwMode="auto">
            <a:xfrm>
              <a:off x="3776" y="1314"/>
              <a:ext cx="157" cy="31"/>
            </a:xfrm>
            <a:custGeom>
              <a:avLst/>
              <a:gdLst>
                <a:gd name="T0" fmla="*/ 210 w 2957"/>
                <a:gd name="T1" fmla="*/ 545 h 577"/>
                <a:gd name="T2" fmla="*/ 372 w 2957"/>
                <a:gd name="T3" fmla="*/ 465 h 577"/>
                <a:gd name="T4" fmla="*/ 1357 w 2957"/>
                <a:gd name="T5" fmla="*/ 290 h 577"/>
                <a:gd name="T6" fmla="*/ 2624 w 2957"/>
                <a:gd name="T7" fmla="*/ 493 h 577"/>
                <a:gd name="T8" fmla="*/ 2780 w 2957"/>
                <a:gd name="T9" fmla="*/ 549 h 577"/>
                <a:gd name="T10" fmla="*/ 2823 w 2957"/>
                <a:gd name="T11" fmla="*/ 557 h 577"/>
                <a:gd name="T12" fmla="*/ 2957 w 2957"/>
                <a:gd name="T13" fmla="*/ 424 h 577"/>
                <a:gd name="T14" fmla="*/ 2867 w 2957"/>
                <a:gd name="T15" fmla="*/ 297 h 577"/>
                <a:gd name="T16" fmla="*/ 2717 w 2957"/>
                <a:gd name="T17" fmla="*/ 244 h 577"/>
                <a:gd name="T18" fmla="*/ 1357 w 2957"/>
                <a:gd name="T19" fmla="*/ 23 h 577"/>
                <a:gd name="T20" fmla="*/ 251 w 2957"/>
                <a:gd name="T21" fmla="*/ 229 h 577"/>
                <a:gd name="T22" fmla="*/ 102 w 2957"/>
                <a:gd name="T23" fmla="*/ 302 h 577"/>
                <a:gd name="T24" fmla="*/ 27 w 2957"/>
                <a:gd name="T25" fmla="*/ 475 h 577"/>
                <a:gd name="T26" fmla="*/ 201 w 2957"/>
                <a:gd name="T27" fmla="*/ 549 h 577"/>
                <a:gd name="T28" fmla="*/ 211 w 2957"/>
                <a:gd name="T29" fmla="*/ 545 h 577"/>
                <a:gd name="T30" fmla="*/ 210 w 2957"/>
                <a:gd name="T31" fmla="*/ 545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57" h="577">
                  <a:moveTo>
                    <a:pt x="210" y="545"/>
                  </a:moveTo>
                  <a:cubicBezTo>
                    <a:pt x="271" y="518"/>
                    <a:pt x="323" y="492"/>
                    <a:pt x="372" y="465"/>
                  </a:cubicBezTo>
                  <a:cubicBezTo>
                    <a:pt x="572" y="364"/>
                    <a:pt x="717" y="290"/>
                    <a:pt x="1357" y="290"/>
                  </a:cubicBezTo>
                  <a:cubicBezTo>
                    <a:pt x="1789" y="266"/>
                    <a:pt x="2221" y="335"/>
                    <a:pt x="2624" y="493"/>
                  </a:cubicBezTo>
                  <a:cubicBezTo>
                    <a:pt x="2675" y="512"/>
                    <a:pt x="2726" y="531"/>
                    <a:pt x="2780" y="549"/>
                  </a:cubicBezTo>
                  <a:cubicBezTo>
                    <a:pt x="2794" y="554"/>
                    <a:pt x="2809" y="557"/>
                    <a:pt x="2823" y="557"/>
                  </a:cubicBezTo>
                  <a:cubicBezTo>
                    <a:pt x="2897" y="557"/>
                    <a:pt x="2957" y="497"/>
                    <a:pt x="2957" y="424"/>
                  </a:cubicBezTo>
                  <a:cubicBezTo>
                    <a:pt x="2957" y="366"/>
                    <a:pt x="2921" y="316"/>
                    <a:pt x="2867" y="297"/>
                  </a:cubicBezTo>
                  <a:cubicBezTo>
                    <a:pt x="2815" y="279"/>
                    <a:pt x="2766" y="261"/>
                    <a:pt x="2717" y="244"/>
                  </a:cubicBezTo>
                  <a:cubicBezTo>
                    <a:pt x="2284" y="75"/>
                    <a:pt x="1821" y="0"/>
                    <a:pt x="1357" y="23"/>
                  </a:cubicBezTo>
                  <a:cubicBezTo>
                    <a:pt x="652" y="23"/>
                    <a:pt x="475" y="114"/>
                    <a:pt x="251" y="229"/>
                  </a:cubicBezTo>
                  <a:cubicBezTo>
                    <a:pt x="206" y="252"/>
                    <a:pt x="158" y="277"/>
                    <a:pt x="102" y="302"/>
                  </a:cubicBezTo>
                  <a:cubicBezTo>
                    <a:pt x="34" y="329"/>
                    <a:pt x="0" y="406"/>
                    <a:pt x="27" y="475"/>
                  </a:cubicBezTo>
                  <a:cubicBezTo>
                    <a:pt x="55" y="543"/>
                    <a:pt x="132" y="577"/>
                    <a:pt x="201" y="549"/>
                  </a:cubicBezTo>
                  <a:cubicBezTo>
                    <a:pt x="204" y="548"/>
                    <a:pt x="207" y="547"/>
                    <a:pt x="211" y="545"/>
                  </a:cubicBezTo>
                  <a:lnTo>
                    <a:pt x="210" y="5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7"/>
            <p:cNvSpPr>
              <a:spLocks/>
            </p:cNvSpPr>
            <p:nvPr/>
          </p:nvSpPr>
          <p:spPr bwMode="auto">
            <a:xfrm>
              <a:off x="3960" y="1399"/>
              <a:ext cx="30" cy="44"/>
            </a:xfrm>
            <a:custGeom>
              <a:avLst/>
              <a:gdLst>
                <a:gd name="T0" fmla="*/ 292 w 564"/>
                <a:gd name="T1" fmla="*/ 725 h 831"/>
                <a:gd name="T2" fmla="*/ 463 w 564"/>
                <a:gd name="T3" fmla="*/ 805 h 831"/>
                <a:gd name="T4" fmla="*/ 546 w 564"/>
                <a:gd name="T5" fmla="*/ 645 h 831"/>
                <a:gd name="T6" fmla="*/ 266 w 564"/>
                <a:gd name="T7" fmla="*/ 83 h 831"/>
                <a:gd name="T8" fmla="*/ 82 w 564"/>
                <a:gd name="T9" fmla="*/ 39 h 831"/>
                <a:gd name="T10" fmla="*/ 38 w 564"/>
                <a:gd name="T11" fmla="*/ 223 h 831"/>
                <a:gd name="T12" fmla="*/ 292 w 564"/>
                <a:gd name="T13" fmla="*/ 725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4" h="831">
                  <a:moveTo>
                    <a:pt x="292" y="725"/>
                  </a:moveTo>
                  <a:cubicBezTo>
                    <a:pt x="317" y="795"/>
                    <a:pt x="393" y="831"/>
                    <a:pt x="463" y="805"/>
                  </a:cubicBezTo>
                  <a:cubicBezTo>
                    <a:pt x="528" y="782"/>
                    <a:pt x="564" y="712"/>
                    <a:pt x="546" y="645"/>
                  </a:cubicBezTo>
                  <a:cubicBezTo>
                    <a:pt x="470" y="450"/>
                    <a:pt x="376" y="261"/>
                    <a:pt x="266" y="83"/>
                  </a:cubicBezTo>
                  <a:cubicBezTo>
                    <a:pt x="227" y="20"/>
                    <a:pt x="145" y="0"/>
                    <a:pt x="82" y="39"/>
                  </a:cubicBezTo>
                  <a:cubicBezTo>
                    <a:pt x="19" y="78"/>
                    <a:pt x="0" y="160"/>
                    <a:pt x="38" y="223"/>
                  </a:cubicBezTo>
                  <a:cubicBezTo>
                    <a:pt x="138" y="382"/>
                    <a:pt x="223" y="551"/>
                    <a:pt x="292" y="7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8"/>
            <p:cNvSpPr>
              <a:spLocks/>
            </p:cNvSpPr>
            <p:nvPr/>
          </p:nvSpPr>
          <p:spPr bwMode="auto">
            <a:xfrm>
              <a:off x="3816" y="1455"/>
              <a:ext cx="154" cy="165"/>
            </a:xfrm>
            <a:custGeom>
              <a:avLst/>
              <a:gdLst>
                <a:gd name="T0" fmla="*/ 2090 w 2904"/>
                <a:gd name="T1" fmla="*/ 3133 h 3133"/>
                <a:gd name="T2" fmla="*/ 2007 w 2904"/>
                <a:gd name="T3" fmla="*/ 3104 h 3133"/>
                <a:gd name="T4" fmla="*/ 86 w 2904"/>
                <a:gd name="T5" fmla="*/ 885 h 3133"/>
                <a:gd name="T6" fmla="*/ 579 w 2904"/>
                <a:gd name="T7" fmla="*/ 81 h 3133"/>
                <a:gd name="T8" fmla="*/ 1366 w 2904"/>
                <a:gd name="T9" fmla="*/ 516 h 3133"/>
                <a:gd name="T10" fmla="*/ 2833 w 2904"/>
                <a:gd name="T11" fmla="*/ 2059 h 3133"/>
                <a:gd name="T12" fmla="*/ 2860 w 2904"/>
                <a:gd name="T13" fmla="*/ 2245 h 3133"/>
                <a:gd name="T14" fmla="*/ 2674 w 2904"/>
                <a:gd name="T15" fmla="*/ 2273 h 3133"/>
                <a:gd name="T16" fmla="*/ 2667 w 2904"/>
                <a:gd name="T17" fmla="*/ 2268 h 3133"/>
                <a:gd name="T18" fmla="*/ 1109 w 2904"/>
                <a:gd name="T19" fmla="*/ 590 h 3133"/>
                <a:gd name="T20" fmla="*/ 614 w 2904"/>
                <a:gd name="T21" fmla="*/ 316 h 3133"/>
                <a:gd name="T22" fmla="*/ 340 w 2904"/>
                <a:gd name="T23" fmla="*/ 811 h 3133"/>
                <a:gd name="T24" fmla="*/ 2171 w 2904"/>
                <a:gd name="T25" fmla="*/ 2895 h 3133"/>
                <a:gd name="T26" fmla="*/ 2192 w 2904"/>
                <a:gd name="T27" fmla="*/ 3082 h 3133"/>
                <a:gd name="T28" fmla="*/ 2088 w 2904"/>
                <a:gd name="T29" fmla="*/ 3133 h 3133"/>
                <a:gd name="T30" fmla="*/ 2090 w 2904"/>
                <a:gd name="T31" fmla="*/ 3133 h 3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04" h="3133">
                  <a:moveTo>
                    <a:pt x="2090" y="3133"/>
                  </a:moveTo>
                  <a:cubicBezTo>
                    <a:pt x="2060" y="3133"/>
                    <a:pt x="2031" y="3123"/>
                    <a:pt x="2007" y="3104"/>
                  </a:cubicBezTo>
                  <a:cubicBezTo>
                    <a:pt x="1203" y="2468"/>
                    <a:pt x="326" y="1719"/>
                    <a:pt x="86" y="885"/>
                  </a:cubicBezTo>
                  <a:cubicBezTo>
                    <a:pt x="0" y="527"/>
                    <a:pt x="221" y="167"/>
                    <a:pt x="579" y="81"/>
                  </a:cubicBezTo>
                  <a:cubicBezTo>
                    <a:pt x="914" y="0"/>
                    <a:pt x="1256" y="189"/>
                    <a:pt x="1366" y="516"/>
                  </a:cubicBezTo>
                  <a:cubicBezTo>
                    <a:pt x="1508" y="1009"/>
                    <a:pt x="2471" y="1772"/>
                    <a:pt x="2833" y="2059"/>
                  </a:cubicBezTo>
                  <a:cubicBezTo>
                    <a:pt x="2892" y="2103"/>
                    <a:pt x="2904" y="2186"/>
                    <a:pt x="2860" y="2245"/>
                  </a:cubicBezTo>
                  <a:cubicBezTo>
                    <a:pt x="2816" y="2304"/>
                    <a:pt x="2733" y="2317"/>
                    <a:pt x="2674" y="2273"/>
                  </a:cubicBezTo>
                  <a:cubicBezTo>
                    <a:pt x="2672" y="2271"/>
                    <a:pt x="2669" y="2270"/>
                    <a:pt x="2667" y="2268"/>
                  </a:cubicBezTo>
                  <a:cubicBezTo>
                    <a:pt x="1979" y="1723"/>
                    <a:pt x="1254" y="1097"/>
                    <a:pt x="1109" y="590"/>
                  </a:cubicBezTo>
                  <a:cubicBezTo>
                    <a:pt x="1048" y="378"/>
                    <a:pt x="826" y="255"/>
                    <a:pt x="614" y="316"/>
                  </a:cubicBezTo>
                  <a:cubicBezTo>
                    <a:pt x="401" y="377"/>
                    <a:pt x="279" y="599"/>
                    <a:pt x="340" y="811"/>
                  </a:cubicBezTo>
                  <a:cubicBezTo>
                    <a:pt x="558" y="1569"/>
                    <a:pt x="1399" y="2284"/>
                    <a:pt x="2171" y="2895"/>
                  </a:cubicBezTo>
                  <a:cubicBezTo>
                    <a:pt x="2228" y="2941"/>
                    <a:pt x="2238" y="3025"/>
                    <a:pt x="2192" y="3082"/>
                  </a:cubicBezTo>
                  <a:cubicBezTo>
                    <a:pt x="2167" y="3114"/>
                    <a:pt x="2128" y="3133"/>
                    <a:pt x="2088" y="3133"/>
                  </a:cubicBezTo>
                  <a:lnTo>
                    <a:pt x="2090" y="31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9"/>
            <p:cNvSpPr>
              <a:spLocks/>
            </p:cNvSpPr>
            <p:nvPr/>
          </p:nvSpPr>
          <p:spPr bwMode="auto">
            <a:xfrm>
              <a:off x="3740" y="1390"/>
              <a:ext cx="250" cy="195"/>
            </a:xfrm>
            <a:custGeom>
              <a:avLst/>
              <a:gdLst>
                <a:gd name="T0" fmla="*/ 133 w 4706"/>
                <a:gd name="T1" fmla="*/ 3676 h 3676"/>
                <a:gd name="T2" fmla="*/ 0 w 4706"/>
                <a:gd name="T3" fmla="*/ 3543 h 3676"/>
                <a:gd name="T4" fmla="*/ 94 w 4706"/>
                <a:gd name="T5" fmla="*/ 3416 h 3676"/>
                <a:gd name="T6" fmla="*/ 494 w 4706"/>
                <a:gd name="T7" fmla="*/ 2398 h 3676"/>
                <a:gd name="T8" fmla="*/ 1680 w 4706"/>
                <a:gd name="T9" fmla="*/ 253 h 3676"/>
                <a:gd name="T10" fmla="*/ 1682 w 4706"/>
                <a:gd name="T11" fmla="*/ 252 h 3676"/>
                <a:gd name="T12" fmla="*/ 3811 w 4706"/>
                <a:gd name="T13" fmla="*/ 1391 h 3676"/>
                <a:gd name="T14" fmla="*/ 4644 w 4706"/>
                <a:gd name="T15" fmla="*/ 2082 h 3676"/>
                <a:gd name="T16" fmla="*/ 4658 w 4706"/>
                <a:gd name="T17" fmla="*/ 2270 h 3676"/>
                <a:gd name="T18" fmla="*/ 4476 w 4706"/>
                <a:gd name="T19" fmla="*/ 2289 h 3676"/>
                <a:gd name="T20" fmla="*/ 3576 w 4706"/>
                <a:gd name="T21" fmla="*/ 1522 h 3676"/>
                <a:gd name="T22" fmla="*/ 3563 w 4706"/>
                <a:gd name="T23" fmla="*/ 1492 h 3676"/>
                <a:gd name="T24" fmla="*/ 1755 w 4706"/>
                <a:gd name="T25" fmla="*/ 509 h 3676"/>
                <a:gd name="T26" fmla="*/ 750 w 4706"/>
                <a:gd name="T27" fmla="*/ 2324 h 3676"/>
                <a:gd name="T28" fmla="*/ 750 w 4706"/>
                <a:gd name="T29" fmla="*/ 2324 h 3676"/>
                <a:gd name="T30" fmla="*/ 174 w 4706"/>
                <a:gd name="T31" fmla="*/ 3670 h 3676"/>
                <a:gd name="T32" fmla="*/ 133 w 4706"/>
                <a:gd name="T33" fmla="*/ 3676 h 3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06" h="3676">
                  <a:moveTo>
                    <a:pt x="133" y="3676"/>
                  </a:moveTo>
                  <a:cubicBezTo>
                    <a:pt x="60" y="3676"/>
                    <a:pt x="0" y="3616"/>
                    <a:pt x="0" y="3543"/>
                  </a:cubicBezTo>
                  <a:cubicBezTo>
                    <a:pt x="0" y="3484"/>
                    <a:pt x="38" y="3433"/>
                    <a:pt x="94" y="3416"/>
                  </a:cubicBezTo>
                  <a:cubicBezTo>
                    <a:pt x="243" y="3369"/>
                    <a:pt x="712" y="3158"/>
                    <a:pt x="494" y="2398"/>
                  </a:cubicBezTo>
                  <a:cubicBezTo>
                    <a:pt x="229" y="1478"/>
                    <a:pt x="760" y="517"/>
                    <a:pt x="1680" y="253"/>
                  </a:cubicBezTo>
                  <a:cubicBezTo>
                    <a:pt x="1681" y="253"/>
                    <a:pt x="1681" y="253"/>
                    <a:pt x="1682" y="252"/>
                  </a:cubicBezTo>
                  <a:cubicBezTo>
                    <a:pt x="2582" y="0"/>
                    <a:pt x="3521" y="502"/>
                    <a:pt x="3811" y="1391"/>
                  </a:cubicBezTo>
                  <a:cubicBezTo>
                    <a:pt x="3877" y="1453"/>
                    <a:pt x="4333" y="1829"/>
                    <a:pt x="4644" y="2082"/>
                  </a:cubicBezTo>
                  <a:cubicBezTo>
                    <a:pt x="4700" y="2130"/>
                    <a:pt x="4706" y="2214"/>
                    <a:pt x="4658" y="2270"/>
                  </a:cubicBezTo>
                  <a:cubicBezTo>
                    <a:pt x="4612" y="2323"/>
                    <a:pt x="4532" y="2331"/>
                    <a:pt x="4476" y="2289"/>
                  </a:cubicBezTo>
                  <a:cubicBezTo>
                    <a:pt x="3619" y="1593"/>
                    <a:pt x="3590" y="1545"/>
                    <a:pt x="3576" y="1522"/>
                  </a:cubicBezTo>
                  <a:cubicBezTo>
                    <a:pt x="3571" y="1513"/>
                    <a:pt x="3566" y="1503"/>
                    <a:pt x="3563" y="1492"/>
                  </a:cubicBezTo>
                  <a:cubicBezTo>
                    <a:pt x="3327" y="729"/>
                    <a:pt x="2525" y="293"/>
                    <a:pt x="1755" y="509"/>
                  </a:cubicBezTo>
                  <a:cubicBezTo>
                    <a:pt x="976" y="733"/>
                    <a:pt x="527" y="1545"/>
                    <a:pt x="750" y="2324"/>
                  </a:cubicBezTo>
                  <a:cubicBezTo>
                    <a:pt x="750" y="2324"/>
                    <a:pt x="750" y="2324"/>
                    <a:pt x="750" y="2324"/>
                  </a:cubicBezTo>
                  <a:cubicBezTo>
                    <a:pt x="978" y="3114"/>
                    <a:pt x="582" y="3543"/>
                    <a:pt x="174" y="3670"/>
                  </a:cubicBezTo>
                  <a:cubicBezTo>
                    <a:pt x="161" y="3674"/>
                    <a:pt x="147" y="3676"/>
                    <a:pt x="133" y="367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0"/>
            <p:cNvSpPr>
              <a:spLocks/>
            </p:cNvSpPr>
            <p:nvPr/>
          </p:nvSpPr>
          <p:spPr bwMode="auto">
            <a:xfrm>
              <a:off x="3763" y="1421"/>
              <a:ext cx="220" cy="191"/>
            </a:xfrm>
            <a:custGeom>
              <a:avLst/>
              <a:gdLst>
                <a:gd name="T0" fmla="*/ 133 w 4154"/>
                <a:gd name="T1" fmla="*/ 3601 h 3601"/>
                <a:gd name="T2" fmla="*/ 0 w 4154"/>
                <a:gd name="T3" fmla="*/ 3468 h 3601"/>
                <a:gd name="T4" fmla="*/ 93 w 4154"/>
                <a:gd name="T5" fmla="*/ 3341 h 3601"/>
                <a:gd name="T6" fmla="*/ 578 w 4154"/>
                <a:gd name="T7" fmla="*/ 1658 h 3601"/>
                <a:gd name="T8" fmla="*/ 1401 w 4154"/>
                <a:gd name="T9" fmla="*/ 181 h 3601"/>
                <a:gd name="T10" fmla="*/ 2886 w 4154"/>
                <a:gd name="T11" fmla="*/ 1003 h 3601"/>
                <a:gd name="T12" fmla="*/ 4082 w 4154"/>
                <a:gd name="T13" fmla="*/ 2163 h 3601"/>
                <a:gd name="T14" fmla="*/ 4110 w 4154"/>
                <a:gd name="T15" fmla="*/ 2350 h 3601"/>
                <a:gd name="T16" fmla="*/ 3923 w 4154"/>
                <a:gd name="T17" fmla="*/ 2378 h 3601"/>
                <a:gd name="T18" fmla="*/ 3917 w 4154"/>
                <a:gd name="T19" fmla="*/ 2372 h 3601"/>
                <a:gd name="T20" fmla="*/ 2630 w 4154"/>
                <a:gd name="T21" fmla="*/ 1077 h 3601"/>
                <a:gd name="T22" fmla="*/ 1475 w 4154"/>
                <a:gd name="T23" fmla="*/ 437 h 3601"/>
                <a:gd name="T24" fmla="*/ 838 w 4154"/>
                <a:gd name="T25" fmla="*/ 1601 h 3601"/>
                <a:gd name="T26" fmla="*/ 171 w 4154"/>
                <a:gd name="T27" fmla="*/ 3596 h 3601"/>
                <a:gd name="T28" fmla="*/ 133 w 4154"/>
                <a:gd name="T29" fmla="*/ 3601 h 3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154" h="3601">
                  <a:moveTo>
                    <a:pt x="133" y="3601"/>
                  </a:moveTo>
                  <a:cubicBezTo>
                    <a:pt x="59" y="3601"/>
                    <a:pt x="0" y="3541"/>
                    <a:pt x="0" y="3468"/>
                  </a:cubicBezTo>
                  <a:cubicBezTo>
                    <a:pt x="0" y="3410"/>
                    <a:pt x="38" y="3358"/>
                    <a:pt x="93" y="3341"/>
                  </a:cubicBezTo>
                  <a:cubicBezTo>
                    <a:pt x="646" y="3168"/>
                    <a:pt x="847" y="2884"/>
                    <a:pt x="578" y="1658"/>
                  </a:cubicBezTo>
                  <a:cubicBezTo>
                    <a:pt x="413" y="1025"/>
                    <a:pt x="776" y="374"/>
                    <a:pt x="1401" y="181"/>
                  </a:cubicBezTo>
                  <a:cubicBezTo>
                    <a:pt x="2038" y="0"/>
                    <a:pt x="2701" y="367"/>
                    <a:pt x="2886" y="1003"/>
                  </a:cubicBezTo>
                  <a:cubicBezTo>
                    <a:pt x="2923" y="1132"/>
                    <a:pt x="3093" y="1380"/>
                    <a:pt x="4082" y="2163"/>
                  </a:cubicBezTo>
                  <a:cubicBezTo>
                    <a:pt x="4141" y="2207"/>
                    <a:pt x="4154" y="2291"/>
                    <a:pt x="4110" y="2350"/>
                  </a:cubicBezTo>
                  <a:cubicBezTo>
                    <a:pt x="4066" y="2409"/>
                    <a:pt x="3982" y="2421"/>
                    <a:pt x="3923" y="2378"/>
                  </a:cubicBezTo>
                  <a:cubicBezTo>
                    <a:pt x="3921" y="2376"/>
                    <a:pt x="3919" y="2374"/>
                    <a:pt x="3917" y="2372"/>
                  </a:cubicBezTo>
                  <a:cubicBezTo>
                    <a:pt x="2823" y="1508"/>
                    <a:pt x="2682" y="1258"/>
                    <a:pt x="2630" y="1077"/>
                  </a:cubicBezTo>
                  <a:cubicBezTo>
                    <a:pt x="2487" y="582"/>
                    <a:pt x="1970" y="295"/>
                    <a:pt x="1475" y="437"/>
                  </a:cubicBezTo>
                  <a:cubicBezTo>
                    <a:pt x="985" y="592"/>
                    <a:pt x="705" y="1105"/>
                    <a:pt x="838" y="1601"/>
                  </a:cubicBezTo>
                  <a:cubicBezTo>
                    <a:pt x="1112" y="2851"/>
                    <a:pt x="945" y="3355"/>
                    <a:pt x="171" y="3596"/>
                  </a:cubicBezTo>
                  <a:cubicBezTo>
                    <a:pt x="159" y="3599"/>
                    <a:pt x="146" y="3601"/>
                    <a:pt x="133" y="360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1"/>
            <p:cNvSpPr>
              <a:spLocks/>
            </p:cNvSpPr>
            <p:nvPr/>
          </p:nvSpPr>
          <p:spPr bwMode="auto">
            <a:xfrm>
              <a:off x="3847" y="1484"/>
              <a:ext cx="108" cy="113"/>
            </a:xfrm>
            <a:custGeom>
              <a:avLst/>
              <a:gdLst>
                <a:gd name="T0" fmla="*/ 1883 w 2029"/>
                <a:gd name="T1" fmla="*/ 2152 h 2152"/>
                <a:gd name="T2" fmla="*/ 1789 w 2029"/>
                <a:gd name="T3" fmla="*/ 2113 h 2152"/>
                <a:gd name="T4" fmla="*/ 1509 w 2029"/>
                <a:gd name="T5" fmla="*/ 1888 h 2152"/>
                <a:gd name="T6" fmla="*/ 22 w 2029"/>
                <a:gd name="T7" fmla="*/ 188 h 2152"/>
                <a:gd name="T8" fmla="*/ 110 w 2029"/>
                <a:gd name="T9" fmla="*/ 22 h 2152"/>
                <a:gd name="T10" fmla="*/ 277 w 2029"/>
                <a:gd name="T11" fmla="*/ 110 h 2152"/>
                <a:gd name="T12" fmla="*/ 278 w 2029"/>
                <a:gd name="T13" fmla="*/ 115 h 2152"/>
                <a:gd name="T14" fmla="*/ 1670 w 2029"/>
                <a:gd name="T15" fmla="*/ 1676 h 2152"/>
                <a:gd name="T16" fmla="*/ 1977 w 2029"/>
                <a:gd name="T17" fmla="*/ 1924 h 2152"/>
                <a:gd name="T18" fmla="*/ 1977 w 2029"/>
                <a:gd name="T19" fmla="*/ 2113 h 2152"/>
                <a:gd name="T20" fmla="*/ 1883 w 2029"/>
                <a:gd name="T21" fmla="*/ 2152 h 2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29" h="2152">
                  <a:moveTo>
                    <a:pt x="1883" y="2152"/>
                  </a:moveTo>
                  <a:cubicBezTo>
                    <a:pt x="1848" y="2152"/>
                    <a:pt x="1814" y="2138"/>
                    <a:pt x="1789" y="2113"/>
                  </a:cubicBezTo>
                  <a:cubicBezTo>
                    <a:pt x="1699" y="2033"/>
                    <a:pt x="1606" y="1958"/>
                    <a:pt x="1509" y="1888"/>
                  </a:cubicBezTo>
                  <a:cubicBezTo>
                    <a:pt x="1031" y="1526"/>
                    <a:pt x="232" y="920"/>
                    <a:pt x="22" y="188"/>
                  </a:cubicBezTo>
                  <a:cubicBezTo>
                    <a:pt x="0" y="118"/>
                    <a:pt x="40" y="43"/>
                    <a:pt x="110" y="22"/>
                  </a:cubicBezTo>
                  <a:cubicBezTo>
                    <a:pt x="181" y="0"/>
                    <a:pt x="255" y="40"/>
                    <a:pt x="277" y="110"/>
                  </a:cubicBezTo>
                  <a:cubicBezTo>
                    <a:pt x="277" y="112"/>
                    <a:pt x="278" y="113"/>
                    <a:pt x="278" y="115"/>
                  </a:cubicBezTo>
                  <a:cubicBezTo>
                    <a:pt x="465" y="761"/>
                    <a:pt x="1219" y="1333"/>
                    <a:pt x="1670" y="1676"/>
                  </a:cubicBezTo>
                  <a:cubicBezTo>
                    <a:pt x="1777" y="1753"/>
                    <a:pt x="1880" y="1836"/>
                    <a:pt x="1977" y="1924"/>
                  </a:cubicBezTo>
                  <a:cubicBezTo>
                    <a:pt x="2029" y="1976"/>
                    <a:pt x="2029" y="2061"/>
                    <a:pt x="1977" y="2113"/>
                  </a:cubicBezTo>
                  <a:cubicBezTo>
                    <a:pt x="1952" y="2138"/>
                    <a:pt x="1919" y="2152"/>
                    <a:pt x="1883" y="21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2"/>
            <p:cNvSpPr>
              <a:spLocks/>
            </p:cNvSpPr>
            <p:nvPr/>
          </p:nvSpPr>
          <p:spPr bwMode="auto">
            <a:xfrm>
              <a:off x="3833" y="1597"/>
              <a:ext cx="72" cy="57"/>
            </a:xfrm>
            <a:custGeom>
              <a:avLst/>
              <a:gdLst>
                <a:gd name="T0" fmla="*/ 138 w 1352"/>
                <a:gd name="T1" fmla="*/ 1066 h 1066"/>
                <a:gd name="T2" fmla="*/ 130 w 1352"/>
                <a:gd name="T3" fmla="*/ 1066 h 1066"/>
                <a:gd name="T4" fmla="*/ 5 w 1352"/>
                <a:gd name="T5" fmla="*/ 925 h 1066"/>
                <a:gd name="T6" fmla="*/ 538 w 1352"/>
                <a:gd name="T7" fmla="*/ 0 h 1066"/>
                <a:gd name="T8" fmla="*/ 1205 w 1352"/>
                <a:gd name="T9" fmla="*/ 452 h 1066"/>
                <a:gd name="T10" fmla="*/ 1300 w 1352"/>
                <a:gd name="T11" fmla="*/ 572 h 1066"/>
                <a:gd name="T12" fmla="*/ 1297 w 1352"/>
                <a:gd name="T13" fmla="*/ 761 h 1066"/>
                <a:gd name="T14" fmla="*/ 1112 w 1352"/>
                <a:gd name="T15" fmla="*/ 761 h 1066"/>
                <a:gd name="T16" fmla="*/ 990 w 1352"/>
                <a:gd name="T17" fmla="*/ 610 h 1066"/>
                <a:gd name="T18" fmla="*/ 538 w 1352"/>
                <a:gd name="T19" fmla="*/ 266 h 1066"/>
                <a:gd name="T20" fmla="*/ 272 w 1352"/>
                <a:gd name="T21" fmla="*/ 941 h 1066"/>
                <a:gd name="T22" fmla="*/ 138 w 1352"/>
                <a:gd name="T23" fmla="*/ 1066 h 1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52" h="1066">
                  <a:moveTo>
                    <a:pt x="138" y="1066"/>
                  </a:moveTo>
                  <a:lnTo>
                    <a:pt x="130" y="1066"/>
                  </a:lnTo>
                  <a:cubicBezTo>
                    <a:pt x="56" y="1062"/>
                    <a:pt x="0" y="998"/>
                    <a:pt x="5" y="925"/>
                  </a:cubicBezTo>
                  <a:cubicBezTo>
                    <a:pt x="15" y="771"/>
                    <a:pt x="85" y="0"/>
                    <a:pt x="538" y="0"/>
                  </a:cubicBezTo>
                  <a:cubicBezTo>
                    <a:pt x="821" y="33"/>
                    <a:pt x="1070" y="201"/>
                    <a:pt x="1205" y="452"/>
                  </a:cubicBezTo>
                  <a:cubicBezTo>
                    <a:pt x="1234" y="494"/>
                    <a:pt x="1266" y="534"/>
                    <a:pt x="1300" y="572"/>
                  </a:cubicBezTo>
                  <a:cubicBezTo>
                    <a:pt x="1352" y="625"/>
                    <a:pt x="1350" y="710"/>
                    <a:pt x="1297" y="761"/>
                  </a:cubicBezTo>
                  <a:cubicBezTo>
                    <a:pt x="1246" y="811"/>
                    <a:pt x="1164" y="811"/>
                    <a:pt x="1112" y="761"/>
                  </a:cubicBezTo>
                  <a:cubicBezTo>
                    <a:pt x="1068" y="714"/>
                    <a:pt x="1027" y="663"/>
                    <a:pt x="990" y="610"/>
                  </a:cubicBezTo>
                  <a:cubicBezTo>
                    <a:pt x="876" y="457"/>
                    <a:pt x="736" y="266"/>
                    <a:pt x="538" y="266"/>
                  </a:cubicBezTo>
                  <a:cubicBezTo>
                    <a:pt x="394" y="266"/>
                    <a:pt x="288" y="666"/>
                    <a:pt x="272" y="941"/>
                  </a:cubicBezTo>
                  <a:cubicBezTo>
                    <a:pt x="267" y="1012"/>
                    <a:pt x="209" y="1066"/>
                    <a:pt x="138" y="106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3"/>
            <p:cNvSpPr>
              <a:spLocks/>
            </p:cNvSpPr>
            <p:nvPr/>
          </p:nvSpPr>
          <p:spPr bwMode="auto">
            <a:xfrm>
              <a:off x="3791" y="1554"/>
              <a:ext cx="50" cy="86"/>
            </a:xfrm>
            <a:custGeom>
              <a:avLst/>
              <a:gdLst>
                <a:gd name="T0" fmla="*/ 133 w 935"/>
                <a:gd name="T1" fmla="*/ 1625 h 1625"/>
                <a:gd name="T2" fmla="*/ 0 w 935"/>
                <a:gd name="T3" fmla="*/ 1492 h 1625"/>
                <a:gd name="T4" fmla="*/ 92 w 935"/>
                <a:gd name="T5" fmla="*/ 1364 h 1625"/>
                <a:gd name="T6" fmla="*/ 540 w 935"/>
                <a:gd name="T7" fmla="*/ 198 h 1625"/>
                <a:gd name="T8" fmla="*/ 617 w 935"/>
                <a:gd name="T9" fmla="*/ 26 h 1625"/>
                <a:gd name="T10" fmla="*/ 789 w 935"/>
                <a:gd name="T11" fmla="*/ 103 h 1625"/>
                <a:gd name="T12" fmla="*/ 794 w 935"/>
                <a:gd name="T13" fmla="*/ 118 h 1625"/>
                <a:gd name="T14" fmla="*/ 174 w 935"/>
                <a:gd name="T15" fmla="*/ 1619 h 1625"/>
                <a:gd name="T16" fmla="*/ 133 w 935"/>
                <a:gd name="T17" fmla="*/ 1625 h 1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35" h="1625">
                  <a:moveTo>
                    <a:pt x="133" y="1625"/>
                  </a:moveTo>
                  <a:cubicBezTo>
                    <a:pt x="60" y="1625"/>
                    <a:pt x="0" y="1565"/>
                    <a:pt x="0" y="1492"/>
                  </a:cubicBezTo>
                  <a:cubicBezTo>
                    <a:pt x="0" y="1434"/>
                    <a:pt x="37" y="1382"/>
                    <a:pt x="92" y="1364"/>
                  </a:cubicBezTo>
                  <a:cubicBezTo>
                    <a:pt x="429" y="1255"/>
                    <a:pt x="652" y="555"/>
                    <a:pt x="540" y="198"/>
                  </a:cubicBezTo>
                  <a:cubicBezTo>
                    <a:pt x="513" y="130"/>
                    <a:pt x="548" y="53"/>
                    <a:pt x="617" y="26"/>
                  </a:cubicBezTo>
                  <a:cubicBezTo>
                    <a:pt x="685" y="0"/>
                    <a:pt x="762" y="34"/>
                    <a:pt x="789" y="103"/>
                  </a:cubicBezTo>
                  <a:cubicBezTo>
                    <a:pt x="791" y="108"/>
                    <a:pt x="792" y="113"/>
                    <a:pt x="794" y="118"/>
                  </a:cubicBezTo>
                  <a:cubicBezTo>
                    <a:pt x="935" y="561"/>
                    <a:pt x="687" y="1452"/>
                    <a:pt x="174" y="1619"/>
                  </a:cubicBezTo>
                  <a:cubicBezTo>
                    <a:pt x="161" y="1623"/>
                    <a:pt x="147" y="1625"/>
                    <a:pt x="133" y="16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4"/>
            <p:cNvSpPr>
              <a:spLocks/>
            </p:cNvSpPr>
            <p:nvPr/>
          </p:nvSpPr>
          <p:spPr bwMode="auto">
            <a:xfrm>
              <a:off x="3735" y="1372"/>
              <a:ext cx="255" cy="127"/>
            </a:xfrm>
            <a:custGeom>
              <a:avLst/>
              <a:gdLst>
                <a:gd name="T0" fmla="*/ 134 w 4818"/>
                <a:gd name="T1" fmla="*/ 2400 h 2400"/>
                <a:gd name="T2" fmla="*/ 0 w 4818"/>
                <a:gd name="T3" fmla="*/ 2267 h 2400"/>
                <a:gd name="T4" fmla="*/ 2267 w 4818"/>
                <a:gd name="T5" fmla="*/ 0 h 2400"/>
                <a:gd name="T6" fmla="*/ 4259 w 4818"/>
                <a:gd name="T7" fmla="*/ 1230 h 2400"/>
                <a:gd name="T8" fmla="*/ 4708 w 4818"/>
                <a:gd name="T9" fmla="*/ 1740 h 2400"/>
                <a:gd name="T10" fmla="*/ 4796 w 4818"/>
                <a:gd name="T11" fmla="*/ 1907 h 2400"/>
                <a:gd name="T12" fmla="*/ 4629 w 4818"/>
                <a:gd name="T13" fmla="*/ 1994 h 2400"/>
                <a:gd name="T14" fmla="*/ 4626 w 4818"/>
                <a:gd name="T15" fmla="*/ 1993 h 2400"/>
                <a:gd name="T16" fmla="*/ 4032 w 4818"/>
                <a:gd name="T17" fmla="*/ 1370 h 2400"/>
                <a:gd name="T18" fmla="*/ 2267 w 4818"/>
                <a:gd name="T19" fmla="*/ 267 h 2400"/>
                <a:gd name="T20" fmla="*/ 267 w 4818"/>
                <a:gd name="T21" fmla="*/ 2267 h 2400"/>
                <a:gd name="T22" fmla="*/ 134 w 4818"/>
                <a:gd name="T23" fmla="*/ 2400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18" h="2400">
                  <a:moveTo>
                    <a:pt x="134" y="2400"/>
                  </a:moveTo>
                  <a:cubicBezTo>
                    <a:pt x="60" y="2400"/>
                    <a:pt x="0" y="2340"/>
                    <a:pt x="0" y="2267"/>
                  </a:cubicBezTo>
                  <a:cubicBezTo>
                    <a:pt x="2" y="1015"/>
                    <a:pt x="1016" y="1"/>
                    <a:pt x="2267" y="0"/>
                  </a:cubicBezTo>
                  <a:cubicBezTo>
                    <a:pt x="3497" y="0"/>
                    <a:pt x="3938" y="711"/>
                    <a:pt x="4259" y="1230"/>
                  </a:cubicBezTo>
                  <a:cubicBezTo>
                    <a:pt x="4411" y="1474"/>
                    <a:pt x="4542" y="1686"/>
                    <a:pt x="4708" y="1740"/>
                  </a:cubicBezTo>
                  <a:cubicBezTo>
                    <a:pt x="4779" y="1762"/>
                    <a:pt x="4818" y="1836"/>
                    <a:pt x="4796" y="1907"/>
                  </a:cubicBezTo>
                  <a:cubicBezTo>
                    <a:pt x="4774" y="1977"/>
                    <a:pt x="4699" y="2016"/>
                    <a:pt x="4629" y="1994"/>
                  </a:cubicBezTo>
                  <a:cubicBezTo>
                    <a:pt x="4628" y="1994"/>
                    <a:pt x="4627" y="1994"/>
                    <a:pt x="4626" y="1993"/>
                  </a:cubicBezTo>
                  <a:cubicBezTo>
                    <a:pt x="4366" y="1909"/>
                    <a:pt x="4212" y="1659"/>
                    <a:pt x="4032" y="1370"/>
                  </a:cubicBezTo>
                  <a:cubicBezTo>
                    <a:pt x="3728" y="878"/>
                    <a:pt x="3349" y="267"/>
                    <a:pt x="2267" y="267"/>
                  </a:cubicBezTo>
                  <a:cubicBezTo>
                    <a:pt x="1163" y="268"/>
                    <a:pt x="268" y="1163"/>
                    <a:pt x="267" y="2267"/>
                  </a:cubicBezTo>
                  <a:cubicBezTo>
                    <a:pt x="267" y="2340"/>
                    <a:pt x="207" y="2400"/>
                    <a:pt x="134" y="24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5"/>
            <p:cNvSpPr>
              <a:spLocks/>
            </p:cNvSpPr>
            <p:nvPr/>
          </p:nvSpPr>
          <p:spPr bwMode="auto">
            <a:xfrm>
              <a:off x="3735" y="1513"/>
              <a:ext cx="22" cy="35"/>
            </a:xfrm>
            <a:custGeom>
              <a:avLst/>
              <a:gdLst>
                <a:gd name="T0" fmla="*/ 267 w 419"/>
                <a:gd name="T1" fmla="*/ 666 h 666"/>
                <a:gd name="T2" fmla="*/ 148 w 419"/>
                <a:gd name="T3" fmla="*/ 593 h 666"/>
                <a:gd name="T4" fmla="*/ 0 w 419"/>
                <a:gd name="T5" fmla="*/ 133 h 666"/>
                <a:gd name="T6" fmla="*/ 134 w 419"/>
                <a:gd name="T7" fmla="*/ 0 h 666"/>
                <a:gd name="T8" fmla="*/ 267 w 419"/>
                <a:gd name="T9" fmla="*/ 133 h 666"/>
                <a:gd name="T10" fmla="*/ 386 w 419"/>
                <a:gd name="T11" fmla="*/ 473 h 666"/>
                <a:gd name="T12" fmla="*/ 327 w 419"/>
                <a:gd name="T13" fmla="*/ 652 h 666"/>
                <a:gd name="T14" fmla="*/ 267 w 419"/>
                <a:gd name="T15" fmla="*/ 666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9" h="666">
                  <a:moveTo>
                    <a:pt x="267" y="666"/>
                  </a:moveTo>
                  <a:cubicBezTo>
                    <a:pt x="216" y="666"/>
                    <a:pt x="170" y="638"/>
                    <a:pt x="148" y="593"/>
                  </a:cubicBezTo>
                  <a:cubicBezTo>
                    <a:pt x="71" y="449"/>
                    <a:pt x="22" y="294"/>
                    <a:pt x="0" y="133"/>
                  </a:cubicBezTo>
                  <a:cubicBezTo>
                    <a:pt x="0" y="59"/>
                    <a:pt x="60" y="0"/>
                    <a:pt x="134" y="0"/>
                  </a:cubicBezTo>
                  <a:cubicBezTo>
                    <a:pt x="207" y="0"/>
                    <a:pt x="267" y="59"/>
                    <a:pt x="267" y="133"/>
                  </a:cubicBezTo>
                  <a:cubicBezTo>
                    <a:pt x="289" y="252"/>
                    <a:pt x="329" y="367"/>
                    <a:pt x="386" y="473"/>
                  </a:cubicBezTo>
                  <a:cubicBezTo>
                    <a:pt x="419" y="539"/>
                    <a:pt x="393" y="619"/>
                    <a:pt x="327" y="652"/>
                  </a:cubicBezTo>
                  <a:cubicBezTo>
                    <a:pt x="308" y="661"/>
                    <a:pt x="288" y="666"/>
                    <a:pt x="267" y="66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6"/>
            <p:cNvSpPr>
              <a:spLocks/>
            </p:cNvSpPr>
            <p:nvPr/>
          </p:nvSpPr>
          <p:spPr bwMode="auto">
            <a:xfrm>
              <a:off x="3740" y="1343"/>
              <a:ext cx="222" cy="58"/>
            </a:xfrm>
            <a:custGeom>
              <a:avLst/>
              <a:gdLst>
                <a:gd name="T0" fmla="*/ 4022 w 4174"/>
                <a:gd name="T1" fmla="*/ 1066 h 1089"/>
                <a:gd name="T2" fmla="*/ 3908 w 4174"/>
                <a:gd name="T3" fmla="*/ 1002 h 1089"/>
                <a:gd name="T4" fmla="*/ 2022 w 4174"/>
                <a:gd name="T5" fmla="*/ 266 h 1089"/>
                <a:gd name="T6" fmla="*/ 269 w 4174"/>
                <a:gd name="T7" fmla="*/ 1002 h 1089"/>
                <a:gd name="T8" fmla="*/ 87 w 4174"/>
                <a:gd name="T9" fmla="*/ 1053 h 1089"/>
                <a:gd name="T10" fmla="*/ 36 w 4174"/>
                <a:gd name="T11" fmla="*/ 872 h 1089"/>
                <a:gd name="T12" fmla="*/ 41 w 4174"/>
                <a:gd name="T13" fmla="*/ 864 h 1089"/>
                <a:gd name="T14" fmla="*/ 2022 w 4174"/>
                <a:gd name="T15" fmla="*/ 0 h 1089"/>
                <a:gd name="T16" fmla="*/ 4136 w 4174"/>
                <a:gd name="T17" fmla="*/ 864 h 1089"/>
                <a:gd name="T18" fmla="*/ 4091 w 4174"/>
                <a:gd name="T19" fmla="*/ 1047 h 1089"/>
                <a:gd name="T20" fmla="*/ 4022 w 4174"/>
                <a:gd name="T21" fmla="*/ 1066 h 10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74" h="1089">
                  <a:moveTo>
                    <a:pt x="4022" y="1066"/>
                  </a:moveTo>
                  <a:cubicBezTo>
                    <a:pt x="3975" y="1066"/>
                    <a:pt x="3932" y="1042"/>
                    <a:pt x="3908" y="1002"/>
                  </a:cubicBezTo>
                  <a:cubicBezTo>
                    <a:pt x="3776" y="785"/>
                    <a:pt x="3047" y="266"/>
                    <a:pt x="2022" y="266"/>
                  </a:cubicBezTo>
                  <a:cubicBezTo>
                    <a:pt x="955" y="266"/>
                    <a:pt x="385" y="811"/>
                    <a:pt x="269" y="1002"/>
                  </a:cubicBezTo>
                  <a:cubicBezTo>
                    <a:pt x="233" y="1066"/>
                    <a:pt x="152" y="1089"/>
                    <a:pt x="87" y="1053"/>
                  </a:cubicBezTo>
                  <a:cubicBezTo>
                    <a:pt x="23" y="1017"/>
                    <a:pt x="0" y="936"/>
                    <a:pt x="36" y="872"/>
                  </a:cubicBezTo>
                  <a:cubicBezTo>
                    <a:pt x="38" y="869"/>
                    <a:pt x="39" y="866"/>
                    <a:pt x="41" y="864"/>
                  </a:cubicBezTo>
                  <a:cubicBezTo>
                    <a:pt x="187" y="623"/>
                    <a:pt x="827" y="0"/>
                    <a:pt x="2022" y="0"/>
                  </a:cubicBezTo>
                  <a:cubicBezTo>
                    <a:pt x="3145" y="0"/>
                    <a:pt x="3953" y="562"/>
                    <a:pt x="4136" y="864"/>
                  </a:cubicBezTo>
                  <a:cubicBezTo>
                    <a:pt x="4174" y="927"/>
                    <a:pt x="4154" y="1009"/>
                    <a:pt x="4091" y="1047"/>
                  </a:cubicBezTo>
                  <a:cubicBezTo>
                    <a:pt x="4070" y="1060"/>
                    <a:pt x="4046" y="1066"/>
                    <a:pt x="4022" y="106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7"/>
            <p:cNvSpPr>
              <a:spLocks/>
            </p:cNvSpPr>
            <p:nvPr/>
          </p:nvSpPr>
          <p:spPr bwMode="auto">
            <a:xfrm>
              <a:off x="3776" y="1314"/>
              <a:ext cx="158" cy="30"/>
            </a:xfrm>
            <a:custGeom>
              <a:avLst/>
              <a:gdLst>
                <a:gd name="T0" fmla="*/ 2818 w 2970"/>
                <a:gd name="T1" fmla="*/ 557 h 576"/>
                <a:gd name="T2" fmla="*/ 2775 w 2970"/>
                <a:gd name="T3" fmla="*/ 549 h 576"/>
                <a:gd name="T4" fmla="*/ 2619 w 2970"/>
                <a:gd name="T5" fmla="*/ 493 h 576"/>
                <a:gd name="T6" fmla="*/ 1352 w 2970"/>
                <a:gd name="T7" fmla="*/ 290 h 576"/>
                <a:gd name="T8" fmla="*/ 368 w 2970"/>
                <a:gd name="T9" fmla="*/ 466 h 576"/>
                <a:gd name="T10" fmla="*/ 206 w 2970"/>
                <a:gd name="T11" fmla="*/ 546 h 576"/>
                <a:gd name="T12" fmla="*/ 30 w 2970"/>
                <a:gd name="T13" fmla="*/ 478 h 576"/>
                <a:gd name="T14" fmla="*/ 98 w 2970"/>
                <a:gd name="T15" fmla="*/ 302 h 576"/>
                <a:gd name="T16" fmla="*/ 248 w 2970"/>
                <a:gd name="T17" fmla="*/ 229 h 576"/>
                <a:gd name="T18" fmla="*/ 1352 w 2970"/>
                <a:gd name="T19" fmla="*/ 23 h 576"/>
                <a:gd name="T20" fmla="*/ 2712 w 2970"/>
                <a:gd name="T21" fmla="*/ 243 h 576"/>
                <a:gd name="T22" fmla="*/ 2862 w 2970"/>
                <a:gd name="T23" fmla="*/ 296 h 576"/>
                <a:gd name="T24" fmla="*/ 2948 w 2970"/>
                <a:gd name="T25" fmla="*/ 464 h 576"/>
                <a:gd name="T26" fmla="*/ 2818 w 2970"/>
                <a:gd name="T27" fmla="*/ 557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70" h="576">
                  <a:moveTo>
                    <a:pt x="2818" y="557"/>
                  </a:moveTo>
                  <a:cubicBezTo>
                    <a:pt x="2804" y="557"/>
                    <a:pt x="2789" y="554"/>
                    <a:pt x="2775" y="549"/>
                  </a:cubicBezTo>
                  <a:cubicBezTo>
                    <a:pt x="2722" y="531"/>
                    <a:pt x="2670" y="512"/>
                    <a:pt x="2619" y="493"/>
                  </a:cubicBezTo>
                  <a:cubicBezTo>
                    <a:pt x="2216" y="336"/>
                    <a:pt x="1784" y="266"/>
                    <a:pt x="1352" y="290"/>
                  </a:cubicBezTo>
                  <a:cubicBezTo>
                    <a:pt x="712" y="290"/>
                    <a:pt x="567" y="364"/>
                    <a:pt x="368" y="466"/>
                  </a:cubicBezTo>
                  <a:cubicBezTo>
                    <a:pt x="319" y="491"/>
                    <a:pt x="267" y="518"/>
                    <a:pt x="206" y="546"/>
                  </a:cubicBezTo>
                  <a:cubicBezTo>
                    <a:pt x="139" y="576"/>
                    <a:pt x="60" y="545"/>
                    <a:pt x="30" y="478"/>
                  </a:cubicBezTo>
                  <a:cubicBezTo>
                    <a:pt x="0" y="410"/>
                    <a:pt x="31" y="331"/>
                    <a:pt x="98" y="302"/>
                  </a:cubicBezTo>
                  <a:cubicBezTo>
                    <a:pt x="155" y="276"/>
                    <a:pt x="202" y="252"/>
                    <a:pt x="248" y="229"/>
                  </a:cubicBezTo>
                  <a:cubicBezTo>
                    <a:pt x="470" y="114"/>
                    <a:pt x="647" y="23"/>
                    <a:pt x="1352" y="23"/>
                  </a:cubicBezTo>
                  <a:cubicBezTo>
                    <a:pt x="1815" y="0"/>
                    <a:pt x="2279" y="75"/>
                    <a:pt x="2712" y="243"/>
                  </a:cubicBezTo>
                  <a:cubicBezTo>
                    <a:pt x="2761" y="261"/>
                    <a:pt x="2810" y="280"/>
                    <a:pt x="2862" y="296"/>
                  </a:cubicBezTo>
                  <a:cubicBezTo>
                    <a:pt x="2932" y="319"/>
                    <a:pt x="2970" y="394"/>
                    <a:pt x="2948" y="464"/>
                  </a:cubicBezTo>
                  <a:cubicBezTo>
                    <a:pt x="2930" y="520"/>
                    <a:pt x="2877" y="558"/>
                    <a:pt x="2818" y="55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8"/>
            <p:cNvSpPr>
              <a:spLocks/>
            </p:cNvSpPr>
            <p:nvPr/>
          </p:nvSpPr>
          <p:spPr bwMode="auto">
            <a:xfrm>
              <a:off x="3960" y="1399"/>
              <a:ext cx="30" cy="43"/>
            </a:xfrm>
            <a:custGeom>
              <a:avLst/>
              <a:gdLst>
                <a:gd name="T0" fmla="*/ 419 w 568"/>
                <a:gd name="T1" fmla="*/ 819 h 819"/>
                <a:gd name="T2" fmla="*/ 292 w 568"/>
                <a:gd name="T3" fmla="*/ 726 h 819"/>
                <a:gd name="T4" fmla="*/ 39 w 568"/>
                <a:gd name="T5" fmla="*/ 222 h 819"/>
                <a:gd name="T6" fmla="*/ 82 w 568"/>
                <a:gd name="T7" fmla="*/ 39 h 819"/>
                <a:gd name="T8" fmla="*/ 266 w 568"/>
                <a:gd name="T9" fmla="*/ 83 h 819"/>
                <a:gd name="T10" fmla="*/ 266 w 568"/>
                <a:gd name="T11" fmla="*/ 83 h 819"/>
                <a:gd name="T12" fmla="*/ 546 w 568"/>
                <a:gd name="T13" fmla="*/ 645 h 819"/>
                <a:gd name="T14" fmla="*/ 459 w 568"/>
                <a:gd name="T15" fmla="*/ 813 h 819"/>
                <a:gd name="T16" fmla="*/ 419 w 568"/>
                <a:gd name="T17" fmla="*/ 819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8" h="819">
                  <a:moveTo>
                    <a:pt x="419" y="819"/>
                  </a:moveTo>
                  <a:cubicBezTo>
                    <a:pt x="361" y="819"/>
                    <a:pt x="310" y="782"/>
                    <a:pt x="292" y="726"/>
                  </a:cubicBezTo>
                  <a:cubicBezTo>
                    <a:pt x="223" y="551"/>
                    <a:pt x="138" y="383"/>
                    <a:pt x="39" y="222"/>
                  </a:cubicBezTo>
                  <a:cubicBezTo>
                    <a:pt x="0" y="160"/>
                    <a:pt x="20" y="78"/>
                    <a:pt x="82" y="39"/>
                  </a:cubicBezTo>
                  <a:cubicBezTo>
                    <a:pt x="145" y="0"/>
                    <a:pt x="227" y="20"/>
                    <a:pt x="266" y="83"/>
                  </a:cubicBezTo>
                  <a:lnTo>
                    <a:pt x="266" y="83"/>
                  </a:lnTo>
                  <a:cubicBezTo>
                    <a:pt x="377" y="261"/>
                    <a:pt x="470" y="450"/>
                    <a:pt x="546" y="645"/>
                  </a:cubicBezTo>
                  <a:cubicBezTo>
                    <a:pt x="568" y="716"/>
                    <a:pt x="530" y="791"/>
                    <a:pt x="459" y="813"/>
                  </a:cubicBezTo>
                  <a:cubicBezTo>
                    <a:pt x="446" y="817"/>
                    <a:pt x="433" y="819"/>
                    <a:pt x="419" y="81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2" name="Group 51"/>
          <p:cNvGrpSpPr>
            <a:grpSpLocks noChangeAspect="1"/>
          </p:cNvGrpSpPr>
          <p:nvPr/>
        </p:nvGrpSpPr>
        <p:grpSpPr bwMode="auto">
          <a:xfrm>
            <a:off x="10197362" y="1944688"/>
            <a:ext cx="538163" cy="538163"/>
            <a:chOff x="6477" y="1294"/>
            <a:chExt cx="339" cy="339"/>
          </a:xfrm>
          <a:gradFill>
            <a:gsLst>
              <a:gs pos="0">
                <a:srgbClr val="FEC232"/>
              </a:gs>
              <a:gs pos="100000">
                <a:srgbClr val="E57518"/>
              </a:gs>
            </a:gsLst>
            <a:path path="circle">
              <a:fillToRect l="50000" t="50000" r="50000" b="50000"/>
            </a:path>
          </a:gradFill>
        </p:grpSpPr>
        <p:sp>
          <p:nvSpPr>
            <p:cNvPr id="512" name="Freeform 52"/>
            <p:cNvSpPr>
              <a:spLocks noEditPoints="1"/>
            </p:cNvSpPr>
            <p:nvPr/>
          </p:nvSpPr>
          <p:spPr bwMode="auto">
            <a:xfrm>
              <a:off x="6477" y="1294"/>
              <a:ext cx="339" cy="339"/>
            </a:xfrm>
            <a:custGeom>
              <a:avLst/>
              <a:gdLst>
                <a:gd name="T0" fmla="*/ 5743 w 6400"/>
                <a:gd name="T1" fmla="*/ 2704 h 6400"/>
                <a:gd name="T2" fmla="*/ 5756 w 6400"/>
                <a:gd name="T3" fmla="*/ 1345 h 6400"/>
                <a:gd name="T4" fmla="*/ 5179 w 6400"/>
                <a:gd name="T5" fmla="*/ 644 h 6400"/>
                <a:gd name="T6" fmla="*/ 4651 w 6400"/>
                <a:gd name="T7" fmla="*/ 1048 h 6400"/>
                <a:gd name="T8" fmla="*/ 3696 w 6400"/>
                <a:gd name="T9" fmla="*/ 88 h 6400"/>
                <a:gd name="T10" fmla="*/ 2792 w 6400"/>
                <a:gd name="T11" fmla="*/ 0 h 6400"/>
                <a:gd name="T12" fmla="*/ 2704 w 6400"/>
                <a:gd name="T13" fmla="*/ 651 h 6400"/>
                <a:gd name="T14" fmla="*/ 1344 w 6400"/>
                <a:gd name="T15" fmla="*/ 643 h 6400"/>
                <a:gd name="T16" fmla="*/ 644 w 6400"/>
                <a:gd name="T17" fmla="*/ 1221 h 6400"/>
                <a:gd name="T18" fmla="*/ 1050 w 6400"/>
                <a:gd name="T19" fmla="*/ 1751 h 6400"/>
                <a:gd name="T20" fmla="*/ 88 w 6400"/>
                <a:gd name="T21" fmla="*/ 2704 h 6400"/>
                <a:gd name="T22" fmla="*/ 0 w 6400"/>
                <a:gd name="T23" fmla="*/ 3608 h 6400"/>
                <a:gd name="T24" fmla="*/ 660 w 6400"/>
                <a:gd name="T25" fmla="*/ 3696 h 6400"/>
                <a:gd name="T26" fmla="*/ 644 w 6400"/>
                <a:gd name="T27" fmla="*/ 5055 h 6400"/>
                <a:gd name="T28" fmla="*/ 1221 w 6400"/>
                <a:gd name="T29" fmla="*/ 5757 h 6400"/>
                <a:gd name="T30" fmla="*/ 1758 w 6400"/>
                <a:gd name="T31" fmla="*/ 5343 h 6400"/>
                <a:gd name="T32" fmla="*/ 2704 w 6400"/>
                <a:gd name="T33" fmla="*/ 6313 h 6400"/>
                <a:gd name="T34" fmla="*/ 3608 w 6400"/>
                <a:gd name="T35" fmla="*/ 6400 h 6400"/>
                <a:gd name="T36" fmla="*/ 3696 w 6400"/>
                <a:gd name="T37" fmla="*/ 5734 h 6400"/>
                <a:gd name="T38" fmla="*/ 5055 w 6400"/>
                <a:gd name="T39" fmla="*/ 5757 h 6400"/>
                <a:gd name="T40" fmla="*/ 5757 w 6400"/>
                <a:gd name="T41" fmla="*/ 5179 h 6400"/>
                <a:gd name="T42" fmla="*/ 5345 w 6400"/>
                <a:gd name="T43" fmla="*/ 4643 h 6400"/>
                <a:gd name="T44" fmla="*/ 6313 w 6400"/>
                <a:gd name="T45" fmla="*/ 3696 h 6400"/>
                <a:gd name="T46" fmla="*/ 6400 w 6400"/>
                <a:gd name="T47" fmla="*/ 2792 h 6400"/>
                <a:gd name="T48" fmla="*/ 6225 w 6400"/>
                <a:gd name="T49" fmla="*/ 3521 h 6400"/>
                <a:gd name="T50" fmla="*/ 5581 w 6400"/>
                <a:gd name="T51" fmla="*/ 3594 h 6400"/>
                <a:gd name="T52" fmla="*/ 5169 w 6400"/>
                <a:gd name="T53" fmla="*/ 4715 h 6400"/>
                <a:gd name="T54" fmla="*/ 5117 w 6400"/>
                <a:gd name="T55" fmla="*/ 5571 h 6400"/>
                <a:gd name="T56" fmla="*/ 4601 w 6400"/>
                <a:gd name="T57" fmla="*/ 5159 h 6400"/>
                <a:gd name="T58" fmla="*/ 3521 w 6400"/>
                <a:gd name="T59" fmla="*/ 5661 h 6400"/>
                <a:gd name="T60" fmla="*/ 2879 w 6400"/>
                <a:gd name="T61" fmla="*/ 6225 h 6400"/>
                <a:gd name="T62" fmla="*/ 2806 w 6400"/>
                <a:gd name="T63" fmla="*/ 5575 h 6400"/>
                <a:gd name="T64" fmla="*/ 1686 w 6400"/>
                <a:gd name="T65" fmla="*/ 5168 h 6400"/>
                <a:gd name="T66" fmla="*/ 829 w 6400"/>
                <a:gd name="T67" fmla="*/ 5117 h 6400"/>
                <a:gd name="T68" fmla="*/ 1240 w 6400"/>
                <a:gd name="T69" fmla="*/ 4602 h 6400"/>
                <a:gd name="T70" fmla="*/ 733 w 6400"/>
                <a:gd name="T71" fmla="*/ 3521 h 6400"/>
                <a:gd name="T72" fmla="*/ 175 w 6400"/>
                <a:gd name="T73" fmla="*/ 2879 h 6400"/>
                <a:gd name="T74" fmla="*/ 817 w 6400"/>
                <a:gd name="T75" fmla="*/ 2806 h 6400"/>
                <a:gd name="T76" fmla="*/ 1225 w 6400"/>
                <a:gd name="T77" fmla="*/ 1679 h 6400"/>
                <a:gd name="T78" fmla="*/ 1283 w 6400"/>
                <a:gd name="T79" fmla="*/ 829 h 6400"/>
                <a:gd name="T80" fmla="*/ 1791 w 6400"/>
                <a:gd name="T81" fmla="*/ 1233 h 6400"/>
                <a:gd name="T82" fmla="*/ 2879 w 6400"/>
                <a:gd name="T83" fmla="*/ 725 h 6400"/>
                <a:gd name="T84" fmla="*/ 3521 w 6400"/>
                <a:gd name="T85" fmla="*/ 175 h 6400"/>
                <a:gd name="T86" fmla="*/ 3594 w 6400"/>
                <a:gd name="T87" fmla="*/ 811 h 6400"/>
                <a:gd name="T88" fmla="*/ 4722 w 6400"/>
                <a:gd name="T89" fmla="*/ 1224 h 6400"/>
                <a:gd name="T90" fmla="*/ 5571 w 6400"/>
                <a:gd name="T91" fmla="*/ 1283 h 6400"/>
                <a:gd name="T92" fmla="*/ 5166 w 6400"/>
                <a:gd name="T93" fmla="*/ 1792 h 6400"/>
                <a:gd name="T94" fmla="*/ 5670 w 6400"/>
                <a:gd name="T95" fmla="*/ 2879 h 6400"/>
                <a:gd name="T96" fmla="*/ 6225 w 6400"/>
                <a:gd name="T97" fmla="*/ 3521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00" h="6400">
                  <a:moveTo>
                    <a:pt x="6313" y="2704"/>
                  </a:moveTo>
                  <a:lnTo>
                    <a:pt x="5743" y="2704"/>
                  </a:lnTo>
                  <a:cubicBezTo>
                    <a:pt x="5677" y="2363"/>
                    <a:pt x="5544" y="2039"/>
                    <a:pt x="5350" y="1751"/>
                  </a:cubicBezTo>
                  <a:lnTo>
                    <a:pt x="5756" y="1345"/>
                  </a:lnTo>
                  <a:cubicBezTo>
                    <a:pt x="5791" y="1311"/>
                    <a:pt x="5791" y="1255"/>
                    <a:pt x="5756" y="1221"/>
                  </a:cubicBezTo>
                  <a:lnTo>
                    <a:pt x="5179" y="644"/>
                  </a:lnTo>
                  <a:cubicBezTo>
                    <a:pt x="5145" y="609"/>
                    <a:pt x="5089" y="609"/>
                    <a:pt x="5055" y="644"/>
                  </a:cubicBezTo>
                  <a:lnTo>
                    <a:pt x="4651" y="1048"/>
                  </a:lnTo>
                  <a:cubicBezTo>
                    <a:pt x="4362" y="853"/>
                    <a:pt x="4037" y="718"/>
                    <a:pt x="3696" y="651"/>
                  </a:cubicBezTo>
                  <a:lnTo>
                    <a:pt x="3696" y="88"/>
                  </a:lnTo>
                  <a:cubicBezTo>
                    <a:pt x="3696" y="39"/>
                    <a:pt x="3657" y="0"/>
                    <a:pt x="3608" y="0"/>
                  </a:cubicBezTo>
                  <a:lnTo>
                    <a:pt x="2792" y="0"/>
                  </a:lnTo>
                  <a:cubicBezTo>
                    <a:pt x="2743" y="0"/>
                    <a:pt x="2704" y="39"/>
                    <a:pt x="2704" y="88"/>
                  </a:cubicBezTo>
                  <a:lnTo>
                    <a:pt x="2704" y="651"/>
                  </a:lnTo>
                  <a:cubicBezTo>
                    <a:pt x="2363" y="718"/>
                    <a:pt x="2038" y="853"/>
                    <a:pt x="1749" y="1048"/>
                  </a:cubicBezTo>
                  <a:lnTo>
                    <a:pt x="1344" y="643"/>
                  </a:lnTo>
                  <a:cubicBezTo>
                    <a:pt x="1310" y="609"/>
                    <a:pt x="1255" y="609"/>
                    <a:pt x="1221" y="643"/>
                  </a:cubicBezTo>
                  <a:lnTo>
                    <a:pt x="644" y="1221"/>
                  </a:lnTo>
                  <a:cubicBezTo>
                    <a:pt x="609" y="1255"/>
                    <a:pt x="609" y="1311"/>
                    <a:pt x="644" y="1345"/>
                  </a:cubicBezTo>
                  <a:lnTo>
                    <a:pt x="1050" y="1751"/>
                  </a:lnTo>
                  <a:cubicBezTo>
                    <a:pt x="856" y="2039"/>
                    <a:pt x="723" y="2363"/>
                    <a:pt x="657" y="2704"/>
                  </a:cubicBezTo>
                  <a:lnTo>
                    <a:pt x="88" y="2704"/>
                  </a:lnTo>
                  <a:cubicBezTo>
                    <a:pt x="39" y="2704"/>
                    <a:pt x="0" y="2743"/>
                    <a:pt x="0" y="2792"/>
                  </a:cubicBezTo>
                  <a:lnTo>
                    <a:pt x="0" y="3608"/>
                  </a:lnTo>
                  <a:cubicBezTo>
                    <a:pt x="0" y="3657"/>
                    <a:pt x="39" y="3696"/>
                    <a:pt x="88" y="3696"/>
                  </a:cubicBezTo>
                  <a:lnTo>
                    <a:pt x="660" y="3696"/>
                  </a:lnTo>
                  <a:cubicBezTo>
                    <a:pt x="727" y="4035"/>
                    <a:pt x="862" y="4357"/>
                    <a:pt x="1055" y="4643"/>
                  </a:cubicBezTo>
                  <a:lnTo>
                    <a:pt x="644" y="5055"/>
                  </a:lnTo>
                  <a:cubicBezTo>
                    <a:pt x="609" y="5089"/>
                    <a:pt x="609" y="5145"/>
                    <a:pt x="644" y="5179"/>
                  </a:cubicBezTo>
                  <a:lnTo>
                    <a:pt x="1221" y="5757"/>
                  </a:lnTo>
                  <a:cubicBezTo>
                    <a:pt x="1255" y="5791"/>
                    <a:pt x="1311" y="5791"/>
                    <a:pt x="1345" y="5757"/>
                  </a:cubicBezTo>
                  <a:lnTo>
                    <a:pt x="1758" y="5343"/>
                  </a:lnTo>
                  <a:cubicBezTo>
                    <a:pt x="2044" y="5535"/>
                    <a:pt x="2366" y="5668"/>
                    <a:pt x="2704" y="5734"/>
                  </a:cubicBezTo>
                  <a:lnTo>
                    <a:pt x="2704" y="6313"/>
                  </a:lnTo>
                  <a:cubicBezTo>
                    <a:pt x="2704" y="6361"/>
                    <a:pt x="2743" y="6400"/>
                    <a:pt x="2792" y="6400"/>
                  </a:cubicBezTo>
                  <a:lnTo>
                    <a:pt x="3608" y="6400"/>
                  </a:lnTo>
                  <a:cubicBezTo>
                    <a:pt x="3657" y="6400"/>
                    <a:pt x="3696" y="6361"/>
                    <a:pt x="3696" y="6313"/>
                  </a:cubicBezTo>
                  <a:lnTo>
                    <a:pt x="3696" y="5734"/>
                  </a:lnTo>
                  <a:cubicBezTo>
                    <a:pt x="4034" y="5668"/>
                    <a:pt x="4356" y="5535"/>
                    <a:pt x="4642" y="5343"/>
                  </a:cubicBezTo>
                  <a:lnTo>
                    <a:pt x="5055" y="5757"/>
                  </a:lnTo>
                  <a:cubicBezTo>
                    <a:pt x="5090" y="5791"/>
                    <a:pt x="5145" y="5791"/>
                    <a:pt x="5179" y="5757"/>
                  </a:cubicBezTo>
                  <a:lnTo>
                    <a:pt x="5757" y="5179"/>
                  </a:lnTo>
                  <a:cubicBezTo>
                    <a:pt x="5791" y="5145"/>
                    <a:pt x="5791" y="5089"/>
                    <a:pt x="5757" y="5055"/>
                  </a:cubicBezTo>
                  <a:lnTo>
                    <a:pt x="5345" y="4643"/>
                  </a:lnTo>
                  <a:cubicBezTo>
                    <a:pt x="5538" y="4357"/>
                    <a:pt x="5673" y="4035"/>
                    <a:pt x="5740" y="3696"/>
                  </a:cubicBezTo>
                  <a:lnTo>
                    <a:pt x="6313" y="3696"/>
                  </a:lnTo>
                  <a:cubicBezTo>
                    <a:pt x="6361" y="3696"/>
                    <a:pt x="6400" y="3657"/>
                    <a:pt x="6400" y="3608"/>
                  </a:cubicBezTo>
                  <a:lnTo>
                    <a:pt x="6400" y="2792"/>
                  </a:lnTo>
                  <a:cubicBezTo>
                    <a:pt x="6400" y="2743"/>
                    <a:pt x="6361" y="2704"/>
                    <a:pt x="6313" y="2704"/>
                  </a:cubicBezTo>
                  <a:close/>
                  <a:moveTo>
                    <a:pt x="6225" y="3521"/>
                  </a:moveTo>
                  <a:lnTo>
                    <a:pt x="5667" y="3521"/>
                  </a:lnTo>
                  <a:cubicBezTo>
                    <a:pt x="5624" y="3521"/>
                    <a:pt x="5588" y="3552"/>
                    <a:pt x="5581" y="3594"/>
                  </a:cubicBezTo>
                  <a:cubicBezTo>
                    <a:pt x="5519" y="3958"/>
                    <a:pt x="5375" y="4303"/>
                    <a:pt x="5160" y="4602"/>
                  </a:cubicBezTo>
                  <a:cubicBezTo>
                    <a:pt x="5135" y="4637"/>
                    <a:pt x="5139" y="4685"/>
                    <a:pt x="5169" y="4715"/>
                  </a:cubicBezTo>
                  <a:lnTo>
                    <a:pt x="5571" y="5117"/>
                  </a:lnTo>
                  <a:lnTo>
                    <a:pt x="5117" y="5571"/>
                  </a:lnTo>
                  <a:lnTo>
                    <a:pt x="4714" y="5168"/>
                  </a:lnTo>
                  <a:cubicBezTo>
                    <a:pt x="4684" y="5138"/>
                    <a:pt x="4636" y="5134"/>
                    <a:pt x="4601" y="5159"/>
                  </a:cubicBezTo>
                  <a:cubicBezTo>
                    <a:pt x="4302" y="5372"/>
                    <a:pt x="3957" y="5515"/>
                    <a:pt x="3594" y="5575"/>
                  </a:cubicBezTo>
                  <a:cubicBezTo>
                    <a:pt x="3552" y="5582"/>
                    <a:pt x="3521" y="5618"/>
                    <a:pt x="3521" y="5661"/>
                  </a:cubicBezTo>
                  <a:lnTo>
                    <a:pt x="3521" y="6225"/>
                  </a:lnTo>
                  <a:lnTo>
                    <a:pt x="2879" y="6225"/>
                  </a:lnTo>
                  <a:lnTo>
                    <a:pt x="2879" y="5661"/>
                  </a:lnTo>
                  <a:cubicBezTo>
                    <a:pt x="2879" y="5618"/>
                    <a:pt x="2848" y="5582"/>
                    <a:pt x="2806" y="5575"/>
                  </a:cubicBezTo>
                  <a:cubicBezTo>
                    <a:pt x="2443" y="5515"/>
                    <a:pt x="2098" y="5372"/>
                    <a:pt x="1799" y="5159"/>
                  </a:cubicBezTo>
                  <a:cubicBezTo>
                    <a:pt x="1764" y="5134"/>
                    <a:pt x="1716" y="5138"/>
                    <a:pt x="1686" y="5168"/>
                  </a:cubicBezTo>
                  <a:lnTo>
                    <a:pt x="1283" y="5571"/>
                  </a:lnTo>
                  <a:lnTo>
                    <a:pt x="829" y="5117"/>
                  </a:lnTo>
                  <a:lnTo>
                    <a:pt x="1231" y="4715"/>
                  </a:lnTo>
                  <a:cubicBezTo>
                    <a:pt x="1261" y="4685"/>
                    <a:pt x="1265" y="4637"/>
                    <a:pt x="1240" y="4602"/>
                  </a:cubicBezTo>
                  <a:cubicBezTo>
                    <a:pt x="1025" y="4303"/>
                    <a:pt x="881" y="3958"/>
                    <a:pt x="819" y="3594"/>
                  </a:cubicBezTo>
                  <a:cubicBezTo>
                    <a:pt x="812" y="3552"/>
                    <a:pt x="776" y="3521"/>
                    <a:pt x="733" y="3521"/>
                  </a:cubicBezTo>
                  <a:lnTo>
                    <a:pt x="175" y="3521"/>
                  </a:lnTo>
                  <a:lnTo>
                    <a:pt x="175" y="2879"/>
                  </a:lnTo>
                  <a:lnTo>
                    <a:pt x="730" y="2879"/>
                  </a:lnTo>
                  <a:cubicBezTo>
                    <a:pt x="773" y="2879"/>
                    <a:pt x="810" y="2848"/>
                    <a:pt x="817" y="2806"/>
                  </a:cubicBezTo>
                  <a:cubicBezTo>
                    <a:pt x="876" y="2440"/>
                    <a:pt x="1019" y="2093"/>
                    <a:pt x="1234" y="1792"/>
                  </a:cubicBezTo>
                  <a:cubicBezTo>
                    <a:pt x="1259" y="1757"/>
                    <a:pt x="1255" y="1709"/>
                    <a:pt x="1225" y="1679"/>
                  </a:cubicBezTo>
                  <a:lnTo>
                    <a:pt x="829" y="1283"/>
                  </a:lnTo>
                  <a:lnTo>
                    <a:pt x="1283" y="829"/>
                  </a:lnTo>
                  <a:lnTo>
                    <a:pt x="1678" y="1224"/>
                  </a:lnTo>
                  <a:cubicBezTo>
                    <a:pt x="1708" y="1254"/>
                    <a:pt x="1756" y="1258"/>
                    <a:pt x="1791" y="1233"/>
                  </a:cubicBezTo>
                  <a:cubicBezTo>
                    <a:pt x="2092" y="1016"/>
                    <a:pt x="2439" y="872"/>
                    <a:pt x="2806" y="811"/>
                  </a:cubicBezTo>
                  <a:cubicBezTo>
                    <a:pt x="2848" y="804"/>
                    <a:pt x="2879" y="767"/>
                    <a:pt x="2879" y="725"/>
                  </a:cubicBezTo>
                  <a:lnTo>
                    <a:pt x="2879" y="175"/>
                  </a:lnTo>
                  <a:lnTo>
                    <a:pt x="3521" y="175"/>
                  </a:lnTo>
                  <a:lnTo>
                    <a:pt x="3521" y="725"/>
                  </a:lnTo>
                  <a:cubicBezTo>
                    <a:pt x="3521" y="767"/>
                    <a:pt x="3552" y="804"/>
                    <a:pt x="3594" y="811"/>
                  </a:cubicBezTo>
                  <a:cubicBezTo>
                    <a:pt x="3960" y="872"/>
                    <a:pt x="4308" y="1016"/>
                    <a:pt x="4609" y="1233"/>
                  </a:cubicBezTo>
                  <a:cubicBezTo>
                    <a:pt x="4644" y="1258"/>
                    <a:pt x="4692" y="1254"/>
                    <a:pt x="4722" y="1224"/>
                  </a:cubicBezTo>
                  <a:lnTo>
                    <a:pt x="5117" y="829"/>
                  </a:lnTo>
                  <a:lnTo>
                    <a:pt x="5571" y="1283"/>
                  </a:lnTo>
                  <a:lnTo>
                    <a:pt x="5175" y="1679"/>
                  </a:lnTo>
                  <a:cubicBezTo>
                    <a:pt x="5145" y="1709"/>
                    <a:pt x="5141" y="1757"/>
                    <a:pt x="5166" y="1792"/>
                  </a:cubicBezTo>
                  <a:cubicBezTo>
                    <a:pt x="5381" y="2093"/>
                    <a:pt x="5524" y="2440"/>
                    <a:pt x="5583" y="2806"/>
                  </a:cubicBezTo>
                  <a:cubicBezTo>
                    <a:pt x="5590" y="2848"/>
                    <a:pt x="5627" y="2879"/>
                    <a:pt x="5670" y="2879"/>
                  </a:cubicBezTo>
                  <a:lnTo>
                    <a:pt x="6225" y="2879"/>
                  </a:lnTo>
                  <a:lnTo>
                    <a:pt x="6225" y="35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" name="Freeform 53"/>
            <p:cNvSpPr>
              <a:spLocks noEditPoints="1"/>
            </p:cNvSpPr>
            <p:nvPr/>
          </p:nvSpPr>
          <p:spPr bwMode="auto">
            <a:xfrm>
              <a:off x="6612" y="1421"/>
              <a:ext cx="82" cy="84"/>
            </a:xfrm>
            <a:custGeom>
              <a:avLst/>
              <a:gdLst>
                <a:gd name="T0" fmla="*/ 1498 w 1563"/>
                <a:gd name="T1" fmla="*/ 715 h 1586"/>
                <a:gd name="T2" fmla="*/ 127 w 1563"/>
                <a:gd name="T3" fmla="*/ 29 h 1586"/>
                <a:gd name="T4" fmla="*/ 0 w 1563"/>
                <a:gd name="T5" fmla="*/ 107 h 1586"/>
                <a:gd name="T6" fmla="*/ 0 w 1563"/>
                <a:gd name="T7" fmla="*/ 1479 h 1586"/>
                <a:gd name="T8" fmla="*/ 127 w 1563"/>
                <a:gd name="T9" fmla="*/ 1557 h 1586"/>
                <a:gd name="T10" fmla="*/ 1498 w 1563"/>
                <a:gd name="T11" fmla="*/ 871 h 1586"/>
                <a:gd name="T12" fmla="*/ 1498 w 1563"/>
                <a:gd name="T13" fmla="*/ 715 h 1586"/>
                <a:gd name="T14" fmla="*/ 175 w 1563"/>
                <a:gd name="T15" fmla="*/ 1337 h 1586"/>
                <a:gd name="T16" fmla="*/ 175 w 1563"/>
                <a:gd name="T17" fmla="*/ 249 h 1586"/>
                <a:gd name="T18" fmla="*/ 1264 w 1563"/>
                <a:gd name="T19" fmla="*/ 793 h 1586"/>
                <a:gd name="T20" fmla="*/ 175 w 1563"/>
                <a:gd name="T21" fmla="*/ 1337 h 1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3" h="1586">
                  <a:moveTo>
                    <a:pt x="1498" y="715"/>
                  </a:moveTo>
                  <a:lnTo>
                    <a:pt x="127" y="29"/>
                  </a:lnTo>
                  <a:cubicBezTo>
                    <a:pt x="68" y="0"/>
                    <a:pt x="0" y="42"/>
                    <a:pt x="0" y="107"/>
                  </a:cubicBezTo>
                  <a:lnTo>
                    <a:pt x="0" y="1479"/>
                  </a:lnTo>
                  <a:cubicBezTo>
                    <a:pt x="0" y="1544"/>
                    <a:pt x="68" y="1586"/>
                    <a:pt x="127" y="1557"/>
                  </a:cubicBezTo>
                  <a:lnTo>
                    <a:pt x="1498" y="871"/>
                  </a:lnTo>
                  <a:cubicBezTo>
                    <a:pt x="1563" y="839"/>
                    <a:pt x="1563" y="747"/>
                    <a:pt x="1498" y="715"/>
                  </a:cubicBezTo>
                  <a:close/>
                  <a:moveTo>
                    <a:pt x="175" y="1337"/>
                  </a:moveTo>
                  <a:lnTo>
                    <a:pt x="175" y="249"/>
                  </a:lnTo>
                  <a:lnTo>
                    <a:pt x="1264" y="793"/>
                  </a:lnTo>
                  <a:lnTo>
                    <a:pt x="175" y="133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" name="Freeform 54"/>
            <p:cNvSpPr>
              <a:spLocks noEditPoints="1"/>
            </p:cNvSpPr>
            <p:nvPr/>
          </p:nvSpPr>
          <p:spPr bwMode="auto">
            <a:xfrm>
              <a:off x="6534" y="1351"/>
              <a:ext cx="224" cy="224"/>
            </a:xfrm>
            <a:custGeom>
              <a:avLst/>
              <a:gdLst>
                <a:gd name="T0" fmla="*/ 3479 w 4230"/>
                <a:gd name="T1" fmla="*/ 751 h 4230"/>
                <a:gd name="T2" fmla="*/ 3470 w 4230"/>
                <a:gd name="T3" fmla="*/ 743 h 4230"/>
                <a:gd name="T4" fmla="*/ 760 w 4230"/>
                <a:gd name="T5" fmla="*/ 743 h 4230"/>
                <a:gd name="T6" fmla="*/ 744 w 4230"/>
                <a:gd name="T7" fmla="*/ 760 h 4230"/>
                <a:gd name="T8" fmla="*/ 744 w 4230"/>
                <a:gd name="T9" fmla="*/ 3470 h 4230"/>
                <a:gd name="T10" fmla="*/ 760 w 4230"/>
                <a:gd name="T11" fmla="*/ 3486 h 4230"/>
                <a:gd name="T12" fmla="*/ 3470 w 4230"/>
                <a:gd name="T13" fmla="*/ 3486 h 4230"/>
                <a:gd name="T14" fmla="*/ 3487 w 4230"/>
                <a:gd name="T15" fmla="*/ 3470 h 4230"/>
                <a:gd name="T16" fmla="*/ 3487 w 4230"/>
                <a:gd name="T17" fmla="*/ 760 h 4230"/>
                <a:gd name="T18" fmla="*/ 3479 w 4230"/>
                <a:gd name="T19" fmla="*/ 751 h 4230"/>
                <a:gd name="T20" fmla="*/ 3415 w 4230"/>
                <a:gd name="T21" fmla="*/ 3291 h 4230"/>
                <a:gd name="T22" fmla="*/ 3192 w 4230"/>
                <a:gd name="T23" fmla="*/ 3068 h 4230"/>
                <a:gd name="T24" fmla="*/ 3551 w 4230"/>
                <a:gd name="T25" fmla="*/ 2203 h 4230"/>
                <a:gd name="T26" fmla="*/ 3867 w 4230"/>
                <a:gd name="T27" fmla="*/ 2203 h 4230"/>
                <a:gd name="T28" fmla="*/ 3415 w 4230"/>
                <a:gd name="T29" fmla="*/ 3291 h 4230"/>
                <a:gd name="T30" fmla="*/ 363 w 4230"/>
                <a:gd name="T31" fmla="*/ 2203 h 4230"/>
                <a:gd name="T32" fmla="*/ 679 w 4230"/>
                <a:gd name="T33" fmla="*/ 2203 h 4230"/>
                <a:gd name="T34" fmla="*/ 1038 w 4230"/>
                <a:gd name="T35" fmla="*/ 3068 h 4230"/>
                <a:gd name="T36" fmla="*/ 815 w 4230"/>
                <a:gd name="T37" fmla="*/ 3291 h 4230"/>
                <a:gd name="T38" fmla="*/ 363 w 4230"/>
                <a:gd name="T39" fmla="*/ 2203 h 4230"/>
                <a:gd name="T40" fmla="*/ 815 w 4230"/>
                <a:gd name="T41" fmla="*/ 939 h 4230"/>
                <a:gd name="T42" fmla="*/ 1038 w 4230"/>
                <a:gd name="T43" fmla="*/ 1162 h 4230"/>
                <a:gd name="T44" fmla="*/ 679 w 4230"/>
                <a:gd name="T45" fmla="*/ 2028 h 4230"/>
                <a:gd name="T46" fmla="*/ 363 w 4230"/>
                <a:gd name="T47" fmla="*/ 2028 h 4230"/>
                <a:gd name="T48" fmla="*/ 815 w 4230"/>
                <a:gd name="T49" fmla="*/ 939 h 4230"/>
                <a:gd name="T50" fmla="*/ 2115 w 4230"/>
                <a:gd name="T51" fmla="*/ 3379 h 4230"/>
                <a:gd name="T52" fmla="*/ 947 w 4230"/>
                <a:gd name="T53" fmla="*/ 2599 h 4230"/>
                <a:gd name="T54" fmla="*/ 1221 w 4230"/>
                <a:gd name="T55" fmla="*/ 1221 h 4230"/>
                <a:gd name="T56" fmla="*/ 2599 w 4230"/>
                <a:gd name="T57" fmla="*/ 947 h 4230"/>
                <a:gd name="T58" fmla="*/ 3379 w 4230"/>
                <a:gd name="T59" fmla="*/ 2115 h 4230"/>
                <a:gd name="T60" fmla="*/ 2115 w 4230"/>
                <a:gd name="T61" fmla="*/ 3379 h 4230"/>
                <a:gd name="T62" fmla="*/ 3068 w 4230"/>
                <a:gd name="T63" fmla="*/ 1038 h 4230"/>
                <a:gd name="T64" fmla="*/ 2203 w 4230"/>
                <a:gd name="T65" fmla="*/ 679 h 4230"/>
                <a:gd name="T66" fmla="*/ 2203 w 4230"/>
                <a:gd name="T67" fmla="*/ 363 h 4230"/>
                <a:gd name="T68" fmla="*/ 3291 w 4230"/>
                <a:gd name="T69" fmla="*/ 815 h 4230"/>
                <a:gd name="T70" fmla="*/ 3068 w 4230"/>
                <a:gd name="T71" fmla="*/ 1038 h 4230"/>
                <a:gd name="T72" fmla="*/ 2028 w 4230"/>
                <a:gd name="T73" fmla="*/ 679 h 4230"/>
                <a:gd name="T74" fmla="*/ 1162 w 4230"/>
                <a:gd name="T75" fmla="*/ 1038 h 4230"/>
                <a:gd name="T76" fmla="*/ 939 w 4230"/>
                <a:gd name="T77" fmla="*/ 815 h 4230"/>
                <a:gd name="T78" fmla="*/ 2028 w 4230"/>
                <a:gd name="T79" fmla="*/ 363 h 4230"/>
                <a:gd name="T80" fmla="*/ 2028 w 4230"/>
                <a:gd name="T81" fmla="*/ 679 h 4230"/>
                <a:gd name="T82" fmla="*/ 1162 w 4230"/>
                <a:gd name="T83" fmla="*/ 3192 h 4230"/>
                <a:gd name="T84" fmla="*/ 2028 w 4230"/>
                <a:gd name="T85" fmla="*/ 3551 h 4230"/>
                <a:gd name="T86" fmla="*/ 2028 w 4230"/>
                <a:gd name="T87" fmla="*/ 3867 h 4230"/>
                <a:gd name="T88" fmla="*/ 939 w 4230"/>
                <a:gd name="T89" fmla="*/ 3415 h 4230"/>
                <a:gd name="T90" fmla="*/ 1162 w 4230"/>
                <a:gd name="T91" fmla="*/ 3192 h 4230"/>
                <a:gd name="T92" fmla="*/ 2203 w 4230"/>
                <a:gd name="T93" fmla="*/ 3551 h 4230"/>
                <a:gd name="T94" fmla="*/ 3068 w 4230"/>
                <a:gd name="T95" fmla="*/ 3192 h 4230"/>
                <a:gd name="T96" fmla="*/ 3291 w 4230"/>
                <a:gd name="T97" fmla="*/ 3415 h 4230"/>
                <a:gd name="T98" fmla="*/ 2203 w 4230"/>
                <a:gd name="T99" fmla="*/ 3867 h 4230"/>
                <a:gd name="T100" fmla="*/ 2203 w 4230"/>
                <a:gd name="T101" fmla="*/ 3551 h 4230"/>
                <a:gd name="T102" fmla="*/ 3551 w 4230"/>
                <a:gd name="T103" fmla="*/ 2028 h 4230"/>
                <a:gd name="T104" fmla="*/ 3192 w 4230"/>
                <a:gd name="T105" fmla="*/ 1162 h 4230"/>
                <a:gd name="T106" fmla="*/ 3415 w 4230"/>
                <a:gd name="T107" fmla="*/ 939 h 4230"/>
                <a:gd name="T108" fmla="*/ 3867 w 4230"/>
                <a:gd name="T109" fmla="*/ 2028 h 4230"/>
                <a:gd name="T110" fmla="*/ 3551 w 4230"/>
                <a:gd name="T111" fmla="*/ 2028 h 4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230" h="4230">
                  <a:moveTo>
                    <a:pt x="3479" y="751"/>
                  </a:moveTo>
                  <a:cubicBezTo>
                    <a:pt x="3476" y="748"/>
                    <a:pt x="3473" y="746"/>
                    <a:pt x="3470" y="743"/>
                  </a:cubicBezTo>
                  <a:cubicBezTo>
                    <a:pt x="2720" y="0"/>
                    <a:pt x="1510" y="0"/>
                    <a:pt x="760" y="743"/>
                  </a:cubicBezTo>
                  <a:cubicBezTo>
                    <a:pt x="753" y="748"/>
                    <a:pt x="748" y="753"/>
                    <a:pt x="744" y="760"/>
                  </a:cubicBezTo>
                  <a:cubicBezTo>
                    <a:pt x="0" y="1510"/>
                    <a:pt x="0" y="2719"/>
                    <a:pt x="744" y="3470"/>
                  </a:cubicBezTo>
                  <a:cubicBezTo>
                    <a:pt x="748" y="3476"/>
                    <a:pt x="753" y="3482"/>
                    <a:pt x="760" y="3486"/>
                  </a:cubicBezTo>
                  <a:cubicBezTo>
                    <a:pt x="1510" y="4230"/>
                    <a:pt x="2720" y="4230"/>
                    <a:pt x="3470" y="3486"/>
                  </a:cubicBezTo>
                  <a:cubicBezTo>
                    <a:pt x="3477" y="3482"/>
                    <a:pt x="3482" y="3476"/>
                    <a:pt x="3487" y="3470"/>
                  </a:cubicBezTo>
                  <a:cubicBezTo>
                    <a:pt x="4230" y="2719"/>
                    <a:pt x="4230" y="1510"/>
                    <a:pt x="3487" y="760"/>
                  </a:cubicBezTo>
                  <a:cubicBezTo>
                    <a:pt x="3484" y="756"/>
                    <a:pt x="3482" y="754"/>
                    <a:pt x="3479" y="751"/>
                  </a:cubicBezTo>
                  <a:close/>
                  <a:moveTo>
                    <a:pt x="3415" y="3291"/>
                  </a:moveTo>
                  <a:lnTo>
                    <a:pt x="3192" y="3068"/>
                  </a:lnTo>
                  <a:cubicBezTo>
                    <a:pt x="3405" y="2828"/>
                    <a:pt x="3532" y="2523"/>
                    <a:pt x="3551" y="2203"/>
                  </a:cubicBezTo>
                  <a:lnTo>
                    <a:pt x="3867" y="2203"/>
                  </a:lnTo>
                  <a:cubicBezTo>
                    <a:pt x="3847" y="2607"/>
                    <a:pt x="3687" y="2992"/>
                    <a:pt x="3415" y="3291"/>
                  </a:cubicBezTo>
                  <a:close/>
                  <a:moveTo>
                    <a:pt x="363" y="2203"/>
                  </a:moveTo>
                  <a:lnTo>
                    <a:pt x="679" y="2203"/>
                  </a:lnTo>
                  <a:cubicBezTo>
                    <a:pt x="698" y="2523"/>
                    <a:pt x="825" y="2828"/>
                    <a:pt x="1038" y="3068"/>
                  </a:cubicBezTo>
                  <a:lnTo>
                    <a:pt x="815" y="3291"/>
                  </a:lnTo>
                  <a:cubicBezTo>
                    <a:pt x="543" y="2992"/>
                    <a:pt x="383" y="2607"/>
                    <a:pt x="363" y="2203"/>
                  </a:cubicBezTo>
                  <a:close/>
                  <a:moveTo>
                    <a:pt x="815" y="939"/>
                  </a:moveTo>
                  <a:lnTo>
                    <a:pt x="1038" y="1162"/>
                  </a:lnTo>
                  <a:cubicBezTo>
                    <a:pt x="825" y="1402"/>
                    <a:pt x="698" y="1707"/>
                    <a:pt x="679" y="2028"/>
                  </a:cubicBezTo>
                  <a:lnTo>
                    <a:pt x="363" y="2028"/>
                  </a:lnTo>
                  <a:cubicBezTo>
                    <a:pt x="383" y="1623"/>
                    <a:pt x="543" y="1238"/>
                    <a:pt x="815" y="939"/>
                  </a:cubicBezTo>
                  <a:close/>
                  <a:moveTo>
                    <a:pt x="2115" y="3379"/>
                  </a:moveTo>
                  <a:cubicBezTo>
                    <a:pt x="1604" y="3379"/>
                    <a:pt x="1143" y="3071"/>
                    <a:pt x="947" y="2599"/>
                  </a:cubicBezTo>
                  <a:cubicBezTo>
                    <a:pt x="751" y="2126"/>
                    <a:pt x="860" y="1583"/>
                    <a:pt x="1221" y="1221"/>
                  </a:cubicBezTo>
                  <a:cubicBezTo>
                    <a:pt x="1583" y="860"/>
                    <a:pt x="2126" y="751"/>
                    <a:pt x="2599" y="947"/>
                  </a:cubicBezTo>
                  <a:cubicBezTo>
                    <a:pt x="3071" y="1143"/>
                    <a:pt x="3379" y="1604"/>
                    <a:pt x="3379" y="2115"/>
                  </a:cubicBezTo>
                  <a:cubicBezTo>
                    <a:pt x="3378" y="2813"/>
                    <a:pt x="2813" y="3378"/>
                    <a:pt x="2115" y="3379"/>
                  </a:cubicBezTo>
                  <a:close/>
                  <a:moveTo>
                    <a:pt x="3068" y="1038"/>
                  </a:moveTo>
                  <a:cubicBezTo>
                    <a:pt x="2828" y="825"/>
                    <a:pt x="2523" y="698"/>
                    <a:pt x="2203" y="679"/>
                  </a:cubicBezTo>
                  <a:lnTo>
                    <a:pt x="2203" y="363"/>
                  </a:lnTo>
                  <a:cubicBezTo>
                    <a:pt x="2607" y="383"/>
                    <a:pt x="2992" y="543"/>
                    <a:pt x="3291" y="815"/>
                  </a:cubicBezTo>
                  <a:lnTo>
                    <a:pt x="3068" y="1038"/>
                  </a:lnTo>
                  <a:close/>
                  <a:moveTo>
                    <a:pt x="2028" y="679"/>
                  </a:moveTo>
                  <a:cubicBezTo>
                    <a:pt x="1707" y="698"/>
                    <a:pt x="1402" y="825"/>
                    <a:pt x="1162" y="1038"/>
                  </a:cubicBezTo>
                  <a:lnTo>
                    <a:pt x="939" y="815"/>
                  </a:lnTo>
                  <a:cubicBezTo>
                    <a:pt x="1238" y="543"/>
                    <a:pt x="1623" y="383"/>
                    <a:pt x="2028" y="363"/>
                  </a:cubicBezTo>
                  <a:lnTo>
                    <a:pt x="2028" y="679"/>
                  </a:lnTo>
                  <a:close/>
                  <a:moveTo>
                    <a:pt x="1162" y="3192"/>
                  </a:moveTo>
                  <a:cubicBezTo>
                    <a:pt x="1402" y="3405"/>
                    <a:pt x="1707" y="3532"/>
                    <a:pt x="2028" y="3551"/>
                  </a:cubicBezTo>
                  <a:lnTo>
                    <a:pt x="2028" y="3867"/>
                  </a:lnTo>
                  <a:cubicBezTo>
                    <a:pt x="1623" y="3847"/>
                    <a:pt x="1238" y="3687"/>
                    <a:pt x="939" y="3415"/>
                  </a:cubicBezTo>
                  <a:lnTo>
                    <a:pt x="1162" y="3192"/>
                  </a:lnTo>
                  <a:close/>
                  <a:moveTo>
                    <a:pt x="2203" y="3551"/>
                  </a:moveTo>
                  <a:cubicBezTo>
                    <a:pt x="2523" y="3532"/>
                    <a:pt x="2828" y="3405"/>
                    <a:pt x="3068" y="3192"/>
                  </a:cubicBezTo>
                  <a:lnTo>
                    <a:pt x="3291" y="3415"/>
                  </a:lnTo>
                  <a:cubicBezTo>
                    <a:pt x="2992" y="3687"/>
                    <a:pt x="2607" y="3847"/>
                    <a:pt x="2203" y="3867"/>
                  </a:cubicBezTo>
                  <a:lnTo>
                    <a:pt x="2203" y="3551"/>
                  </a:lnTo>
                  <a:close/>
                  <a:moveTo>
                    <a:pt x="3551" y="2028"/>
                  </a:moveTo>
                  <a:cubicBezTo>
                    <a:pt x="3532" y="1707"/>
                    <a:pt x="3405" y="1402"/>
                    <a:pt x="3192" y="1162"/>
                  </a:cubicBezTo>
                  <a:lnTo>
                    <a:pt x="3415" y="939"/>
                  </a:lnTo>
                  <a:cubicBezTo>
                    <a:pt x="3687" y="1238"/>
                    <a:pt x="3847" y="1623"/>
                    <a:pt x="3867" y="2028"/>
                  </a:cubicBezTo>
                  <a:lnTo>
                    <a:pt x="3551" y="202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5" name="Group 57"/>
          <p:cNvGrpSpPr>
            <a:grpSpLocks noChangeAspect="1"/>
          </p:cNvGrpSpPr>
          <p:nvPr/>
        </p:nvGrpSpPr>
        <p:grpSpPr bwMode="auto">
          <a:xfrm>
            <a:off x="10206762" y="3980460"/>
            <a:ext cx="540000" cy="540000"/>
            <a:chOff x="6341" y="2517"/>
            <a:chExt cx="340" cy="340"/>
          </a:xfrm>
          <a:gradFill>
            <a:gsLst>
              <a:gs pos="100000">
                <a:srgbClr val="E57518"/>
              </a:gs>
              <a:gs pos="0">
                <a:srgbClr val="FEC232"/>
              </a:gs>
            </a:gsLst>
            <a:path path="circle">
              <a:fillToRect l="50000" t="50000" r="50000" b="50000"/>
            </a:path>
          </a:gradFill>
        </p:grpSpPr>
        <p:sp>
          <p:nvSpPr>
            <p:cNvPr id="517" name="Freeform 58"/>
            <p:cNvSpPr>
              <a:spLocks noEditPoints="1"/>
            </p:cNvSpPr>
            <p:nvPr/>
          </p:nvSpPr>
          <p:spPr bwMode="auto">
            <a:xfrm>
              <a:off x="6341" y="2517"/>
              <a:ext cx="340" cy="340"/>
            </a:xfrm>
            <a:custGeom>
              <a:avLst/>
              <a:gdLst>
                <a:gd name="T0" fmla="*/ 5200 w 6133"/>
                <a:gd name="T1" fmla="*/ 0 h 6133"/>
                <a:gd name="T2" fmla="*/ 933 w 6133"/>
                <a:gd name="T3" fmla="*/ 0 h 6133"/>
                <a:gd name="T4" fmla="*/ 0 w 6133"/>
                <a:gd name="T5" fmla="*/ 933 h 6133"/>
                <a:gd name="T6" fmla="*/ 0 w 6133"/>
                <a:gd name="T7" fmla="*/ 3867 h 6133"/>
                <a:gd name="T8" fmla="*/ 933 w 6133"/>
                <a:gd name="T9" fmla="*/ 4800 h 6133"/>
                <a:gd name="T10" fmla="*/ 3811 w 6133"/>
                <a:gd name="T11" fmla="*/ 4800 h 6133"/>
                <a:gd name="T12" fmla="*/ 5106 w 6133"/>
                <a:gd name="T13" fmla="*/ 6094 h 6133"/>
                <a:gd name="T14" fmla="*/ 5200 w 6133"/>
                <a:gd name="T15" fmla="*/ 6133 h 6133"/>
                <a:gd name="T16" fmla="*/ 5251 w 6133"/>
                <a:gd name="T17" fmla="*/ 6123 h 6133"/>
                <a:gd name="T18" fmla="*/ 5333 w 6133"/>
                <a:gd name="T19" fmla="*/ 6000 h 6133"/>
                <a:gd name="T20" fmla="*/ 5333 w 6133"/>
                <a:gd name="T21" fmla="*/ 4791 h 6133"/>
                <a:gd name="T22" fmla="*/ 6133 w 6133"/>
                <a:gd name="T23" fmla="*/ 3867 h 6133"/>
                <a:gd name="T24" fmla="*/ 6133 w 6133"/>
                <a:gd name="T25" fmla="*/ 933 h 6133"/>
                <a:gd name="T26" fmla="*/ 5200 w 6133"/>
                <a:gd name="T27" fmla="*/ 0 h 6133"/>
                <a:gd name="T28" fmla="*/ 5867 w 6133"/>
                <a:gd name="T29" fmla="*/ 3867 h 6133"/>
                <a:gd name="T30" fmla="*/ 5200 w 6133"/>
                <a:gd name="T31" fmla="*/ 4533 h 6133"/>
                <a:gd name="T32" fmla="*/ 5067 w 6133"/>
                <a:gd name="T33" fmla="*/ 4667 h 6133"/>
                <a:gd name="T34" fmla="*/ 5067 w 6133"/>
                <a:gd name="T35" fmla="*/ 5678 h 6133"/>
                <a:gd name="T36" fmla="*/ 3961 w 6133"/>
                <a:gd name="T37" fmla="*/ 4572 h 6133"/>
                <a:gd name="T38" fmla="*/ 3867 w 6133"/>
                <a:gd name="T39" fmla="*/ 4533 h 6133"/>
                <a:gd name="T40" fmla="*/ 933 w 6133"/>
                <a:gd name="T41" fmla="*/ 4533 h 6133"/>
                <a:gd name="T42" fmla="*/ 267 w 6133"/>
                <a:gd name="T43" fmla="*/ 3867 h 6133"/>
                <a:gd name="T44" fmla="*/ 267 w 6133"/>
                <a:gd name="T45" fmla="*/ 933 h 6133"/>
                <a:gd name="T46" fmla="*/ 933 w 6133"/>
                <a:gd name="T47" fmla="*/ 267 h 6133"/>
                <a:gd name="T48" fmla="*/ 5200 w 6133"/>
                <a:gd name="T49" fmla="*/ 267 h 6133"/>
                <a:gd name="T50" fmla="*/ 5867 w 6133"/>
                <a:gd name="T51" fmla="*/ 933 h 6133"/>
                <a:gd name="T52" fmla="*/ 5867 w 6133"/>
                <a:gd name="T53" fmla="*/ 3867 h 6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133" h="6133">
                  <a:moveTo>
                    <a:pt x="5200" y="0"/>
                  </a:moveTo>
                  <a:lnTo>
                    <a:pt x="933" y="0"/>
                  </a:lnTo>
                  <a:cubicBezTo>
                    <a:pt x="419" y="0"/>
                    <a:pt x="0" y="419"/>
                    <a:pt x="0" y="933"/>
                  </a:cubicBezTo>
                  <a:lnTo>
                    <a:pt x="0" y="3867"/>
                  </a:lnTo>
                  <a:cubicBezTo>
                    <a:pt x="0" y="4381"/>
                    <a:pt x="419" y="4800"/>
                    <a:pt x="933" y="4800"/>
                  </a:cubicBezTo>
                  <a:lnTo>
                    <a:pt x="3811" y="4800"/>
                  </a:lnTo>
                  <a:lnTo>
                    <a:pt x="5106" y="6094"/>
                  </a:lnTo>
                  <a:cubicBezTo>
                    <a:pt x="5131" y="6120"/>
                    <a:pt x="5165" y="6133"/>
                    <a:pt x="5200" y="6133"/>
                  </a:cubicBezTo>
                  <a:cubicBezTo>
                    <a:pt x="5217" y="6133"/>
                    <a:pt x="5234" y="6130"/>
                    <a:pt x="5251" y="6123"/>
                  </a:cubicBezTo>
                  <a:cubicBezTo>
                    <a:pt x="5301" y="6103"/>
                    <a:pt x="5333" y="6054"/>
                    <a:pt x="5333" y="6000"/>
                  </a:cubicBezTo>
                  <a:lnTo>
                    <a:pt x="5333" y="4791"/>
                  </a:lnTo>
                  <a:cubicBezTo>
                    <a:pt x="5785" y="4726"/>
                    <a:pt x="6133" y="4336"/>
                    <a:pt x="6133" y="3867"/>
                  </a:cubicBezTo>
                  <a:lnTo>
                    <a:pt x="6133" y="933"/>
                  </a:lnTo>
                  <a:cubicBezTo>
                    <a:pt x="6133" y="419"/>
                    <a:pt x="5715" y="0"/>
                    <a:pt x="5200" y="0"/>
                  </a:cubicBezTo>
                  <a:close/>
                  <a:moveTo>
                    <a:pt x="5867" y="3867"/>
                  </a:moveTo>
                  <a:cubicBezTo>
                    <a:pt x="5867" y="4234"/>
                    <a:pt x="5567" y="4533"/>
                    <a:pt x="5200" y="4533"/>
                  </a:cubicBezTo>
                  <a:cubicBezTo>
                    <a:pt x="5126" y="4533"/>
                    <a:pt x="5067" y="4593"/>
                    <a:pt x="5067" y="4667"/>
                  </a:cubicBezTo>
                  <a:lnTo>
                    <a:pt x="5067" y="5678"/>
                  </a:lnTo>
                  <a:lnTo>
                    <a:pt x="3961" y="4572"/>
                  </a:lnTo>
                  <a:cubicBezTo>
                    <a:pt x="3936" y="4547"/>
                    <a:pt x="3902" y="4533"/>
                    <a:pt x="3867" y="4533"/>
                  </a:cubicBezTo>
                  <a:lnTo>
                    <a:pt x="933" y="4533"/>
                  </a:lnTo>
                  <a:cubicBezTo>
                    <a:pt x="566" y="4533"/>
                    <a:pt x="267" y="4234"/>
                    <a:pt x="267" y="3867"/>
                  </a:cubicBezTo>
                  <a:lnTo>
                    <a:pt x="267" y="933"/>
                  </a:lnTo>
                  <a:cubicBezTo>
                    <a:pt x="267" y="566"/>
                    <a:pt x="566" y="267"/>
                    <a:pt x="933" y="267"/>
                  </a:cubicBezTo>
                  <a:lnTo>
                    <a:pt x="5200" y="267"/>
                  </a:lnTo>
                  <a:cubicBezTo>
                    <a:pt x="5567" y="267"/>
                    <a:pt x="5867" y="566"/>
                    <a:pt x="5867" y="933"/>
                  </a:cubicBezTo>
                  <a:lnTo>
                    <a:pt x="5867" y="386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8" name="Freeform 59"/>
            <p:cNvSpPr>
              <a:spLocks noEditPoints="1"/>
            </p:cNvSpPr>
            <p:nvPr/>
          </p:nvSpPr>
          <p:spPr bwMode="auto">
            <a:xfrm>
              <a:off x="6489" y="2694"/>
              <a:ext cx="44" cy="44"/>
            </a:xfrm>
            <a:custGeom>
              <a:avLst/>
              <a:gdLst>
                <a:gd name="T0" fmla="*/ 400 w 800"/>
                <a:gd name="T1" fmla="*/ 0 h 800"/>
                <a:gd name="T2" fmla="*/ 0 w 800"/>
                <a:gd name="T3" fmla="*/ 400 h 800"/>
                <a:gd name="T4" fmla="*/ 400 w 800"/>
                <a:gd name="T5" fmla="*/ 800 h 800"/>
                <a:gd name="T6" fmla="*/ 800 w 800"/>
                <a:gd name="T7" fmla="*/ 400 h 800"/>
                <a:gd name="T8" fmla="*/ 400 w 800"/>
                <a:gd name="T9" fmla="*/ 0 h 800"/>
                <a:gd name="T10" fmla="*/ 400 w 800"/>
                <a:gd name="T11" fmla="*/ 533 h 800"/>
                <a:gd name="T12" fmla="*/ 266 w 800"/>
                <a:gd name="T13" fmla="*/ 400 h 800"/>
                <a:gd name="T14" fmla="*/ 400 w 800"/>
                <a:gd name="T15" fmla="*/ 267 h 800"/>
                <a:gd name="T16" fmla="*/ 533 w 800"/>
                <a:gd name="T17" fmla="*/ 400 h 800"/>
                <a:gd name="T18" fmla="*/ 400 w 800"/>
                <a:gd name="T19" fmla="*/ 533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0" h="800">
                  <a:moveTo>
                    <a:pt x="400" y="0"/>
                  </a:moveTo>
                  <a:cubicBezTo>
                    <a:pt x="179" y="0"/>
                    <a:pt x="0" y="179"/>
                    <a:pt x="0" y="400"/>
                  </a:cubicBezTo>
                  <a:cubicBezTo>
                    <a:pt x="0" y="621"/>
                    <a:pt x="179" y="800"/>
                    <a:pt x="400" y="800"/>
                  </a:cubicBezTo>
                  <a:cubicBezTo>
                    <a:pt x="620" y="800"/>
                    <a:pt x="800" y="621"/>
                    <a:pt x="800" y="400"/>
                  </a:cubicBezTo>
                  <a:cubicBezTo>
                    <a:pt x="800" y="179"/>
                    <a:pt x="620" y="0"/>
                    <a:pt x="400" y="0"/>
                  </a:cubicBezTo>
                  <a:close/>
                  <a:moveTo>
                    <a:pt x="400" y="533"/>
                  </a:moveTo>
                  <a:cubicBezTo>
                    <a:pt x="326" y="533"/>
                    <a:pt x="266" y="473"/>
                    <a:pt x="266" y="400"/>
                  </a:cubicBezTo>
                  <a:cubicBezTo>
                    <a:pt x="266" y="327"/>
                    <a:pt x="326" y="267"/>
                    <a:pt x="400" y="267"/>
                  </a:cubicBezTo>
                  <a:cubicBezTo>
                    <a:pt x="473" y="267"/>
                    <a:pt x="533" y="327"/>
                    <a:pt x="533" y="400"/>
                  </a:cubicBezTo>
                  <a:cubicBezTo>
                    <a:pt x="533" y="473"/>
                    <a:pt x="473" y="533"/>
                    <a:pt x="400" y="53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9" name="Freeform 60"/>
            <p:cNvSpPr>
              <a:spLocks noEditPoints="1"/>
            </p:cNvSpPr>
            <p:nvPr/>
          </p:nvSpPr>
          <p:spPr bwMode="auto">
            <a:xfrm>
              <a:off x="6481" y="2561"/>
              <a:ext cx="60" cy="118"/>
            </a:xfrm>
            <a:custGeom>
              <a:avLst/>
              <a:gdLst>
                <a:gd name="T0" fmla="*/ 966 w 1080"/>
                <a:gd name="T1" fmla="*/ 127 h 2133"/>
                <a:gd name="T2" fmla="*/ 673 w 1080"/>
                <a:gd name="T3" fmla="*/ 0 h 2133"/>
                <a:gd name="T4" fmla="*/ 406 w 1080"/>
                <a:gd name="T5" fmla="*/ 0 h 2133"/>
                <a:gd name="T6" fmla="*/ 114 w 1080"/>
                <a:gd name="T7" fmla="*/ 127 h 2133"/>
                <a:gd name="T8" fmla="*/ 7 w 1080"/>
                <a:gd name="T9" fmla="*/ 430 h 2133"/>
                <a:gd name="T10" fmla="*/ 120 w 1080"/>
                <a:gd name="T11" fmla="*/ 1744 h 2133"/>
                <a:gd name="T12" fmla="*/ 540 w 1080"/>
                <a:gd name="T13" fmla="*/ 2133 h 2133"/>
                <a:gd name="T14" fmla="*/ 957 w 1080"/>
                <a:gd name="T15" fmla="*/ 1746 h 2133"/>
                <a:gd name="T16" fmla="*/ 1072 w 1080"/>
                <a:gd name="T17" fmla="*/ 429 h 2133"/>
                <a:gd name="T18" fmla="*/ 966 w 1080"/>
                <a:gd name="T19" fmla="*/ 127 h 2133"/>
                <a:gd name="T20" fmla="*/ 806 w 1080"/>
                <a:gd name="T21" fmla="*/ 407 h 2133"/>
                <a:gd name="T22" fmla="*/ 691 w 1080"/>
                <a:gd name="T23" fmla="*/ 1726 h 2133"/>
                <a:gd name="T24" fmla="*/ 538 w 1080"/>
                <a:gd name="T25" fmla="*/ 1867 h 2133"/>
                <a:gd name="T26" fmla="*/ 386 w 1080"/>
                <a:gd name="T27" fmla="*/ 1723 h 2133"/>
                <a:gd name="T28" fmla="*/ 273 w 1080"/>
                <a:gd name="T29" fmla="*/ 410 h 2133"/>
                <a:gd name="T30" fmla="*/ 309 w 1080"/>
                <a:gd name="T31" fmla="*/ 309 h 2133"/>
                <a:gd name="T32" fmla="*/ 406 w 1080"/>
                <a:gd name="T33" fmla="*/ 267 h 2133"/>
                <a:gd name="T34" fmla="*/ 673 w 1080"/>
                <a:gd name="T35" fmla="*/ 267 h 2133"/>
                <a:gd name="T36" fmla="*/ 771 w 1080"/>
                <a:gd name="T37" fmla="*/ 309 h 2133"/>
                <a:gd name="T38" fmla="*/ 806 w 1080"/>
                <a:gd name="T39" fmla="*/ 407 h 2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80" h="2133">
                  <a:moveTo>
                    <a:pt x="966" y="127"/>
                  </a:moveTo>
                  <a:cubicBezTo>
                    <a:pt x="890" y="46"/>
                    <a:pt x="784" y="0"/>
                    <a:pt x="673" y="0"/>
                  </a:cubicBezTo>
                  <a:lnTo>
                    <a:pt x="406" y="0"/>
                  </a:lnTo>
                  <a:cubicBezTo>
                    <a:pt x="296" y="0"/>
                    <a:pt x="189" y="46"/>
                    <a:pt x="114" y="127"/>
                  </a:cubicBezTo>
                  <a:cubicBezTo>
                    <a:pt x="38" y="208"/>
                    <a:pt x="0" y="318"/>
                    <a:pt x="7" y="430"/>
                  </a:cubicBezTo>
                  <a:lnTo>
                    <a:pt x="120" y="1744"/>
                  </a:lnTo>
                  <a:cubicBezTo>
                    <a:pt x="136" y="1962"/>
                    <a:pt x="319" y="2133"/>
                    <a:pt x="540" y="2133"/>
                  </a:cubicBezTo>
                  <a:cubicBezTo>
                    <a:pt x="758" y="2133"/>
                    <a:pt x="942" y="1962"/>
                    <a:pt x="957" y="1746"/>
                  </a:cubicBezTo>
                  <a:lnTo>
                    <a:pt x="1072" y="429"/>
                  </a:lnTo>
                  <a:cubicBezTo>
                    <a:pt x="1080" y="318"/>
                    <a:pt x="1041" y="209"/>
                    <a:pt x="966" y="127"/>
                  </a:cubicBezTo>
                  <a:close/>
                  <a:moveTo>
                    <a:pt x="806" y="407"/>
                  </a:moveTo>
                  <a:lnTo>
                    <a:pt x="691" y="1726"/>
                  </a:lnTo>
                  <a:cubicBezTo>
                    <a:pt x="686" y="1805"/>
                    <a:pt x="619" y="1867"/>
                    <a:pt x="538" y="1867"/>
                  </a:cubicBezTo>
                  <a:cubicBezTo>
                    <a:pt x="458" y="1867"/>
                    <a:pt x="392" y="1805"/>
                    <a:pt x="386" y="1723"/>
                  </a:cubicBezTo>
                  <a:lnTo>
                    <a:pt x="273" y="410"/>
                  </a:lnTo>
                  <a:cubicBezTo>
                    <a:pt x="271" y="372"/>
                    <a:pt x="283" y="336"/>
                    <a:pt x="309" y="309"/>
                  </a:cubicBezTo>
                  <a:cubicBezTo>
                    <a:pt x="334" y="282"/>
                    <a:pt x="369" y="267"/>
                    <a:pt x="406" y="267"/>
                  </a:cubicBezTo>
                  <a:lnTo>
                    <a:pt x="673" y="267"/>
                  </a:lnTo>
                  <a:cubicBezTo>
                    <a:pt x="710" y="267"/>
                    <a:pt x="745" y="282"/>
                    <a:pt x="771" y="309"/>
                  </a:cubicBezTo>
                  <a:cubicBezTo>
                    <a:pt x="796" y="336"/>
                    <a:pt x="809" y="372"/>
                    <a:pt x="806" y="40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0" name="Group 63"/>
          <p:cNvGrpSpPr>
            <a:grpSpLocks noChangeAspect="1"/>
          </p:cNvGrpSpPr>
          <p:nvPr/>
        </p:nvGrpSpPr>
        <p:grpSpPr bwMode="auto">
          <a:xfrm>
            <a:off x="1658568" y="3980460"/>
            <a:ext cx="461946" cy="540000"/>
            <a:chOff x="1498" y="2293"/>
            <a:chExt cx="290" cy="339"/>
          </a:xfrm>
          <a:gradFill>
            <a:gsLst>
              <a:gs pos="100000">
                <a:srgbClr val="E57518"/>
              </a:gs>
              <a:gs pos="0">
                <a:srgbClr val="FEC232"/>
              </a:gs>
            </a:gsLst>
            <a:path path="circle">
              <a:fillToRect l="50000" t="50000" r="50000" b="50000"/>
            </a:path>
          </a:gradFill>
        </p:grpSpPr>
        <p:sp>
          <p:nvSpPr>
            <p:cNvPr id="522" name="Freeform 64"/>
            <p:cNvSpPr>
              <a:spLocks/>
            </p:cNvSpPr>
            <p:nvPr/>
          </p:nvSpPr>
          <p:spPr bwMode="auto">
            <a:xfrm>
              <a:off x="1498" y="2293"/>
              <a:ext cx="208" cy="92"/>
            </a:xfrm>
            <a:custGeom>
              <a:avLst/>
              <a:gdLst>
                <a:gd name="T0" fmla="*/ 94 w 3913"/>
                <a:gd name="T1" fmla="*/ 1219 h 1730"/>
                <a:gd name="T2" fmla="*/ 188 w 3913"/>
                <a:gd name="T3" fmla="*/ 1126 h 1730"/>
                <a:gd name="T4" fmla="*/ 188 w 3913"/>
                <a:gd name="T5" fmla="*/ 673 h 1730"/>
                <a:gd name="T6" fmla="*/ 673 w 3913"/>
                <a:gd name="T7" fmla="*/ 188 h 1730"/>
                <a:gd name="T8" fmla="*/ 3240 w 3913"/>
                <a:gd name="T9" fmla="*/ 188 h 1730"/>
                <a:gd name="T10" fmla="*/ 3725 w 3913"/>
                <a:gd name="T11" fmla="*/ 673 h 1730"/>
                <a:gd name="T12" fmla="*/ 3725 w 3913"/>
                <a:gd name="T13" fmla="*/ 1636 h 1730"/>
                <a:gd name="T14" fmla="*/ 3819 w 3913"/>
                <a:gd name="T15" fmla="*/ 1730 h 1730"/>
                <a:gd name="T16" fmla="*/ 3913 w 3913"/>
                <a:gd name="T17" fmla="*/ 1636 h 1730"/>
                <a:gd name="T18" fmla="*/ 3913 w 3913"/>
                <a:gd name="T19" fmla="*/ 673 h 1730"/>
                <a:gd name="T20" fmla="*/ 3240 w 3913"/>
                <a:gd name="T21" fmla="*/ 0 h 1730"/>
                <a:gd name="T22" fmla="*/ 673 w 3913"/>
                <a:gd name="T23" fmla="*/ 0 h 1730"/>
                <a:gd name="T24" fmla="*/ 0 w 3913"/>
                <a:gd name="T25" fmla="*/ 673 h 1730"/>
                <a:gd name="T26" fmla="*/ 0 w 3913"/>
                <a:gd name="T27" fmla="*/ 1126 h 1730"/>
                <a:gd name="T28" fmla="*/ 94 w 3913"/>
                <a:gd name="T29" fmla="*/ 1219 h 1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13" h="1730">
                  <a:moveTo>
                    <a:pt x="94" y="1219"/>
                  </a:moveTo>
                  <a:cubicBezTo>
                    <a:pt x="146" y="1219"/>
                    <a:pt x="188" y="1177"/>
                    <a:pt x="188" y="1126"/>
                  </a:cubicBezTo>
                  <a:lnTo>
                    <a:pt x="188" y="673"/>
                  </a:lnTo>
                  <a:cubicBezTo>
                    <a:pt x="188" y="405"/>
                    <a:pt x="406" y="188"/>
                    <a:pt x="673" y="188"/>
                  </a:cubicBezTo>
                  <a:lnTo>
                    <a:pt x="3240" y="188"/>
                  </a:lnTo>
                  <a:cubicBezTo>
                    <a:pt x="3507" y="188"/>
                    <a:pt x="3725" y="405"/>
                    <a:pt x="3725" y="673"/>
                  </a:cubicBezTo>
                  <a:lnTo>
                    <a:pt x="3725" y="1636"/>
                  </a:lnTo>
                  <a:cubicBezTo>
                    <a:pt x="3725" y="1688"/>
                    <a:pt x="3767" y="1730"/>
                    <a:pt x="3819" y="1730"/>
                  </a:cubicBezTo>
                  <a:cubicBezTo>
                    <a:pt x="3871" y="1730"/>
                    <a:pt x="3913" y="1688"/>
                    <a:pt x="3913" y="1636"/>
                  </a:cubicBezTo>
                  <a:lnTo>
                    <a:pt x="3913" y="673"/>
                  </a:lnTo>
                  <a:cubicBezTo>
                    <a:pt x="3913" y="302"/>
                    <a:pt x="3611" y="0"/>
                    <a:pt x="3240" y="0"/>
                  </a:cubicBezTo>
                  <a:lnTo>
                    <a:pt x="673" y="0"/>
                  </a:lnTo>
                  <a:cubicBezTo>
                    <a:pt x="302" y="0"/>
                    <a:pt x="0" y="302"/>
                    <a:pt x="0" y="673"/>
                  </a:cubicBezTo>
                  <a:lnTo>
                    <a:pt x="0" y="1126"/>
                  </a:lnTo>
                  <a:cubicBezTo>
                    <a:pt x="0" y="1177"/>
                    <a:pt x="42" y="1219"/>
                    <a:pt x="94" y="121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" name="Freeform 65"/>
            <p:cNvSpPr>
              <a:spLocks/>
            </p:cNvSpPr>
            <p:nvPr/>
          </p:nvSpPr>
          <p:spPr bwMode="auto">
            <a:xfrm>
              <a:off x="1498" y="2369"/>
              <a:ext cx="208" cy="263"/>
            </a:xfrm>
            <a:custGeom>
              <a:avLst/>
              <a:gdLst>
                <a:gd name="T0" fmla="*/ 3819 w 3913"/>
                <a:gd name="T1" fmla="*/ 3247 h 4968"/>
                <a:gd name="T2" fmla="*/ 3725 w 3913"/>
                <a:gd name="T3" fmla="*/ 3340 h 4968"/>
                <a:gd name="T4" fmla="*/ 3725 w 3913"/>
                <a:gd name="T5" fmla="*/ 4295 h 4968"/>
                <a:gd name="T6" fmla="*/ 3240 w 3913"/>
                <a:gd name="T7" fmla="*/ 4780 h 4968"/>
                <a:gd name="T8" fmla="*/ 673 w 3913"/>
                <a:gd name="T9" fmla="*/ 4780 h 4968"/>
                <a:gd name="T10" fmla="*/ 188 w 3913"/>
                <a:gd name="T11" fmla="*/ 4295 h 4968"/>
                <a:gd name="T12" fmla="*/ 188 w 3913"/>
                <a:gd name="T13" fmla="*/ 93 h 4968"/>
                <a:gd name="T14" fmla="*/ 94 w 3913"/>
                <a:gd name="T15" fmla="*/ 0 h 4968"/>
                <a:gd name="T16" fmla="*/ 0 w 3913"/>
                <a:gd name="T17" fmla="*/ 93 h 4968"/>
                <a:gd name="T18" fmla="*/ 0 w 3913"/>
                <a:gd name="T19" fmla="*/ 4295 h 4968"/>
                <a:gd name="T20" fmla="*/ 673 w 3913"/>
                <a:gd name="T21" fmla="*/ 4968 h 4968"/>
                <a:gd name="T22" fmla="*/ 3240 w 3913"/>
                <a:gd name="T23" fmla="*/ 4968 h 4968"/>
                <a:gd name="T24" fmla="*/ 3913 w 3913"/>
                <a:gd name="T25" fmla="*/ 4295 h 4968"/>
                <a:gd name="T26" fmla="*/ 3913 w 3913"/>
                <a:gd name="T27" fmla="*/ 3340 h 4968"/>
                <a:gd name="T28" fmla="*/ 3819 w 3913"/>
                <a:gd name="T29" fmla="*/ 3247 h 4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13" h="4968">
                  <a:moveTo>
                    <a:pt x="3819" y="3247"/>
                  </a:moveTo>
                  <a:cubicBezTo>
                    <a:pt x="3767" y="3247"/>
                    <a:pt x="3725" y="3289"/>
                    <a:pt x="3725" y="3340"/>
                  </a:cubicBezTo>
                  <a:lnTo>
                    <a:pt x="3725" y="4295"/>
                  </a:lnTo>
                  <a:cubicBezTo>
                    <a:pt x="3725" y="4563"/>
                    <a:pt x="3507" y="4780"/>
                    <a:pt x="3240" y="4780"/>
                  </a:cubicBezTo>
                  <a:lnTo>
                    <a:pt x="673" y="4780"/>
                  </a:lnTo>
                  <a:cubicBezTo>
                    <a:pt x="406" y="4780"/>
                    <a:pt x="188" y="4563"/>
                    <a:pt x="188" y="4295"/>
                  </a:cubicBezTo>
                  <a:lnTo>
                    <a:pt x="188" y="93"/>
                  </a:lnTo>
                  <a:cubicBezTo>
                    <a:pt x="188" y="42"/>
                    <a:pt x="146" y="0"/>
                    <a:pt x="94" y="0"/>
                  </a:cubicBezTo>
                  <a:cubicBezTo>
                    <a:pt x="42" y="0"/>
                    <a:pt x="0" y="42"/>
                    <a:pt x="0" y="93"/>
                  </a:cubicBezTo>
                  <a:lnTo>
                    <a:pt x="0" y="4295"/>
                  </a:lnTo>
                  <a:cubicBezTo>
                    <a:pt x="0" y="4666"/>
                    <a:pt x="302" y="4968"/>
                    <a:pt x="673" y="4968"/>
                  </a:cubicBezTo>
                  <a:lnTo>
                    <a:pt x="3240" y="4968"/>
                  </a:lnTo>
                  <a:cubicBezTo>
                    <a:pt x="3611" y="4968"/>
                    <a:pt x="3913" y="4666"/>
                    <a:pt x="3913" y="4295"/>
                  </a:cubicBezTo>
                  <a:lnTo>
                    <a:pt x="3913" y="3340"/>
                  </a:lnTo>
                  <a:cubicBezTo>
                    <a:pt x="3913" y="3289"/>
                    <a:pt x="3871" y="3247"/>
                    <a:pt x="3819" y="324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" name="Freeform 66"/>
            <p:cNvSpPr>
              <a:spLocks/>
            </p:cNvSpPr>
            <p:nvPr/>
          </p:nvSpPr>
          <p:spPr bwMode="auto">
            <a:xfrm>
              <a:off x="1518" y="2313"/>
              <a:ext cx="168" cy="299"/>
            </a:xfrm>
            <a:custGeom>
              <a:avLst/>
              <a:gdLst>
                <a:gd name="T0" fmla="*/ 3068 w 3161"/>
                <a:gd name="T1" fmla="*/ 1355 h 5650"/>
                <a:gd name="T2" fmla="*/ 3161 w 3161"/>
                <a:gd name="T3" fmla="*/ 1261 h 5650"/>
                <a:gd name="T4" fmla="*/ 3161 w 3161"/>
                <a:gd name="T5" fmla="*/ 298 h 5650"/>
                <a:gd name="T6" fmla="*/ 2864 w 3161"/>
                <a:gd name="T7" fmla="*/ 0 h 5650"/>
                <a:gd name="T8" fmla="*/ 2423 w 3161"/>
                <a:gd name="T9" fmla="*/ 0 h 5650"/>
                <a:gd name="T10" fmla="*/ 2331 w 3161"/>
                <a:gd name="T11" fmla="*/ 76 h 5650"/>
                <a:gd name="T12" fmla="*/ 2330 w 3161"/>
                <a:gd name="T13" fmla="*/ 77 h 5650"/>
                <a:gd name="T14" fmla="*/ 2205 w 3161"/>
                <a:gd name="T15" fmla="*/ 180 h 5650"/>
                <a:gd name="T16" fmla="*/ 955 w 3161"/>
                <a:gd name="T17" fmla="*/ 180 h 5650"/>
                <a:gd name="T18" fmla="*/ 831 w 3161"/>
                <a:gd name="T19" fmla="*/ 78 h 5650"/>
                <a:gd name="T20" fmla="*/ 830 w 3161"/>
                <a:gd name="T21" fmla="*/ 76 h 5650"/>
                <a:gd name="T22" fmla="*/ 738 w 3161"/>
                <a:gd name="T23" fmla="*/ 0 h 5650"/>
                <a:gd name="T24" fmla="*/ 297 w 3161"/>
                <a:gd name="T25" fmla="*/ 0 h 5650"/>
                <a:gd name="T26" fmla="*/ 0 w 3161"/>
                <a:gd name="T27" fmla="*/ 298 h 5650"/>
                <a:gd name="T28" fmla="*/ 0 w 3161"/>
                <a:gd name="T29" fmla="*/ 5352 h 5650"/>
                <a:gd name="T30" fmla="*/ 297 w 3161"/>
                <a:gd name="T31" fmla="*/ 5650 h 5650"/>
                <a:gd name="T32" fmla="*/ 563 w 3161"/>
                <a:gd name="T33" fmla="*/ 5650 h 5650"/>
                <a:gd name="T34" fmla="*/ 657 w 3161"/>
                <a:gd name="T35" fmla="*/ 5556 h 5650"/>
                <a:gd name="T36" fmla="*/ 563 w 3161"/>
                <a:gd name="T37" fmla="*/ 5462 h 5650"/>
                <a:gd name="T38" fmla="*/ 297 w 3161"/>
                <a:gd name="T39" fmla="*/ 5462 h 5650"/>
                <a:gd name="T40" fmla="*/ 187 w 3161"/>
                <a:gd name="T41" fmla="*/ 5352 h 5650"/>
                <a:gd name="T42" fmla="*/ 187 w 3161"/>
                <a:gd name="T43" fmla="*/ 298 h 5650"/>
                <a:gd name="T44" fmla="*/ 297 w 3161"/>
                <a:gd name="T45" fmla="*/ 188 h 5650"/>
                <a:gd name="T46" fmla="*/ 671 w 3161"/>
                <a:gd name="T47" fmla="*/ 188 h 5650"/>
                <a:gd name="T48" fmla="*/ 955 w 3161"/>
                <a:gd name="T49" fmla="*/ 368 h 5650"/>
                <a:gd name="T50" fmla="*/ 2205 w 3161"/>
                <a:gd name="T51" fmla="*/ 368 h 5650"/>
                <a:gd name="T52" fmla="*/ 2490 w 3161"/>
                <a:gd name="T53" fmla="*/ 188 h 5650"/>
                <a:gd name="T54" fmla="*/ 2864 w 3161"/>
                <a:gd name="T55" fmla="*/ 188 h 5650"/>
                <a:gd name="T56" fmla="*/ 2974 w 3161"/>
                <a:gd name="T57" fmla="*/ 298 h 5650"/>
                <a:gd name="T58" fmla="*/ 2974 w 3161"/>
                <a:gd name="T59" fmla="*/ 1261 h 5650"/>
                <a:gd name="T60" fmla="*/ 3068 w 3161"/>
                <a:gd name="T61" fmla="*/ 1355 h 5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61" h="5650">
                  <a:moveTo>
                    <a:pt x="3068" y="1355"/>
                  </a:moveTo>
                  <a:cubicBezTo>
                    <a:pt x="3119" y="1355"/>
                    <a:pt x="3161" y="1313"/>
                    <a:pt x="3161" y="1261"/>
                  </a:cubicBezTo>
                  <a:lnTo>
                    <a:pt x="3161" y="298"/>
                  </a:lnTo>
                  <a:cubicBezTo>
                    <a:pt x="3161" y="134"/>
                    <a:pt x="3028" y="0"/>
                    <a:pt x="2864" y="0"/>
                  </a:cubicBezTo>
                  <a:lnTo>
                    <a:pt x="2423" y="0"/>
                  </a:lnTo>
                  <a:cubicBezTo>
                    <a:pt x="2378" y="0"/>
                    <a:pt x="2339" y="32"/>
                    <a:pt x="2331" y="76"/>
                  </a:cubicBezTo>
                  <a:lnTo>
                    <a:pt x="2330" y="77"/>
                  </a:lnTo>
                  <a:cubicBezTo>
                    <a:pt x="2318" y="137"/>
                    <a:pt x="2266" y="180"/>
                    <a:pt x="2205" y="180"/>
                  </a:cubicBezTo>
                  <a:lnTo>
                    <a:pt x="955" y="180"/>
                  </a:lnTo>
                  <a:cubicBezTo>
                    <a:pt x="895" y="180"/>
                    <a:pt x="842" y="137"/>
                    <a:pt x="831" y="78"/>
                  </a:cubicBezTo>
                  <a:lnTo>
                    <a:pt x="830" y="76"/>
                  </a:lnTo>
                  <a:cubicBezTo>
                    <a:pt x="821" y="32"/>
                    <a:pt x="783" y="0"/>
                    <a:pt x="738" y="0"/>
                  </a:cubicBezTo>
                  <a:lnTo>
                    <a:pt x="297" y="0"/>
                  </a:lnTo>
                  <a:cubicBezTo>
                    <a:pt x="133" y="0"/>
                    <a:pt x="0" y="134"/>
                    <a:pt x="0" y="298"/>
                  </a:cubicBezTo>
                  <a:lnTo>
                    <a:pt x="0" y="5352"/>
                  </a:lnTo>
                  <a:cubicBezTo>
                    <a:pt x="0" y="5516"/>
                    <a:pt x="133" y="5650"/>
                    <a:pt x="297" y="5650"/>
                  </a:cubicBezTo>
                  <a:lnTo>
                    <a:pt x="563" y="5650"/>
                  </a:lnTo>
                  <a:cubicBezTo>
                    <a:pt x="615" y="5650"/>
                    <a:pt x="657" y="5608"/>
                    <a:pt x="657" y="5556"/>
                  </a:cubicBezTo>
                  <a:cubicBezTo>
                    <a:pt x="657" y="5504"/>
                    <a:pt x="615" y="5462"/>
                    <a:pt x="563" y="5462"/>
                  </a:cubicBezTo>
                  <a:lnTo>
                    <a:pt x="297" y="5462"/>
                  </a:lnTo>
                  <a:cubicBezTo>
                    <a:pt x="236" y="5462"/>
                    <a:pt x="187" y="5413"/>
                    <a:pt x="187" y="5352"/>
                  </a:cubicBezTo>
                  <a:lnTo>
                    <a:pt x="187" y="298"/>
                  </a:lnTo>
                  <a:cubicBezTo>
                    <a:pt x="187" y="237"/>
                    <a:pt x="236" y="188"/>
                    <a:pt x="297" y="188"/>
                  </a:cubicBezTo>
                  <a:lnTo>
                    <a:pt x="671" y="188"/>
                  </a:lnTo>
                  <a:cubicBezTo>
                    <a:pt x="722" y="295"/>
                    <a:pt x="832" y="368"/>
                    <a:pt x="955" y="368"/>
                  </a:cubicBezTo>
                  <a:lnTo>
                    <a:pt x="2205" y="368"/>
                  </a:lnTo>
                  <a:cubicBezTo>
                    <a:pt x="2329" y="368"/>
                    <a:pt x="2439" y="295"/>
                    <a:pt x="2490" y="188"/>
                  </a:cubicBezTo>
                  <a:lnTo>
                    <a:pt x="2864" y="188"/>
                  </a:lnTo>
                  <a:cubicBezTo>
                    <a:pt x="2924" y="188"/>
                    <a:pt x="2974" y="237"/>
                    <a:pt x="2974" y="298"/>
                  </a:cubicBezTo>
                  <a:lnTo>
                    <a:pt x="2974" y="1261"/>
                  </a:lnTo>
                  <a:cubicBezTo>
                    <a:pt x="2974" y="1313"/>
                    <a:pt x="3016" y="1355"/>
                    <a:pt x="3068" y="13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" name="Freeform 67"/>
            <p:cNvSpPr>
              <a:spLocks/>
            </p:cNvSpPr>
            <p:nvPr/>
          </p:nvSpPr>
          <p:spPr bwMode="auto">
            <a:xfrm>
              <a:off x="1564" y="2541"/>
              <a:ext cx="122" cy="71"/>
            </a:xfrm>
            <a:custGeom>
              <a:avLst/>
              <a:gdLst>
                <a:gd name="T0" fmla="*/ 0 w 2292"/>
                <a:gd name="T1" fmla="*/ 1252 h 1346"/>
                <a:gd name="T2" fmla="*/ 94 w 2292"/>
                <a:gd name="T3" fmla="*/ 1346 h 1346"/>
                <a:gd name="T4" fmla="*/ 1995 w 2292"/>
                <a:gd name="T5" fmla="*/ 1346 h 1346"/>
                <a:gd name="T6" fmla="*/ 2292 w 2292"/>
                <a:gd name="T7" fmla="*/ 1048 h 1346"/>
                <a:gd name="T8" fmla="*/ 2292 w 2292"/>
                <a:gd name="T9" fmla="*/ 93 h 1346"/>
                <a:gd name="T10" fmla="*/ 2199 w 2292"/>
                <a:gd name="T11" fmla="*/ 0 h 1346"/>
                <a:gd name="T12" fmla="*/ 2105 w 2292"/>
                <a:gd name="T13" fmla="*/ 93 h 1346"/>
                <a:gd name="T14" fmla="*/ 2105 w 2292"/>
                <a:gd name="T15" fmla="*/ 1048 h 1346"/>
                <a:gd name="T16" fmla="*/ 1995 w 2292"/>
                <a:gd name="T17" fmla="*/ 1158 h 1346"/>
                <a:gd name="T18" fmla="*/ 94 w 2292"/>
                <a:gd name="T19" fmla="*/ 1158 h 1346"/>
                <a:gd name="T20" fmla="*/ 0 w 2292"/>
                <a:gd name="T21" fmla="*/ 1252 h 1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92" h="1346">
                  <a:moveTo>
                    <a:pt x="0" y="1252"/>
                  </a:moveTo>
                  <a:cubicBezTo>
                    <a:pt x="0" y="1304"/>
                    <a:pt x="42" y="1346"/>
                    <a:pt x="94" y="1346"/>
                  </a:cubicBezTo>
                  <a:lnTo>
                    <a:pt x="1995" y="1346"/>
                  </a:lnTo>
                  <a:cubicBezTo>
                    <a:pt x="2159" y="1346"/>
                    <a:pt x="2292" y="1212"/>
                    <a:pt x="2292" y="1048"/>
                  </a:cubicBezTo>
                  <a:lnTo>
                    <a:pt x="2292" y="93"/>
                  </a:lnTo>
                  <a:cubicBezTo>
                    <a:pt x="2292" y="42"/>
                    <a:pt x="2250" y="0"/>
                    <a:pt x="2199" y="0"/>
                  </a:cubicBezTo>
                  <a:cubicBezTo>
                    <a:pt x="2147" y="0"/>
                    <a:pt x="2105" y="42"/>
                    <a:pt x="2105" y="93"/>
                  </a:cubicBezTo>
                  <a:lnTo>
                    <a:pt x="2105" y="1048"/>
                  </a:lnTo>
                  <a:cubicBezTo>
                    <a:pt x="2105" y="1109"/>
                    <a:pt x="2055" y="1158"/>
                    <a:pt x="1995" y="1158"/>
                  </a:cubicBezTo>
                  <a:lnTo>
                    <a:pt x="94" y="1158"/>
                  </a:lnTo>
                  <a:cubicBezTo>
                    <a:pt x="42" y="1158"/>
                    <a:pt x="0" y="1200"/>
                    <a:pt x="0" y="12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6" name="Freeform 68"/>
            <p:cNvSpPr>
              <a:spLocks noEditPoints="1"/>
            </p:cNvSpPr>
            <p:nvPr/>
          </p:nvSpPr>
          <p:spPr bwMode="auto">
            <a:xfrm>
              <a:off x="1593" y="2394"/>
              <a:ext cx="195" cy="137"/>
            </a:xfrm>
            <a:custGeom>
              <a:avLst/>
              <a:gdLst>
                <a:gd name="T0" fmla="*/ 3335 w 3670"/>
                <a:gd name="T1" fmla="*/ 0 h 2574"/>
                <a:gd name="T2" fmla="*/ 2782 w 3670"/>
                <a:gd name="T3" fmla="*/ 0 h 2574"/>
                <a:gd name="T4" fmla="*/ 2688 w 3670"/>
                <a:gd name="T5" fmla="*/ 94 h 2574"/>
                <a:gd name="T6" fmla="*/ 2782 w 3670"/>
                <a:gd name="T7" fmla="*/ 188 h 2574"/>
                <a:gd name="T8" fmla="*/ 3335 w 3670"/>
                <a:gd name="T9" fmla="*/ 188 h 2574"/>
                <a:gd name="T10" fmla="*/ 3474 w 3670"/>
                <a:gd name="T11" fmla="*/ 287 h 2574"/>
                <a:gd name="T12" fmla="*/ 1891 w 3670"/>
                <a:gd name="T13" fmla="*/ 1244 h 2574"/>
                <a:gd name="T14" fmla="*/ 1779 w 3670"/>
                <a:gd name="T15" fmla="*/ 1244 h 2574"/>
                <a:gd name="T16" fmla="*/ 196 w 3670"/>
                <a:gd name="T17" fmla="*/ 287 h 2574"/>
                <a:gd name="T18" fmla="*/ 334 w 3670"/>
                <a:gd name="T19" fmla="*/ 188 h 2574"/>
                <a:gd name="T20" fmla="*/ 2382 w 3670"/>
                <a:gd name="T21" fmla="*/ 188 h 2574"/>
                <a:gd name="T22" fmla="*/ 2476 w 3670"/>
                <a:gd name="T23" fmla="*/ 94 h 2574"/>
                <a:gd name="T24" fmla="*/ 2382 w 3670"/>
                <a:gd name="T25" fmla="*/ 0 h 2574"/>
                <a:gd name="T26" fmla="*/ 334 w 3670"/>
                <a:gd name="T27" fmla="*/ 0 h 2574"/>
                <a:gd name="T28" fmla="*/ 0 w 3670"/>
                <a:gd name="T29" fmla="*/ 335 h 2574"/>
                <a:gd name="T30" fmla="*/ 0 w 3670"/>
                <a:gd name="T31" fmla="*/ 2240 h 2574"/>
                <a:gd name="T32" fmla="*/ 334 w 3670"/>
                <a:gd name="T33" fmla="*/ 2574 h 2574"/>
                <a:gd name="T34" fmla="*/ 3335 w 3670"/>
                <a:gd name="T35" fmla="*/ 2574 h 2574"/>
                <a:gd name="T36" fmla="*/ 3670 w 3670"/>
                <a:gd name="T37" fmla="*/ 2240 h 2574"/>
                <a:gd name="T38" fmla="*/ 3670 w 3670"/>
                <a:gd name="T39" fmla="*/ 335 h 2574"/>
                <a:gd name="T40" fmla="*/ 3335 w 3670"/>
                <a:gd name="T41" fmla="*/ 0 h 2574"/>
                <a:gd name="T42" fmla="*/ 2318 w 3670"/>
                <a:gd name="T43" fmla="*/ 1205 h 2574"/>
                <a:gd name="T44" fmla="*/ 3482 w 3670"/>
                <a:gd name="T45" fmla="*/ 501 h 2574"/>
                <a:gd name="T46" fmla="*/ 3482 w 3670"/>
                <a:gd name="T47" fmla="*/ 2055 h 2574"/>
                <a:gd name="T48" fmla="*/ 2318 w 3670"/>
                <a:gd name="T49" fmla="*/ 1205 h 2574"/>
                <a:gd name="T50" fmla="*/ 1351 w 3670"/>
                <a:gd name="T51" fmla="*/ 1205 h 2574"/>
                <a:gd name="T52" fmla="*/ 187 w 3670"/>
                <a:gd name="T53" fmla="*/ 2055 h 2574"/>
                <a:gd name="T54" fmla="*/ 187 w 3670"/>
                <a:gd name="T55" fmla="*/ 501 h 2574"/>
                <a:gd name="T56" fmla="*/ 1351 w 3670"/>
                <a:gd name="T57" fmla="*/ 1205 h 2574"/>
                <a:gd name="T58" fmla="*/ 3335 w 3670"/>
                <a:gd name="T59" fmla="*/ 2386 h 2574"/>
                <a:gd name="T60" fmla="*/ 334 w 3670"/>
                <a:gd name="T61" fmla="*/ 2386 h 2574"/>
                <a:gd name="T62" fmla="*/ 194 w 3670"/>
                <a:gd name="T63" fmla="*/ 2282 h 2574"/>
                <a:gd name="T64" fmla="*/ 1525 w 3670"/>
                <a:gd name="T65" fmla="*/ 1310 h 2574"/>
                <a:gd name="T66" fmla="*/ 1682 w 3670"/>
                <a:gd name="T67" fmla="*/ 1405 h 2574"/>
                <a:gd name="T68" fmla="*/ 1835 w 3670"/>
                <a:gd name="T69" fmla="*/ 1448 h 2574"/>
                <a:gd name="T70" fmla="*/ 1988 w 3670"/>
                <a:gd name="T71" fmla="*/ 1405 h 2574"/>
                <a:gd name="T72" fmla="*/ 2144 w 3670"/>
                <a:gd name="T73" fmla="*/ 1310 h 2574"/>
                <a:gd name="T74" fmla="*/ 3475 w 3670"/>
                <a:gd name="T75" fmla="*/ 2283 h 2574"/>
                <a:gd name="T76" fmla="*/ 3335 w 3670"/>
                <a:gd name="T77" fmla="*/ 2386 h 2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70" h="2574">
                  <a:moveTo>
                    <a:pt x="3335" y="0"/>
                  </a:moveTo>
                  <a:lnTo>
                    <a:pt x="2782" y="0"/>
                  </a:lnTo>
                  <a:cubicBezTo>
                    <a:pt x="2730" y="0"/>
                    <a:pt x="2688" y="42"/>
                    <a:pt x="2688" y="94"/>
                  </a:cubicBezTo>
                  <a:cubicBezTo>
                    <a:pt x="2688" y="146"/>
                    <a:pt x="2730" y="188"/>
                    <a:pt x="2782" y="188"/>
                  </a:cubicBezTo>
                  <a:lnTo>
                    <a:pt x="3335" y="188"/>
                  </a:lnTo>
                  <a:cubicBezTo>
                    <a:pt x="3399" y="188"/>
                    <a:pt x="3454" y="229"/>
                    <a:pt x="3474" y="287"/>
                  </a:cubicBezTo>
                  <a:lnTo>
                    <a:pt x="1891" y="1244"/>
                  </a:lnTo>
                  <a:cubicBezTo>
                    <a:pt x="1856" y="1265"/>
                    <a:pt x="1813" y="1265"/>
                    <a:pt x="1779" y="1244"/>
                  </a:cubicBezTo>
                  <a:lnTo>
                    <a:pt x="196" y="287"/>
                  </a:lnTo>
                  <a:cubicBezTo>
                    <a:pt x="216" y="229"/>
                    <a:pt x="270" y="188"/>
                    <a:pt x="334" y="188"/>
                  </a:cubicBezTo>
                  <a:lnTo>
                    <a:pt x="2382" y="188"/>
                  </a:lnTo>
                  <a:cubicBezTo>
                    <a:pt x="2434" y="188"/>
                    <a:pt x="2476" y="146"/>
                    <a:pt x="2476" y="94"/>
                  </a:cubicBezTo>
                  <a:cubicBezTo>
                    <a:pt x="2476" y="42"/>
                    <a:pt x="2434" y="0"/>
                    <a:pt x="2382" y="0"/>
                  </a:cubicBezTo>
                  <a:lnTo>
                    <a:pt x="334" y="0"/>
                  </a:lnTo>
                  <a:cubicBezTo>
                    <a:pt x="150" y="0"/>
                    <a:pt x="0" y="150"/>
                    <a:pt x="0" y="335"/>
                  </a:cubicBezTo>
                  <a:lnTo>
                    <a:pt x="0" y="2240"/>
                  </a:lnTo>
                  <a:cubicBezTo>
                    <a:pt x="0" y="2424"/>
                    <a:pt x="150" y="2574"/>
                    <a:pt x="334" y="2574"/>
                  </a:cubicBezTo>
                  <a:lnTo>
                    <a:pt x="3335" y="2574"/>
                  </a:lnTo>
                  <a:cubicBezTo>
                    <a:pt x="3520" y="2574"/>
                    <a:pt x="3670" y="2424"/>
                    <a:pt x="3670" y="2240"/>
                  </a:cubicBezTo>
                  <a:lnTo>
                    <a:pt x="3670" y="335"/>
                  </a:lnTo>
                  <a:cubicBezTo>
                    <a:pt x="3670" y="150"/>
                    <a:pt x="3520" y="0"/>
                    <a:pt x="3335" y="0"/>
                  </a:cubicBezTo>
                  <a:close/>
                  <a:moveTo>
                    <a:pt x="2318" y="1205"/>
                  </a:moveTo>
                  <a:lnTo>
                    <a:pt x="3482" y="501"/>
                  </a:lnTo>
                  <a:lnTo>
                    <a:pt x="3482" y="2055"/>
                  </a:lnTo>
                  <a:lnTo>
                    <a:pt x="2318" y="1205"/>
                  </a:lnTo>
                  <a:close/>
                  <a:moveTo>
                    <a:pt x="1351" y="1205"/>
                  </a:moveTo>
                  <a:lnTo>
                    <a:pt x="187" y="2055"/>
                  </a:lnTo>
                  <a:lnTo>
                    <a:pt x="187" y="501"/>
                  </a:lnTo>
                  <a:lnTo>
                    <a:pt x="1351" y="1205"/>
                  </a:lnTo>
                  <a:close/>
                  <a:moveTo>
                    <a:pt x="3335" y="2386"/>
                  </a:moveTo>
                  <a:lnTo>
                    <a:pt x="334" y="2386"/>
                  </a:lnTo>
                  <a:cubicBezTo>
                    <a:pt x="268" y="2386"/>
                    <a:pt x="212" y="2343"/>
                    <a:pt x="194" y="2282"/>
                  </a:cubicBezTo>
                  <a:lnTo>
                    <a:pt x="1525" y="1310"/>
                  </a:lnTo>
                  <a:lnTo>
                    <a:pt x="1682" y="1405"/>
                  </a:lnTo>
                  <a:cubicBezTo>
                    <a:pt x="1729" y="1434"/>
                    <a:pt x="1782" y="1448"/>
                    <a:pt x="1835" y="1448"/>
                  </a:cubicBezTo>
                  <a:cubicBezTo>
                    <a:pt x="1888" y="1448"/>
                    <a:pt x="1941" y="1434"/>
                    <a:pt x="1988" y="1405"/>
                  </a:cubicBezTo>
                  <a:lnTo>
                    <a:pt x="2144" y="1310"/>
                  </a:lnTo>
                  <a:lnTo>
                    <a:pt x="3475" y="2283"/>
                  </a:lnTo>
                  <a:cubicBezTo>
                    <a:pt x="3457" y="2343"/>
                    <a:pt x="3401" y="2386"/>
                    <a:pt x="3335" y="238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08323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50700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4" name="Diapositive think-cell" r:id="rId5" imgW="592" imgH="595" progId="TCLayout.ActiveDocument.1">
                  <p:embed/>
                </p:oleObj>
              </mc:Choice>
              <mc:Fallback>
                <p:oleObj name="Diapositive think-cell" r:id="rId5" imgW="592" imgH="595" progId="TCLayout.ActiveDocument.1">
                  <p:embed/>
                  <p:pic>
                    <p:nvPicPr>
                      <p:cNvPr id="5" name="Obje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77" b="37944"/>
          <a:stretch/>
        </p:blipFill>
        <p:spPr>
          <a:xfrm flipH="1">
            <a:off x="-5" y="1788885"/>
            <a:ext cx="12208963" cy="3280229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1788886"/>
            <a:ext cx="12192000" cy="3280229"/>
          </a:xfrm>
          <a:prstGeom prst="rect">
            <a:avLst/>
          </a:prstGeom>
          <a:gradFill>
            <a:gsLst>
              <a:gs pos="100000">
                <a:srgbClr val="A136A0"/>
              </a:gs>
              <a:gs pos="0">
                <a:srgbClr val="7030A0">
                  <a:alpha val="87000"/>
                </a:srgb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0" name="Rectangle 529"/>
          <p:cNvSpPr/>
          <p:nvPr/>
        </p:nvSpPr>
        <p:spPr>
          <a:xfrm>
            <a:off x="334963" y="206624"/>
            <a:ext cx="115935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What does it do? – Custom Notifications</a:t>
            </a:r>
          </a:p>
        </p:txBody>
      </p:sp>
      <p:pic>
        <p:nvPicPr>
          <p:cNvPr id="23" name="Image 2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982373"/>
            <a:ext cx="1174243" cy="542252"/>
          </a:xfrm>
          <a:prstGeom prst="rect">
            <a:avLst/>
          </a:prstGeom>
        </p:spPr>
      </p:pic>
      <p:sp>
        <p:nvSpPr>
          <p:cNvPr id="24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rgbClr val="A136A0"/>
                </a:solidFill>
                <a:latin typeface="Lato Medium"/>
                <a:ea typeface="Lato Medium"/>
                <a:cs typeface="Lato Medium"/>
              </a:rPr>
              <a:t>be-safetech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.c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</a:t>
            </a:r>
            <a:r>
              <a:rPr lang="en-US" b="1" dirty="0">
                <a:solidFill>
                  <a:srgbClr val="FEC232"/>
                </a:solidFill>
                <a:latin typeface="Montserrat"/>
              </a:rPr>
              <a:t>| </a:t>
            </a:r>
            <a:fld id="{DABD2AA5-CABB-4467-8A69-C511B00C377E}" type="slidenum">
              <a:rPr lang="en-US" b="1" dirty="0" smtClean="0">
                <a:solidFill>
                  <a:srgbClr val="A136A0"/>
                </a:solidFill>
                <a:latin typeface="Montserrat"/>
              </a:rPr>
              <a:pPr algn="l" rtl="1"/>
              <a:t>12</a:t>
            </a:fld>
            <a:endParaRPr lang="en-US" b="1" dirty="0">
              <a:solidFill>
                <a:srgbClr val="A136A0"/>
              </a:solidFill>
              <a:latin typeface="Montserrat"/>
            </a:endParaRPr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58EEAF59-0903-0D49-9F13-B1A6FF856982}"/>
              </a:ext>
            </a:extLst>
          </p:cNvPr>
          <p:cNvSpPr txBox="1"/>
          <p:nvPr/>
        </p:nvSpPr>
        <p:spPr>
          <a:xfrm>
            <a:off x="334963" y="2249093"/>
            <a:ext cx="5425839" cy="235981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marL="285750" indent="-285750">
              <a:lnSpc>
                <a:spcPct val="107000"/>
              </a:lnSpc>
              <a:spcAft>
                <a:spcPts val="1067"/>
              </a:spcAft>
              <a:buSzPct val="120000"/>
              <a:buBlip>
                <a:blip r:embed="rId9"/>
              </a:buBlip>
              <a:defRPr sz="160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Generate custom notifications</a:t>
            </a:r>
          </a:p>
          <a:p>
            <a:r>
              <a:rPr lang="en-US" dirty="0">
                <a:solidFill>
                  <a:schemeClr val="bg1"/>
                </a:solidFill>
              </a:rPr>
              <a:t>Automatically notify workers without the correct training records that they are unable to complete certain tasks or operate specific pieces of equipment</a:t>
            </a:r>
          </a:p>
          <a:p>
            <a:r>
              <a:rPr lang="en-US" dirty="0">
                <a:solidFill>
                  <a:schemeClr val="bg1"/>
                </a:solidFill>
              </a:rPr>
              <a:t>All submissions and sign-in records can be tracked via GPS</a:t>
            </a:r>
          </a:p>
          <a:p>
            <a:r>
              <a:rPr lang="en-US" dirty="0">
                <a:solidFill>
                  <a:schemeClr val="bg1"/>
                </a:solidFill>
              </a:rPr>
              <a:t>All certificates linked to individuals</a:t>
            </a:r>
          </a:p>
        </p:txBody>
      </p:sp>
      <p:grpSp>
        <p:nvGrpSpPr>
          <p:cNvPr id="12" name="Group 6"/>
          <p:cNvGrpSpPr>
            <a:grpSpLocks noChangeAspect="1"/>
          </p:cNvGrpSpPr>
          <p:nvPr/>
        </p:nvGrpSpPr>
        <p:grpSpPr bwMode="auto">
          <a:xfrm>
            <a:off x="6690378" y="1103086"/>
            <a:ext cx="4572045" cy="4572045"/>
            <a:chOff x="1833" y="153"/>
            <a:chExt cx="4014" cy="4014"/>
          </a:xfrm>
        </p:grpSpPr>
        <p:sp>
          <p:nvSpPr>
            <p:cNvPr id="13" name="AutoShape 5"/>
            <p:cNvSpPr>
              <a:spLocks noChangeAspect="1" noChangeArrowheads="1" noTextEdit="1"/>
            </p:cNvSpPr>
            <p:nvPr/>
          </p:nvSpPr>
          <p:spPr bwMode="auto">
            <a:xfrm>
              <a:off x="1833" y="153"/>
              <a:ext cx="4014" cy="40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Group 207"/>
            <p:cNvGrpSpPr>
              <a:grpSpLocks/>
            </p:cNvGrpSpPr>
            <p:nvPr/>
          </p:nvGrpSpPr>
          <p:grpSpPr bwMode="auto">
            <a:xfrm>
              <a:off x="2366" y="1032"/>
              <a:ext cx="3392" cy="3019"/>
              <a:chOff x="2366" y="1032"/>
              <a:chExt cx="3392" cy="3019"/>
            </a:xfrm>
          </p:grpSpPr>
          <p:sp>
            <p:nvSpPr>
              <p:cNvPr id="25" name="Freeform 8"/>
              <p:cNvSpPr>
                <a:spLocks/>
              </p:cNvSpPr>
              <p:nvPr/>
            </p:nvSpPr>
            <p:spPr bwMode="auto">
              <a:xfrm>
                <a:off x="2867" y="1964"/>
                <a:ext cx="2891" cy="1689"/>
              </a:xfrm>
              <a:custGeom>
                <a:avLst/>
                <a:gdLst>
                  <a:gd name="T0" fmla="*/ 6021 w 6021"/>
                  <a:gd name="T1" fmla="*/ 1217 h 3519"/>
                  <a:gd name="T2" fmla="*/ 5988 w 6021"/>
                  <a:gd name="T3" fmla="*/ 1289 h 3519"/>
                  <a:gd name="T4" fmla="*/ 5981 w 6021"/>
                  <a:gd name="T5" fmla="*/ 1295 h 3519"/>
                  <a:gd name="T6" fmla="*/ 5981 w 6021"/>
                  <a:gd name="T7" fmla="*/ 1295 h 3519"/>
                  <a:gd name="T8" fmla="*/ 5970 w 6021"/>
                  <a:gd name="T9" fmla="*/ 1304 h 3519"/>
                  <a:gd name="T10" fmla="*/ 5950 w 6021"/>
                  <a:gd name="T11" fmla="*/ 1317 h 3519"/>
                  <a:gd name="T12" fmla="*/ 2257 w 6021"/>
                  <a:gd name="T13" fmla="*/ 3463 h 3519"/>
                  <a:gd name="T14" fmla="*/ 1911 w 6021"/>
                  <a:gd name="T15" fmla="*/ 3463 h 3519"/>
                  <a:gd name="T16" fmla="*/ 72 w 6021"/>
                  <a:gd name="T17" fmla="*/ 2402 h 3519"/>
                  <a:gd name="T18" fmla="*/ 48 w 6021"/>
                  <a:gd name="T19" fmla="*/ 2385 h 3519"/>
                  <a:gd name="T20" fmla="*/ 48 w 6021"/>
                  <a:gd name="T21" fmla="*/ 2385 h 3519"/>
                  <a:gd name="T22" fmla="*/ 34 w 6021"/>
                  <a:gd name="T23" fmla="*/ 2374 h 3519"/>
                  <a:gd name="T24" fmla="*/ 5 w 6021"/>
                  <a:gd name="T25" fmla="*/ 2329 h 3519"/>
                  <a:gd name="T26" fmla="*/ 2 w 6021"/>
                  <a:gd name="T27" fmla="*/ 2316 h 3519"/>
                  <a:gd name="T28" fmla="*/ 0 w 6021"/>
                  <a:gd name="T29" fmla="*/ 2301 h 3519"/>
                  <a:gd name="T30" fmla="*/ 71 w 6021"/>
                  <a:gd name="T31" fmla="*/ 2201 h 3519"/>
                  <a:gd name="T32" fmla="*/ 2031 w 6021"/>
                  <a:gd name="T33" fmla="*/ 1062 h 3519"/>
                  <a:gd name="T34" fmla="*/ 2236 w 6021"/>
                  <a:gd name="T35" fmla="*/ 943 h 3519"/>
                  <a:gd name="T36" fmla="*/ 3764 w 6021"/>
                  <a:gd name="T37" fmla="*/ 55 h 3519"/>
                  <a:gd name="T38" fmla="*/ 4110 w 6021"/>
                  <a:gd name="T39" fmla="*/ 55 h 3519"/>
                  <a:gd name="T40" fmla="*/ 5949 w 6021"/>
                  <a:gd name="T41" fmla="*/ 1117 h 3519"/>
                  <a:gd name="T42" fmla="*/ 6021 w 6021"/>
                  <a:gd name="T43" fmla="*/ 1217 h 3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021" h="3519">
                    <a:moveTo>
                      <a:pt x="6021" y="1217"/>
                    </a:moveTo>
                    <a:cubicBezTo>
                      <a:pt x="6021" y="1242"/>
                      <a:pt x="6010" y="1267"/>
                      <a:pt x="5988" y="1289"/>
                    </a:cubicBezTo>
                    <a:cubicBezTo>
                      <a:pt x="5986" y="1291"/>
                      <a:pt x="5983" y="1293"/>
                      <a:pt x="5981" y="1295"/>
                    </a:cubicBezTo>
                    <a:lnTo>
                      <a:pt x="5981" y="1295"/>
                    </a:lnTo>
                    <a:cubicBezTo>
                      <a:pt x="5978" y="1298"/>
                      <a:pt x="5974" y="1301"/>
                      <a:pt x="5970" y="1304"/>
                    </a:cubicBezTo>
                    <a:cubicBezTo>
                      <a:pt x="5964" y="1309"/>
                      <a:pt x="5957" y="1313"/>
                      <a:pt x="5950" y="1317"/>
                    </a:cubicBezTo>
                    <a:lnTo>
                      <a:pt x="2257" y="3463"/>
                    </a:lnTo>
                    <a:cubicBezTo>
                      <a:pt x="2162" y="3519"/>
                      <a:pt x="2007" y="3519"/>
                      <a:pt x="1911" y="3463"/>
                    </a:cubicBezTo>
                    <a:lnTo>
                      <a:pt x="72" y="2402"/>
                    </a:lnTo>
                    <a:cubicBezTo>
                      <a:pt x="63" y="2397"/>
                      <a:pt x="55" y="2391"/>
                      <a:pt x="48" y="2385"/>
                    </a:cubicBezTo>
                    <a:lnTo>
                      <a:pt x="48" y="2385"/>
                    </a:lnTo>
                    <a:cubicBezTo>
                      <a:pt x="43" y="2381"/>
                      <a:pt x="38" y="2377"/>
                      <a:pt x="34" y="2374"/>
                    </a:cubicBezTo>
                    <a:cubicBezTo>
                      <a:pt x="20" y="2359"/>
                      <a:pt x="10" y="2344"/>
                      <a:pt x="5" y="2329"/>
                    </a:cubicBezTo>
                    <a:cubicBezTo>
                      <a:pt x="3" y="2324"/>
                      <a:pt x="2" y="2320"/>
                      <a:pt x="2" y="2316"/>
                    </a:cubicBezTo>
                    <a:cubicBezTo>
                      <a:pt x="1" y="2311"/>
                      <a:pt x="0" y="2306"/>
                      <a:pt x="0" y="2301"/>
                    </a:cubicBezTo>
                    <a:cubicBezTo>
                      <a:pt x="0" y="2265"/>
                      <a:pt x="24" y="2229"/>
                      <a:pt x="71" y="2201"/>
                    </a:cubicBezTo>
                    <a:lnTo>
                      <a:pt x="2031" y="1062"/>
                    </a:lnTo>
                    <a:lnTo>
                      <a:pt x="2236" y="943"/>
                    </a:lnTo>
                    <a:lnTo>
                      <a:pt x="3764" y="55"/>
                    </a:lnTo>
                    <a:cubicBezTo>
                      <a:pt x="3860" y="0"/>
                      <a:pt x="4015" y="0"/>
                      <a:pt x="4110" y="55"/>
                    </a:cubicBezTo>
                    <a:lnTo>
                      <a:pt x="5949" y="1117"/>
                    </a:lnTo>
                    <a:cubicBezTo>
                      <a:pt x="5997" y="1144"/>
                      <a:pt x="6021" y="1181"/>
                      <a:pt x="6021" y="1217"/>
                    </a:cubicBezTo>
                  </a:path>
                </a:pathLst>
              </a:custGeom>
              <a:solidFill>
                <a:srgbClr val="481F67">
                  <a:alpha val="6274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9"/>
              <p:cNvSpPr>
                <a:spLocks/>
              </p:cNvSpPr>
              <p:nvPr/>
            </p:nvSpPr>
            <p:spPr bwMode="auto">
              <a:xfrm>
                <a:off x="5265" y="2105"/>
                <a:ext cx="35" cy="189"/>
              </a:xfrm>
              <a:custGeom>
                <a:avLst/>
                <a:gdLst>
                  <a:gd name="T0" fmla="*/ 73 w 73"/>
                  <a:gd name="T1" fmla="*/ 0 h 394"/>
                  <a:gd name="T2" fmla="*/ 73 w 73"/>
                  <a:gd name="T3" fmla="*/ 74 h 394"/>
                  <a:gd name="T4" fmla="*/ 73 w 73"/>
                  <a:gd name="T5" fmla="*/ 293 h 394"/>
                  <a:gd name="T6" fmla="*/ 0 w 73"/>
                  <a:gd name="T7" fmla="*/ 394 h 394"/>
                  <a:gd name="T8" fmla="*/ 1 w 73"/>
                  <a:gd name="T9" fmla="*/ 132 h 394"/>
                  <a:gd name="T10" fmla="*/ 1 w 73"/>
                  <a:gd name="T11" fmla="*/ 101 h 394"/>
                  <a:gd name="T12" fmla="*/ 73 w 73"/>
                  <a:gd name="T13" fmla="*/ 0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394">
                    <a:moveTo>
                      <a:pt x="73" y="0"/>
                    </a:moveTo>
                    <a:lnTo>
                      <a:pt x="73" y="74"/>
                    </a:lnTo>
                    <a:lnTo>
                      <a:pt x="73" y="293"/>
                    </a:lnTo>
                    <a:cubicBezTo>
                      <a:pt x="72" y="329"/>
                      <a:pt x="48" y="366"/>
                      <a:pt x="0" y="394"/>
                    </a:cubicBezTo>
                    <a:lnTo>
                      <a:pt x="1" y="132"/>
                    </a:lnTo>
                    <a:lnTo>
                      <a:pt x="1" y="101"/>
                    </a:lnTo>
                    <a:cubicBezTo>
                      <a:pt x="49" y="73"/>
                      <a:pt x="73" y="36"/>
                      <a:pt x="73" y="0"/>
                    </a:cubicBezTo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0"/>
              <p:cNvSpPr>
                <a:spLocks/>
              </p:cNvSpPr>
              <p:nvPr/>
            </p:nvSpPr>
            <p:spPr bwMode="auto">
              <a:xfrm>
                <a:off x="2366" y="2633"/>
                <a:ext cx="35" cy="190"/>
              </a:xfrm>
              <a:custGeom>
                <a:avLst/>
                <a:gdLst>
                  <a:gd name="T0" fmla="*/ 74 w 74"/>
                  <a:gd name="T1" fmla="*/ 102 h 395"/>
                  <a:gd name="T2" fmla="*/ 74 w 74"/>
                  <a:gd name="T3" fmla="*/ 133 h 395"/>
                  <a:gd name="T4" fmla="*/ 73 w 74"/>
                  <a:gd name="T5" fmla="*/ 395 h 395"/>
                  <a:gd name="T6" fmla="*/ 0 w 74"/>
                  <a:gd name="T7" fmla="*/ 293 h 395"/>
                  <a:gd name="T8" fmla="*/ 0 w 74"/>
                  <a:gd name="T9" fmla="*/ 74 h 395"/>
                  <a:gd name="T10" fmla="*/ 1 w 74"/>
                  <a:gd name="T11" fmla="*/ 0 h 395"/>
                  <a:gd name="T12" fmla="*/ 74 w 74"/>
                  <a:gd name="T13" fmla="*/ 102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" h="395">
                    <a:moveTo>
                      <a:pt x="74" y="102"/>
                    </a:moveTo>
                    <a:lnTo>
                      <a:pt x="74" y="133"/>
                    </a:lnTo>
                    <a:lnTo>
                      <a:pt x="73" y="395"/>
                    </a:lnTo>
                    <a:cubicBezTo>
                      <a:pt x="24" y="367"/>
                      <a:pt x="0" y="330"/>
                      <a:pt x="0" y="293"/>
                    </a:cubicBezTo>
                    <a:lnTo>
                      <a:pt x="0" y="74"/>
                    </a:lnTo>
                    <a:lnTo>
                      <a:pt x="1" y="0"/>
                    </a:lnTo>
                    <a:cubicBezTo>
                      <a:pt x="1" y="37"/>
                      <a:pt x="25" y="74"/>
                      <a:pt x="74" y="102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1"/>
              <p:cNvSpPr>
                <a:spLocks/>
              </p:cNvSpPr>
              <p:nvPr/>
            </p:nvSpPr>
            <p:spPr bwMode="auto">
              <a:xfrm>
                <a:off x="3466" y="2153"/>
                <a:ext cx="1800" cy="1187"/>
              </a:xfrm>
              <a:custGeom>
                <a:avLst/>
                <a:gdLst>
                  <a:gd name="T0" fmla="*/ 1800 w 1800"/>
                  <a:gd name="T1" fmla="*/ 0 h 1187"/>
                  <a:gd name="T2" fmla="*/ 1800 w 1800"/>
                  <a:gd name="T3" fmla="*/ 15 h 1187"/>
                  <a:gd name="T4" fmla="*/ 1799 w 1800"/>
                  <a:gd name="T5" fmla="*/ 141 h 1187"/>
                  <a:gd name="T6" fmla="*/ 0 w 1800"/>
                  <a:gd name="T7" fmla="*/ 1187 h 1187"/>
                  <a:gd name="T8" fmla="*/ 0 w 1800"/>
                  <a:gd name="T9" fmla="*/ 1061 h 1187"/>
                  <a:gd name="T10" fmla="*/ 0 w 1800"/>
                  <a:gd name="T11" fmla="*/ 1046 h 1187"/>
                  <a:gd name="T12" fmla="*/ 1800 w 1800"/>
                  <a:gd name="T13" fmla="*/ 0 h 1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00" h="1187">
                    <a:moveTo>
                      <a:pt x="1800" y="0"/>
                    </a:moveTo>
                    <a:lnTo>
                      <a:pt x="1800" y="15"/>
                    </a:lnTo>
                    <a:lnTo>
                      <a:pt x="1799" y="141"/>
                    </a:lnTo>
                    <a:lnTo>
                      <a:pt x="0" y="1187"/>
                    </a:lnTo>
                    <a:lnTo>
                      <a:pt x="0" y="1061"/>
                    </a:lnTo>
                    <a:lnTo>
                      <a:pt x="0" y="1046"/>
                    </a:lnTo>
                    <a:lnTo>
                      <a:pt x="180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2"/>
              <p:cNvSpPr>
                <a:spLocks/>
              </p:cNvSpPr>
              <p:nvPr/>
            </p:nvSpPr>
            <p:spPr bwMode="auto">
              <a:xfrm>
                <a:off x="2401" y="2682"/>
                <a:ext cx="897" cy="658"/>
              </a:xfrm>
              <a:custGeom>
                <a:avLst/>
                <a:gdLst>
                  <a:gd name="T0" fmla="*/ 897 w 897"/>
                  <a:gd name="T1" fmla="*/ 517 h 658"/>
                  <a:gd name="T2" fmla="*/ 896 w 897"/>
                  <a:gd name="T3" fmla="*/ 532 h 658"/>
                  <a:gd name="T4" fmla="*/ 896 w 897"/>
                  <a:gd name="T5" fmla="*/ 658 h 658"/>
                  <a:gd name="T6" fmla="*/ 0 w 897"/>
                  <a:gd name="T7" fmla="*/ 141 h 658"/>
                  <a:gd name="T8" fmla="*/ 0 w 897"/>
                  <a:gd name="T9" fmla="*/ 15 h 658"/>
                  <a:gd name="T10" fmla="*/ 0 w 897"/>
                  <a:gd name="T11" fmla="*/ 0 h 658"/>
                  <a:gd name="T12" fmla="*/ 897 w 897"/>
                  <a:gd name="T13" fmla="*/ 517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97" h="658">
                    <a:moveTo>
                      <a:pt x="897" y="517"/>
                    </a:moveTo>
                    <a:lnTo>
                      <a:pt x="896" y="532"/>
                    </a:lnTo>
                    <a:lnTo>
                      <a:pt x="896" y="658"/>
                    </a:lnTo>
                    <a:lnTo>
                      <a:pt x="0" y="141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897" y="517"/>
                    </a:lnTo>
                    <a:close/>
                  </a:path>
                </a:pathLst>
              </a:cu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13"/>
              <p:cNvSpPr>
                <a:spLocks/>
              </p:cNvSpPr>
              <p:nvPr/>
            </p:nvSpPr>
            <p:spPr bwMode="auto">
              <a:xfrm>
                <a:off x="3297" y="3199"/>
                <a:ext cx="169" cy="168"/>
              </a:xfrm>
              <a:custGeom>
                <a:avLst/>
                <a:gdLst>
                  <a:gd name="T0" fmla="*/ 352 w 352"/>
                  <a:gd name="T1" fmla="*/ 0 h 349"/>
                  <a:gd name="T2" fmla="*/ 352 w 352"/>
                  <a:gd name="T3" fmla="*/ 30 h 349"/>
                  <a:gd name="T4" fmla="*/ 351 w 352"/>
                  <a:gd name="T5" fmla="*/ 293 h 349"/>
                  <a:gd name="T6" fmla="*/ 0 w 352"/>
                  <a:gd name="T7" fmla="*/ 293 h 349"/>
                  <a:gd name="T8" fmla="*/ 0 w 352"/>
                  <a:gd name="T9" fmla="*/ 30 h 349"/>
                  <a:gd name="T10" fmla="*/ 1 w 352"/>
                  <a:gd name="T11" fmla="*/ 0 h 349"/>
                  <a:gd name="T12" fmla="*/ 352 w 352"/>
                  <a:gd name="T13" fmla="*/ 0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2" h="349">
                    <a:moveTo>
                      <a:pt x="352" y="0"/>
                    </a:moveTo>
                    <a:lnTo>
                      <a:pt x="352" y="30"/>
                    </a:lnTo>
                    <a:lnTo>
                      <a:pt x="351" y="293"/>
                    </a:lnTo>
                    <a:cubicBezTo>
                      <a:pt x="254" y="349"/>
                      <a:pt x="97" y="349"/>
                      <a:pt x="0" y="293"/>
                    </a:cubicBezTo>
                    <a:lnTo>
                      <a:pt x="0" y="30"/>
                    </a:lnTo>
                    <a:lnTo>
                      <a:pt x="1" y="0"/>
                    </a:lnTo>
                    <a:cubicBezTo>
                      <a:pt x="98" y="56"/>
                      <a:pt x="255" y="56"/>
                      <a:pt x="352" y="0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14"/>
              <p:cNvSpPr>
                <a:spLocks/>
              </p:cNvSpPr>
              <p:nvPr/>
            </p:nvSpPr>
            <p:spPr bwMode="auto">
              <a:xfrm>
                <a:off x="2366" y="1512"/>
                <a:ext cx="2934" cy="1714"/>
              </a:xfrm>
              <a:custGeom>
                <a:avLst/>
                <a:gdLst>
                  <a:gd name="T0" fmla="*/ 6112 w 6112"/>
                  <a:gd name="T1" fmla="*/ 1236 h 3572"/>
                  <a:gd name="T2" fmla="*/ 6078 w 6112"/>
                  <a:gd name="T3" fmla="*/ 1308 h 3572"/>
                  <a:gd name="T4" fmla="*/ 6072 w 6112"/>
                  <a:gd name="T5" fmla="*/ 1314 h 3572"/>
                  <a:gd name="T6" fmla="*/ 6072 w 6112"/>
                  <a:gd name="T7" fmla="*/ 1315 h 3572"/>
                  <a:gd name="T8" fmla="*/ 6060 w 6112"/>
                  <a:gd name="T9" fmla="*/ 1324 h 3572"/>
                  <a:gd name="T10" fmla="*/ 6040 w 6112"/>
                  <a:gd name="T11" fmla="*/ 1337 h 3572"/>
                  <a:gd name="T12" fmla="*/ 2291 w 6112"/>
                  <a:gd name="T13" fmla="*/ 3516 h 3572"/>
                  <a:gd name="T14" fmla="*/ 1940 w 6112"/>
                  <a:gd name="T15" fmla="*/ 3516 h 3572"/>
                  <a:gd name="T16" fmla="*/ 73 w 6112"/>
                  <a:gd name="T17" fmla="*/ 2438 h 3572"/>
                  <a:gd name="T18" fmla="*/ 48 w 6112"/>
                  <a:gd name="T19" fmla="*/ 2421 h 3572"/>
                  <a:gd name="T20" fmla="*/ 48 w 6112"/>
                  <a:gd name="T21" fmla="*/ 2421 h 3572"/>
                  <a:gd name="T22" fmla="*/ 34 w 6112"/>
                  <a:gd name="T23" fmla="*/ 2409 h 3572"/>
                  <a:gd name="T24" fmla="*/ 4 w 6112"/>
                  <a:gd name="T25" fmla="*/ 2364 h 3572"/>
                  <a:gd name="T26" fmla="*/ 1 w 6112"/>
                  <a:gd name="T27" fmla="*/ 2351 h 3572"/>
                  <a:gd name="T28" fmla="*/ 0 w 6112"/>
                  <a:gd name="T29" fmla="*/ 2336 h 3572"/>
                  <a:gd name="T30" fmla="*/ 72 w 6112"/>
                  <a:gd name="T31" fmla="*/ 2235 h 3572"/>
                  <a:gd name="T32" fmla="*/ 2062 w 6112"/>
                  <a:gd name="T33" fmla="*/ 1078 h 3572"/>
                  <a:gd name="T34" fmla="*/ 2270 w 6112"/>
                  <a:gd name="T35" fmla="*/ 957 h 3572"/>
                  <a:gd name="T36" fmla="*/ 3821 w 6112"/>
                  <a:gd name="T37" fmla="*/ 56 h 3572"/>
                  <a:gd name="T38" fmla="*/ 4173 w 6112"/>
                  <a:gd name="T39" fmla="*/ 56 h 3572"/>
                  <a:gd name="T40" fmla="*/ 6039 w 6112"/>
                  <a:gd name="T41" fmla="*/ 1133 h 3572"/>
                  <a:gd name="T42" fmla="*/ 6112 w 6112"/>
                  <a:gd name="T43" fmla="*/ 1236 h 35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112" h="3572">
                    <a:moveTo>
                      <a:pt x="6112" y="1236"/>
                    </a:moveTo>
                    <a:cubicBezTo>
                      <a:pt x="6112" y="1261"/>
                      <a:pt x="6101" y="1286"/>
                      <a:pt x="6078" y="1308"/>
                    </a:cubicBezTo>
                    <a:cubicBezTo>
                      <a:pt x="6076" y="1310"/>
                      <a:pt x="6074" y="1312"/>
                      <a:pt x="6072" y="1314"/>
                    </a:cubicBezTo>
                    <a:lnTo>
                      <a:pt x="6072" y="1315"/>
                    </a:lnTo>
                    <a:cubicBezTo>
                      <a:pt x="6068" y="1318"/>
                      <a:pt x="6064" y="1321"/>
                      <a:pt x="6060" y="1324"/>
                    </a:cubicBezTo>
                    <a:cubicBezTo>
                      <a:pt x="6054" y="1328"/>
                      <a:pt x="6048" y="1333"/>
                      <a:pt x="6040" y="1337"/>
                    </a:cubicBezTo>
                    <a:lnTo>
                      <a:pt x="2291" y="3516"/>
                    </a:lnTo>
                    <a:cubicBezTo>
                      <a:pt x="2194" y="3572"/>
                      <a:pt x="2037" y="3572"/>
                      <a:pt x="1940" y="3516"/>
                    </a:cubicBezTo>
                    <a:lnTo>
                      <a:pt x="73" y="2438"/>
                    </a:lnTo>
                    <a:cubicBezTo>
                      <a:pt x="64" y="2433"/>
                      <a:pt x="56" y="2427"/>
                      <a:pt x="48" y="2421"/>
                    </a:cubicBezTo>
                    <a:lnTo>
                      <a:pt x="48" y="2421"/>
                    </a:lnTo>
                    <a:cubicBezTo>
                      <a:pt x="43" y="2417"/>
                      <a:pt x="39" y="2413"/>
                      <a:pt x="34" y="2409"/>
                    </a:cubicBezTo>
                    <a:cubicBezTo>
                      <a:pt x="20" y="2395"/>
                      <a:pt x="10" y="2380"/>
                      <a:pt x="4" y="2364"/>
                    </a:cubicBezTo>
                    <a:cubicBezTo>
                      <a:pt x="3" y="2360"/>
                      <a:pt x="2" y="2355"/>
                      <a:pt x="1" y="2351"/>
                    </a:cubicBezTo>
                    <a:cubicBezTo>
                      <a:pt x="0" y="2346"/>
                      <a:pt x="0" y="2341"/>
                      <a:pt x="0" y="2336"/>
                    </a:cubicBezTo>
                    <a:cubicBezTo>
                      <a:pt x="0" y="2299"/>
                      <a:pt x="24" y="2263"/>
                      <a:pt x="72" y="2235"/>
                    </a:cubicBezTo>
                    <a:lnTo>
                      <a:pt x="2062" y="1078"/>
                    </a:lnTo>
                    <a:lnTo>
                      <a:pt x="2270" y="957"/>
                    </a:lnTo>
                    <a:lnTo>
                      <a:pt x="3821" y="56"/>
                    </a:lnTo>
                    <a:cubicBezTo>
                      <a:pt x="3918" y="0"/>
                      <a:pt x="4075" y="0"/>
                      <a:pt x="4173" y="56"/>
                    </a:cubicBezTo>
                    <a:lnTo>
                      <a:pt x="6039" y="1133"/>
                    </a:lnTo>
                    <a:cubicBezTo>
                      <a:pt x="6088" y="1162"/>
                      <a:pt x="6112" y="1199"/>
                      <a:pt x="6112" y="1236"/>
                    </a:cubicBez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15"/>
              <p:cNvSpPr>
                <a:spLocks/>
              </p:cNvSpPr>
              <p:nvPr/>
            </p:nvSpPr>
            <p:spPr bwMode="auto">
              <a:xfrm>
                <a:off x="5266" y="2106"/>
                <a:ext cx="34" cy="62"/>
              </a:xfrm>
              <a:custGeom>
                <a:avLst/>
                <a:gdLst>
                  <a:gd name="T0" fmla="*/ 0 w 72"/>
                  <a:gd name="T1" fmla="*/ 130 h 130"/>
                  <a:gd name="T2" fmla="*/ 0 w 72"/>
                  <a:gd name="T3" fmla="*/ 130 h 130"/>
                  <a:gd name="T4" fmla="*/ 0 w 72"/>
                  <a:gd name="T5" fmla="*/ 99 h 130"/>
                  <a:gd name="T6" fmla="*/ 0 w 72"/>
                  <a:gd name="T7" fmla="*/ 99 h 130"/>
                  <a:gd name="T8" fmla="*/ 17 w 72"/>
                  <a:gd name="T9" fmla="*/ 88 h 130"/>
                  <a:gd name="T10" fmla="*/ 23 w 72"/>
                  <a:gd name="T11" fmla="*/ 84 h 130"/>
                  <a:gd name="T12" fmla="*/ 32 w 72"/>
                  <a:gd name="T13" fmla="*/ 77 h 130"/>
                  <a:gd name="T14" fmla="*/ 32 w 72"/>
                  <a:gd name="T15" fmla="*/ 76 h 130"/>
                  <a:gd name="T16" fmla="*/ 34 w 72"/>
                  <a:gd name="T17" fmla="*/ 75 h 130"/>
                  <a:gd name="T18" fmla="*/ 55 w 72"/>
                  <a:gd name="T19" fmla="*/ 50 h 130"/>
                  <a:gd name="T20" fmla="*/ 72 w 72"/>
                  <a:gd name="T21" fmla="*/ 0 h 130"/>
                  <a:gd name="T22" fmla="*/ 72 w 72"/>
                  <a:gd name="T23" fmla="*/ 72 h 130"/>
                  <a:gd name="T24" fmla="*/ 14 w 72"/>
                  <a:gd name="T25" fmla="*/ 122 h 130"/>
                  <a:gd name="T26" fmla="*/ 0 w 72"/>
                  <a:gd name="T27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2" h="130">
                    <a:moveTo>
                      <a:pt x="0" y="130"/>
                    </a:moveTo>
                    <a:lnTo>
                      <a:pt x="0" y="130"/>
                    </a:lnTo>
                    <a:lnTo>
                      <a:pt x="0" y="99"/>
                    </a:lnTo>
                    <a:lnTo>
                      <a:pt x="0" y="99"/>
                    </a:lnTo>
                    <a:cubicBezTo>
                      <a:pt x="6" y="96"/>
                      <a:pt x="12" y="92"/>
                      <a:pt x="17" y="88"/>
                    </a:cubicBezTo>
                    <a:cubicBezTo>
                      <a:pt x="19" y="87"/>
                      <a:pt x="21" y="85"/>
                      <a:pt x="23" y="84"/>
                    </a:cubicBezTo>
                    <a:cubicBezTo>
                      <a:pt x="26" y="82"/>
                      <a:pt x="29" y="79"/>
                      <a:pt x="32" y="77"/>
                    </a:cubicBezTo>
                    <a:lnTo>
                      <a:pt x="32" y="76"/>
                    </a:lnTo>
                    <a:cubicBezTo>
                      <a:pt x="33" y="76"/>
                      <a:pt x="33" y="75"/>
                      <a:pt x="34" y="75"/>
                    </a:cubicBezTo>
                    <a:cubicBezTo>
                      <a:pt x="42" y="67"/>
                      <a:pt x="49" y="59"/>
                      <a:pt x="55" y="50"/>
                    </a:cubicBezTo>
                    <a:cubicBezTo>
                      <a:pt x="66" y="34"/>
                      <a:pt x="72" y="17"/>
                      <a:pt x="72" y="0"/>
                    </a:cubicBezTo>
                    <a:lnTo>
                      <a:pt x="72" y="72"/>
                    </a:lnTo>
                    <a:cubicBezTo>
                      <a:pt x="58" y="91"/>
                      <a:pt x="38" y="108"/>
                      <a:pt x="14" y="122"/>
                    </a:cubicBezTo>
                    <a:lnTo>
                      <a:pt x="0" y="130"/>
                    </a:lnTo>
                  </a:path>
                </a:pathLst>
              </a:custGeom>
              <a:solidFill>
                <a:srgbClr val="A8A8A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16"/>
              <p:cNvSpPr>
                <a:spLocks/>
              </p:cNvSpPr>
              <p:nvPr/>
            </p:nvSpPr>
            <p:spPr bwMode="auto">
              <a:xfrm>
                <a:off x="2366" y="2633"/>
                <a:ext cx="35" cy="64"/>
              </a:xfrm>
              <a:custGeom>
                <a:avLst/>
                <a:gdLst>
                  <a:gd name="T0" fmla="*/ 74 w 74"/>
                  <a:gd name="T1" fmla="*/ 133 h 133"/>
                  <a:gd name="T2" fmla="*/ 61 w 74"/>
                  <a:gd name="T3" fmla="*/ 125 h 133"/>
                  <a:gd name="T4" fmla="*/ 0 w 74"/>
                  <a:gd name="T5" fmla="*/ 74 h 133"/>
                  <a:gd name="T6" fmla="*/ 1 w 74"/>
                  <a:gd name="T7" fmla="*/ 0 h 133"/>
                  <a:gd name="T8" fmla="*/ 63 w 74"/>
                  <a:gd name="T9" fmla="*/ 95 h 133"/>
                  <a:gd name="T10" fmla="*/ 74 w 74"/>
                  <a:gd name="T11" fmla="*/ 102 h 133"/>
                  <a:gd name="T12" fmla="*/ 74 w 74"/>
                  <a:gd name="T13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" h="133">
                    <a:moveTo>
                      <a:pt x="74" y="133"/>
                    </a:moveTo>
                    <a:lnTo>
                      <a:pt x="61" y="125"/>
                    </a:lnTo>
                    <a:cubicBezTo>
                      <a:pt x="35" y="110"/>
                      <a:pt x="15" y="93"/>
                      <a:pt x="0" y="74"/>
                    </a:cubicBezTo>
                    <a:lnTo>
                      <a:pt x="1" y="0"/>
                    </a:lnTo>
                    <a:cubicBezTo>
                      <a:pt x="1" y="34"/>
                      <a:pt x="22" y="68"/>
                      <a:pt x="63" y="95"/>
                    </a:cubicBezTo>
                    <a:cubicBezTo>
                      <a:pt x="67" y="98"/>
                      <a:pt x="70" y="100"/>
                      <a:pt x="74" y="102"/>
                    </a:cubicBezTo>
                    <a:lnTo>
                      <a:pt x="74" y="133"/>
                    </a:lnTo>
                  </a:path>
                </a:pathLst>
              </a:custGeom>
              <a:solidFill>
                <a:srgbClr val="5151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17"/>
              <p:cNvSpPr>
                <a:spLocks/>
              </p:cNvSpPr>
              <p:nvPr/>
            </p:nvSpPr>
            <p:spPr bwMode="auto">
              <a:xfrm>
                <a:off x="3466" y="2153"/>
                <a:ext cx="1800" cy="1061"/>
              </a:xfrm>
              <a:custGeom>
                <a:avLst/>
                <a:gdLst>
                  <a:gd name="T0" fmla="*/ 0 w 3749"/>
                  <a:gd name="T1" fmla="*/ 2209 h 2209"/>
                  <a:gd name="T2" fmla="*/ 0 w 3749"/>
                  <a:gd name="T3" fmla="*/ 2209 h 2209"/>
                  <a:gd name="T4" fmla="*/ 0 w 3749"/>
                  <a:gd name="T5" fmla="*/ 2179 h 2209"/>
                  <a:gd name="T6" fmla="*/ 0 w 3749"/>
                  <a:gd name="T7" fmla="*/ 2179 h 2209"/>
                  <a:gd name="T8" fmla="*/ 1217 w 3749"/>
                  <a:gd name="T9" fmla="*/ 1471 h 2209"/>
                  <a:gd name="T10" fmla="*/ 3749 w 3749"/>
                  <a:gd name="T11" fmla="*/ 0 h 2209"/>
                  <a:gd name="T12" fmla="*/ 3749 w 3749"/>
                  <a:gd name="T13" fmla="*/ 31 h 2209"/>
                  <a:gd name="T14" fmla="*/ 13 w 3749"/>
                  <a:gd name="T15" fmla="*/ 2202 h 2209"/>
                  <a:gd name="T16" fmla="*/ 0 w 3749"/>
                  <a:gd name="T17" fmla="*/ 2209 h 2209"/>
                  <a:gd name="T18" fmla="*/ 0 w 3749"/>
                  <a:gd name="T19" fmla="*/ 2209 h 2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49" h="2209">
                    <a:moveTo>
                      <a:pt x="0" y="2209"/>
                    </a:moveTo>
                    <a:lnTo>
                      <a:pt x="0" y="2209"/>
                    </a:lnTo>
                    <a:lnTo>
                      <a:pt x="0" y="2179"/>
                    </a:lnTo>
                    <a:lnTo>
                      <a:pt x="0" y="2179"/>
                    </a:lnTo>
                    <a:lnTo>
                      <a:pt x="1217" y="1471"/>
                    </a:lnTo>
                    <a:lnTo>
                      <a:pt x="3749" y="0"/>
                    </a:lnTo>
                    <a:lnTo>
                      <a:pt x="3749" y="31"/>
                    </a:lnTo>
                    <a:lnTo>
                      <a:pt x="13" y="2202"/>
                    </a:lnTo>
                    <a:cubicBezTo>
                      <a:pt x="9" y="2204"/>
                      <a:pt x="4" y="2207"/>
                      <a:pt x="0" y="2209"/>
                    </a:cubicBezTo>
                    <a:lnTo>
                      <a:pt x="0" y="2209"/>
                    </a:lnTo>
                  </a:path>
                </a:pathLst>
              </a:custGeom>
              <a:solidFill>
                <a:srgbClr val="9393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18"/>
              <p:cNvSpPr>
                <a:spLocks/>
              </p:cNvSpPr>
              <p:nvPr/>
            </p:nvSpPr>
            <p:spPr bwMode="auto">
              <a:xfrm>
                <a:off x="2401" y="2682"/>
                <a:ext cx="897" cy="532"/>
              </a:xfrm>
              <a:custGeom>
                <a:avLst/>
                <a:gdLst>
                  <a:gd name="T0" fmla="*/ 1866 w 1867"/>
                  <a:gd name="T1" fmla="*/ 1108 h 1108"/>
                  <a:gd name="T2" fmla="*/ 1853 w 1867"/>
                  <a:gd name="T3" fmla="*/ 1101 h 1108"/>
                  <a:gd name="T4" fmla="*/ 0 w 1867"/>
                  <a:gd name="T5" fmla="*/ 31 h 1108"/>
                  <a:gd name="T6" fmla="*/ 0 w 1867"/>
                  <a:gd name="T7" fmla="*/ 0 h 1108"/>
                  <a:gd name="T8" fmla="*/ 0 w 1867"/>
                  <a:gd name="T9" fmla="*/ 0 h 1108"/>
                  <a:gd name="T10" fmla="*/ 1291 w 1867"/>
                  <a:gd name="T11" fmla="*/ 746 h 1108"/>
                  <a:gd name="T12" fmla="*/ 1867 w 1867"/>
                  <a:gd name="T13" fmla="*/ 1078 h 1108"/>
                  <a:gd name="T14" fmla="*/ 1866 w 1867"/>
                  <a:gd name="T15" fmla="*/ 1108 h 1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67" h="1108">
                    <a:moveTo>
                      <a:pt x="1866" y="1108"/>
                    </a:moveTo>
                    <a:cubicBezTo>
                      <a:pt x="1862" y="1106"/>
                      <a:pt x="1857" y="1103"/>
                      <a:pt x="1853" y="1101"/>
                    </a:cubicBezTo>
                    <a:lnTo>
                      <a:pt x="0" y="31"/>
                    </a:lnTo>
                    <a:lnTo>
                      <a:pt x="0" y="0"/>
                    </a:lnTo>
                    <a:cubicBezTo>
                      <a:pt x="0" y="0"/>
                      <a:pt x="0" y="0"/>
                      <a:pt x="0" y="0"/>
                    </a:cubicBezTo>
                    <a:lnTo>
                      <a:pt x="1291" y="746"/>
                    </a:lnTo>
                    <a:lnTo>
                      <a:pt x="1867" y="1078"/>
                    </a:lnTo>
                    <a:lnTo>
                      <a:pt x="1866" y="1108"/>
                    </a:lnTo>
                    <a:close/>
                  </a:path>
                </a:pathLst>
              </a:custGeom>
              <a:solidFill>
                <a:srgbClr val="6868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19"/>
              <p:cNvSpPr>
                <a:spLocks/>
              </p:cNvSpPr>
              <p:nvPr/>
            </p:nvSpPr>
            <p:spPr bwMode="auto">
              <a:xfrm>
                <a:off x="3297" y="3199"/>
                <a:ext cx="169" cy="34"/>
              </a:xfrm>
              <a:custGeom>
                <a:avLst/>
                <a:gdLst>
                  <a:gd name="T0" fmla="*/ 176 w 352"/>
                  <a:gd name="T1" fmla="*/ 69 h 69"/>
                  <a:gd name="T2" fmla="*/ 0 w 352"/>
                  <a:gd name="T3" fmla="*/ 30 h 69"/>
                  <a:gd name="T4" fmla="*/ 0 w 352"/>
                  <a:gd name="T5" fmla="*/ 30 h 69"/>
                  <a:gd name="T6" fmla="*/ 1 w 352"/>
                  <a:gd name="T7" fmla="*/ 0 h 69"/>
                  <a:gd name="T8" fmla="*/ 176 w 352"/>
                  <a:gd name="T9" fmla="*/ 42 h 69"/>
                  <a:gd name="T10" fmla="*/ 352 w 352"/>
                  <a:gd name="T11" fmla="*/ 0 h 69"/>
                  <a:gd name="T12" fmla="*/ 352 w 352"/>
                  <a:gd name="T13" fmla="*/ 30 h 69"/>
                  <a:gd name="T14" fmla="*/ 176 w 352"/>
                  <a:gd name="T15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2" h="69">
                    <a:moveTo>
                      <a:pt x="176" y="69"/>
                    </a:moveTo>
                    <a:cubicBezTo>
                      <a:pt x="111" y="69"/>
                      <a:pt x="50" y="55"/>
                      <a:pt x="0" y="30"/>
                    </a:cubicBezTo>
                    <a:lnTo>
                      <a:pt x="0" y="30"/>
                    </a:lnTo>
                    <a:lnTo>
                      <a:pt x="1" y="0"/>
                    </a:lnTo>
                    <a:cubicBezTo>
                      <a:pt x="49" y="28"/>
                      <a:pt x="113" y="42"/>
                      <a:pt x="176" y="42"/>
                    </a:cubicBezTo>
                    <a:cubicBezTo>
                      <a:pt x="240" y="42"/>
                      <a:pt x="304" y="28"/>
                      <a:pt x="352" y="0"/>
                    </a:cubicBezTo>
                    <a:lnTo>
                      <a:pt x="352" y="30"/>
                    </a:lnTo>
                    <a:cubicBezTo>
                      <a:pt x="303" y="55"/>
                      <a:pt x="241" y="69"/>
                      <a:pt x="176" y="69"/>
                    </a:cubicBezTo>
                    <a:close/>
                  </a:path>
                </a:pathLst>
              </a:custGeom>
              <a:solidFill>
                <a:srgbClr val="7D7D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0"/>
              <p:cNvSpPr>
                <a:spLocks noEditPoints="1"/>
              </p:cNvSpPr>
              <p:nvPr/>
            </p:nvSpPr>
            <p:spPr bwMode="auto">
              <a:xfrm>
                <a:off x="2396" y="2105"/>
                <a:ext cx="2904" cy="935"/>
              </a:xfrm>
              <a:custGeom>
                <a:avLst/>
                <a:gdLst>
                  <a:gd name="T0" fmla="*/ 1302 w 6050"/>
                  <a:gd name="T1" fmla="*/ 1948 h 1948"/>
                  <a:gd name="T2" fmla="*/ 11 w 6050"/>
                  <a:gd name="T3" fmla="*/ 1202 h 1948"/>
                  <a:gd name="T4" fmla="*/ 11 w 6050"/>
                  <a:gd name="T5" fmla="*/ 1202 h 1948"/>
                  <a:gd name="T6" fmla="*/ 11 w 6050"/>
                  <a:gd name="T7" fmla="*/ 1202 h 1948"/>
                  <a:gd name="T8" fmla="*/ 0 w 6050"/>
                  <a:gd name="T9" fmla="*/ 1195 h 1948"/>
                  <a:gd name="T10" fmla="*/ 11 w 6050"/>
                  <a:gd name="T11" fmla="*/ 1202 h 1948"/>
                  <a:gd name="T12" fmla="*/ 1302 w 6050"/>
                  <a:gd name="T13" fmla="*/ 1948 h 1948"/>
                  <a:gd name="T14" fmla="*/ 3446 w 6050"/>
                  <a:gd name="T15" fmla="*/ 1572 h 1948"/>
                  <a:gd name="T16" fmla="*/ 5978 w 6050"/>
                  <a:gd name="T17" fmla="*/ 101 h 1948"/>
                  <a:gd name="T18" fmla="*/ 5995 w 6050"/>
                  <a:gd name="T19" fmla="*/ 90 h 1948"/>
                  <a:gd name="T20" fmla="*/ 5978 w 6050"/>
                  <a:gd name="T21" fmla="*/ 101 h 1948"/>
                  <a:gd name="T22" fmla="*/ 5978 w 6050"/>
                  <a:gd name="T23" fmla="*/ 101 h 1948"/>
                  <a:gd name="T24" fmla="*/ 3446 w 6050"/>
                  <a:gd name="T25" fmla="*/ 1572 h 1948"/>
                  <a:gd name="T26" fmla="*/ 6001 w 6050"/>
                  <a:gd name="T27" fmla="*/ 86 h 1948"/>
                  <a:gd name="T28" fmla="*/ 6012 w 6050"/>
                  <a:gd name="T29" fmla="*/ 77 h 1948"/>
                  <a:gd name="T30" fmla="*/ 6010 w 6050"/>
                  <a:gd name="T31" fmla="*/ 78 h 1948"/>
                  <a:gd name="T32" fmla="*/ 6010 w 6050"/>
                  <a:gd name="T33" fmla="*/ 79 h 1948"/>
                  <a:gd name="T34" fmla="*/ 6001 w 6050"/>
                  <a:gd name="T35" fmla="*/ 86 h 1948"/>
                  <a:gd name="T36" fmla="*/ 6033 w 6050"/>
                  <a:gd name="T37" fmla="*/ 52 h 1948"/>
                  <a:gd name="T38" fmla="*/ 6050 w 6050"/>
                  <a:gd name="T39" fmla="*/ 0 h 1948"/>
                  <a:gd name="T40" fmla="*/ 6050 w 6050"/>
                  <a:gd name="T41" fmla="*/ 2 h 1948"/>
                  <a:gd name="T42" fmla="*/ 6050 w 6050"/>
                  <a:gd name="T43" fmla="*/ 2 h 1948"/>
                  <a:gd name="T44" fmla="*/ 6033 w 6050"/>
                  <a:gd name="T45" fmla="*/ 52 h 1948"/>
                  <a:gd name="T46" fmla="*/ 6050 w 6050"/>
                  <a:gd name="T47" fmla="*/ 0 h 1948"/>
                  <a:gd name="T48" fmla="*/ 6050 w 6050"/>
                  <a:gd name="T49" fmla="*/ 0 h 1948"/>
                  <a:gd name="T50" fmla="*/ 6050 w 6050"/>
                  <a:gd name="T51" fmla="*/ 0 h 19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50" h="1948">
                    <a:moveTo>
                      <a:pt x="1302" y="1948"/>
                    </a:moveTo>
                    <a:lnTo>
                      <a:pt x="11" y="1202"/>
                    </a:lnTo>
                    <a:cubicBezTo>
                      <a:pt x="11" y="1202"/>
                      <a:pt x="11" y="1202"/>
                      <a:pt x="11" y="1202"/>
                    </a:cubicBezTo>
                    <a:lnTo>
                      <a:pt x="11" y="1202"/>
                    </a:lnTo>
                    <a:cubicBezTo>
                      <a:pt x="7" y="1200"/>
                      <a:pt x="4" y="1198"/>
                      <a:pt x="0" y="1195"/>
                    </a:cubicBezTo>
                    <a:cubicBezTo>
                      <a:pt x="4" y="1198"/>
                      <a:pt x="7" y="1200"/>
                      <a:pt x="11" y="1202"/>
                    </a:cubicBezTo>
                    <a:lnTo>
                      <a:pt x="1302" y="1948"/>
                    </a:lnTo>
                    <a:close/>
                    <a:moveTo>
                      <a:pt x="3446" y="1572"/>
                    </a:moveTo>
                    <a:lnTo>
                      <a:pt x="5978" y="101"/>
                    </a:lnTo>
                    <a:cubicBezTo>
                      <a:pt x="5984" y="97"/>
                      <a:pt x="5990" y="94"/>
                      <a:pt x="5995" y="90"/>
                    </a:cubicBezTo>
                    <a:cubicBezTo>
                      <a:pt x="5990" y="94"/>
                      <a:pt x="5984" y="98"/>
                      <a:pt x="5978" y="101"/>
                    </a:cubicBezTo>
                    <a:lnTo>
                      <a:pt x="5978" y="101"/>
                    </a:lnTo>
                    <a:lnTo>
                      <a:pt x="3446" y="1572"/>
                    </a:lnTo>
                    <a:moveTo>
                      <a:pt x="6001" y="86"/>
                    </a:moveTo>
                    <a:cubicBezTo>
                      <a:pt x="6005" y="83"/>
                      <a:pt x="6008" y="80"/>
                      <a:pt x="6012" y="77"/>
                    </a:cubicBezTo>
                    <a:cubicBezTo>
                      <a:pt x="6011" y="77"/>
                      <a:pt x="6011" y="78"/>
                      <a:pt x="6010" y="78"/>
                    </a:cubicBezTo>
                    <a:lnTo>
                      <a:pt x="6010" y="79"/>
                    </a:lnTo>
                    <a:cubicBezTo>
                      <a:pt x="6007" y="81"/>
                      <a:pt x="6004" y="84"/>
                      <a:pt x="6001" y="86"/>
                    </a:cubicBezTo>
                    <a:moveTo>
                      <a:pt x="6033" y="52"/>
                    </a:moveTo>
                    <a:cubicBezTo>
                      <a:pt x="6044" y="36"/>
                      <a:pt x="6050" y="18"/>
                      <a:pt x="6050" y="0"/>
                    </a:cubicBezTo>
                    <a:lnTo>
                      <a:pt x="6050" y="2"/>
                    </a:lnTo>
                    <a:lnTo>
                      <a:pt x="6050" y="2"/>
                    </a:lnTo>
                    <a:cubicBezTo>
                      <a:pt x="6050" y="19"/>
                      <a:pt x="6044" y="36"/>
                      <a:pt x="6033" y="52"/>
                    </a:cubicBezTo>
                    <a:moveTo>
                      <a:pt x="6050" y="0"/>
                    </a:moveTo>
                    <a:lnTo>
                      <a:pt x="6050" y="0"/>
                    </a:lnTo>
                    <a:lnTo>
                      <a:pt x="6050" y="0"/>
                    </a:lnTo>
                    <a:close/>
                  </a:path>
                </a:pathLst>
              </a:custGeom>
              <a:solidFill>
                <a:srgbClr val="26262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1"/>
              <p:cNvSpPr>
                <a:spLocks/>
              </p:cNvSpPr>
              <p:nvPr/>
            </p:nvSpPr>
            <p:spPr bwMode="auto">
              <a:xfrm>
                <a:off x="2393" y="2805"/>
                <a:ext cx="487" cy="295"/>
              </a:xfrm>
              <a:custGeom>
                <a:avLst/>
                <a:gdLst>
                  <a:gd name="T0" fmla="*/ 1015 w 1015"/>
                  <a:gd name="T1" fmla="*/ 613 h 613"/>
                  <a:gd name="T2" fmla="*/ 16 w 1015"/>
                  <a:gd name="T3" fmla="*/ 36 h 613"/>
                  <a:gd name="T4" fmla="*/ 0 w 1015"/>
                  <a:gd name="T5" fmla="*/ 26 h 613"/>
                  <a:gd name="T6" fmla="*/ 16 w 1015"/>
                  <a:gd name="T7" fmla="*/ 36 h 613"/>
                  <a:gd name="T8" fmla="*/ 16 w 1015"/>
                  <a:gd name="T9" fmla="*/ 0 h 613"/>
                  <a:gd name="T10" fmla="*/ 16 w 1015"/>
                  <a:gd name="T11" fmla="*/ 36 h 613"/>
                  <a:gd name="T12" fmla="*/ 1015 w 1015"/>
                  <a:gd name="T13" fmla="*/ 613 h 613"/>
                  <a:gd name="T14" fmla="*/ 1015 w 1015"/>
                  <a:gd name="T15" fmla="*/ 613 h 6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15" h="613">
                    <a:moveTo>
                      <a:pt x="1015" y="613"/>
                    </a:moveTo>
                    <a:lnTo>
                      <a:pt x="16" y="36"/>
                    </a:lnTo>
                    <a:cubicBezTo>
                      <a:pt x="10" y="33"/>
                      <a:pt x="5" y="29"/>
                      <a:pt x="0" y="26"/>
                    </a:cubicBezTo>
                    <a:cubicBezTo>
                      <a:pt x="5" y="29"/>
                      <a:pt x="10" y="33"/>
                      <a:pt x="16" y="36"/>
                    </a:cubicBezTo>
                    <a:lnTo>
                      <a:pt x="16" y="0"/>
                    </a:lnTo>
                    <a:lnTo>
                      <a:pt x="16" y="36"/>
                    </a:lnTo>
                    <a:lnTo>
                      <a:pt x="1015" y="613"/>
                    </a:lnTo>
                    <a:lnTo>
                      <a:pt x="1015" y="613"/>
                    </a:lnTo>
                    <a:close/>
                  </a:path>
                </a:pathLst>
              </a:custGeom>
              <a:solidFill>
                <a:srgbClr val="3E97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2"/>
              <p:cNvSpPr>
                <a:spLocks noEditPoints="1"/>
              </p:cNvSpPr>
              <p:nvPr/>
            </p:nvSpPr>
            <p:spPr bwMode="auto">
              <a:xfrm>
                <a:off x="2880" y="2290"/>
                <a:ext cx="2391" cy="1070"/>
              </a:xfrm>
              <a:custGeom>
                <a:avLst/>
                <a:gdLst>
                  <a:gd name="T0" fmla="*/ 1044 w 4981"/>
                  <a:gd name="T1" fmla="*/ 2229 h 2229"/>
                  <a:gd name="T2" fmla="*/ 868 w 4981"/>
                  <a:gd name="T3" fmla="*/ 2187 h 2229"/>
                  <a:gd name="T4" fmla="*/ 0 w 4981"/>
                  <a:gd name="T5" fmla="*/ 1686 h 2229"/>
                  <a:gd name="T6" fmla="*/ 0 w 4981"/>
                  <a:gd name="T7" fmla="*/ 1686 h 2229"/>
                  <a:gd name="T8" fmla="*/ 868 w 4981"/>
                  <a:gd name="T9" fmla="*/ 2187 h 2229"/>
                  <a:gd name="T10" fmla="*/ 868 w 4981"/>
                  <a:gd name="T11" fmla="*/ 2150 h 2229"/>
                  <a:gd name="T12" fmla="*/ 868 w 4981"/>
                  <a:gd name="T13" fmla="*/ 2150 h 2229"/>
                  <a:gd name="T14" fmla="*/ 868 w 4981"/>
                  <a:gd name="T15" fmla="*/ 2187 h 2229"/>
                  <a:gd name="T16" fmla="*/ 1044 w 4981"/>
                  <a:gd name="T17" fmla="*/ 2229 h 2229"/>
                  <a:gd name="T18" fmla="*/ 1117 w 4981"/>
                  <a:gd name="T19" fmla="*/ 2223 h 2229"/>
                  <a:gd name="T20" fmla="*/ 1044 w 4981"/>
                  <a:gd name="T21" fmla="*/ 2229 h 2229"/>
                  <a:gd name="T22" fmla="*/ 3510 w 4981"/>
                  <a:gd name="T23" fmla="*/ 856 h 2229"/>
                  <a:gd name="T24" fmla="*/ 4968 w 4981"/>
                  <a:gd name="T25" fmla="*/ 8 h 2229"/>
                  <a:gd name="T26" fmla="*/ 4981 w 4981"/>
                  <a:gd name="T27" fmla="*/ 0 h 2229"/>
                  <a:gd name="T28" fmla="*/ 4968 w 4981"/>
                  <a:gd name="T29" fmla="*/ 8 h 2229"/>
                  <a:gd name="T30" fmla="*/ 3510 w 4981"/>
                  <a:gd name="T31" fmla="*/ 856 h 2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981" h="2229">
                    <a:moveTo>
                      <a:pt x="1044" y="2229"/>
                    </a:moveTo>
                    <a:cubicBezTo>
                      <a:pt x="980" y="2229"/>
                      <a:pt x="916" y="2215"/>
                      <a:pt x="868" y="2187"/>
                    </a:cubicBezTo>
                    <a:lnTo>
                      <a:pt x="0" y="1686"/>
                    </a:lnTo>
                    <a:lnTo>
                      <a:pt x="0" y="1686"/>
                    </a:lnTo>
                    <a:lnTo>
                      <a:pt x="868" y="2187"/>
                    </a:lnTo>
                    <a:lnTo>
                      <a:pt x="868" y="2150"/>
                    </a:lnTo>
                    <a:lnTo>
                      <a:pt x="868" y="2150"/>
                    </a:lnTo>
                    <a:lnTo>
                      <a:pt x="868" y="2187"/>
                    </a:lnTo>
                    <a:cubicBezTo>
                      <a:pt x="916" y="2215"/>
                      <a:pt x="980" y="2229"/>
                      <a:pt x="1044" y="2229"/>
                    </a:cubicBezTo>
                    <a:cubicBezTo>
                      <a:pt x="1068" y="2229"/>
                      <a:pt x="1093" y="2227"/>
                      <a:pt x="1117" y="2223"/>
                    </a:cubicBezTo>
                    <a:cubicBezTo>
                      <a:pt x="1093" y="2227"/>
                      <a:pt x="1068" y="2229"/>
                      <a:pt x="1044" y="2229"/>
                    </a:cubicBezTo>
                    <a:moveTo>
                      <a:pt x="3510" y="856"/>
                    </a:moveTo>
                    <a:lnTo>
                      <a:pt x="4968" y="8"/>
                    </a:lnTo>
                    <a:cubicBezTo>
                      <a:pt x="4973" y="5"/>
                      <a:pt x="4977" y="3"/>
                      <a:pt x="4981" y="0"/>
                    </a:cubicBezTo>
                    <a:cubicBezTo>
                      <a:pt x="4977" y="3"/>
                      <a:pt x="4973" y="5"/>
                      <a:pt x="4968" y="8"/>
                    </a:cubicBezTo>
                    <a:lnTo>
                      <a:pt x="3510" y="856"/>
                    </a:lnTo>
                  </a:path>
                </a:pathLst>
              </a:custGeom>
              <a:solidFill>
                <a:srgbClr val="327D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3"/>
              <p:cNvSpPr>
                <a:spLocks/>
              </p:cNvSpPr>
              <p:nvPr/>
            </p:nvSpPr>
            <p:spPr bwMode="auto">
              <a:xfrm>
                <a:off x="5265" y="2250"/>
                <a:ext cx="35" cy="44"/>
              </a:xfrm>
              <a:custGeom>
                <a:avLst/>
                <a:gdLst>
                  <a:gd name="T0" fmla="*/ 0 w 72"/>
                  <a:gd name="T1" fmla="*/ 92 h 92"/>
                  <a:gd name="T2" fmla="*/ 1 w 72"/>
                  <a:gd name="T3" fmla="*/ 56 h 92"/>
                  <a:gd name="T4" fmla="*/ 15 w 72"/>
                  <a:gd name="T5" fmla="*/ 48 h 92"/>
                  <a:gd name="T6" fmla="*/ 72 w 72"/>
                  <a:gd name="T7" fmla="*/ 0 h 92"/>
                  <a:gd name="T8" fmla="*/ 13 w 72"/>
                  <a:gd name="T9" fmla="*/ 84 h 92"/>
                  <a:gd name="T10" fmla="*/ 0 w 72"/>
                  <a:gd name="T11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92">
                    <a:moveTo>
                      <a:pt x="0" y="92"/>
                    </a:moveTo>
                    <a:lnTo>
                      <a:pt x="1" y="56"/>
                    </a:lnTo>
                    <a:lnTo>
                      <a:pt x="15" y="48"/>
                    </a:lnTo>
                    <a:cubicBezTo>
                      <a:pt x="39" y="34"/>
                      <a:pt x="58" y="18"/>
                      <a:pt x="72" y="0"/>
                    </a:cubicBezTo>
                    <a:cubicBezTo>
                      <a:pt x="68" y="30"/>
                      <a:pt x="49" y="60"/>
                      <a:pt x="13" y="84"/>
                    </a:cubicBezTo>
                    <a:cubicBezTo>
                      <a:pt x="9" y="87"/>
                      <a:pt x="5" y="89"/>
                      <a:pt x="0" y="92"/>
                    </a:cubicBezTo>
                  </a:path>
                </a:pathLst>
              </a:custGeom>
              <a:solidFill>
                <a:srgbClr val="7979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24"/>
              <p:cNvSpPr>
                <a:spLocks/>
              </p:cNvSpPr>
              <p:nvPr/>
            </p:nvSpPr>
            <p:spPr bwMode="auto">
              <a:xfrm>
                <a:off x="2366" y="2777"/>
                <a:ext cx="35" cy="46"/>
              </a:xfrm>
              <a:custGeom>
                <a:avLst/>
                <a:gdLst>
                  <a:gd name="T0" fmla="*/ 73 w 73"/>
                  <a:gd name="T1" fmla="*/ 95 h 95"/>
                  <a:gd name="T2" fmla="*/ 57 w 73"/>
                  <a:gd name="T3" fmla="*/ 85 h 95"/>
                  <a:gd name="T4" fmla="*/ 0 w 73"/>
                  <a:gd name="T5" fmla="*/ 0 h 95"/>
                  <a:gd name="T6" fmla="*/ 61 w 73"/>
                  <a:gd name="T7" fmla="*/ 52 h 95"/>
                  <a:gd name="T8" fmla="*/ 73 w 73"/>
                  <a:gd name="T9" fmla="*/ 59 h 95"/>
                  <a:gd name="T10" fmla="*/ 73 w 73"/>
                  <a:gd name="T1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3" h="95">
                    <a:moveTo>
                      <a:pt x="73" y="95"/>
                    </a:moveTo>
                    <a:cubicBezTo>
                      <a:pt x="67" y="92"/>
                      <a:pt x="62" y="88"/>
                      <a:pt x="57" y="85"/>
                    </a:cubicBezTo>
                    <a:cubicBezTo>
                      <a:pt x="22" y="60"/>
                      <a:pt x="3" y="30"/>
                      <a:pt x="0" y="0"/>
                    </a:cubicBezTo>
                    <a:cubicBezTo>
                      <a:pt x="15" y="19"/>
                      <a:pt x="35" y="37"/>
                      <a:pt x="61" y="52"/>
                    </a:cubicBezTo>
                    <a:lnTo>
                      <a:pt x="73" y="59"/>
                    </a:lnTo>
                    <a:lnTo>
                      <a:pt x="73" y="95"/>
                    </a:ln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5"/>
              <p:cNvSpPr>
                <a:spLocks/>
              </p:cNvSpPr>
              <p:nvPr/>
            </p:nvSpPr>
            <p:spPr bwMode="auto">
              <a:xfrm>
                <a:off x="3466" y="2277"/>
                <a:ext cx="1800" cy="1063"/>
              </a:xfrm>
              <a:custGeom>
                <a:avLst/>
                <a:gdLst>
                  <a:gd name="T0" fmla="*/ 0 w 3750"/>
                  <a:gd name="T1" fmla="*/ 2215 h 2215"/>
                  <a:gd name="T2" fmla="*/ 0 w 3750"/>
                  <a:gd name="T3" fmla="*/ 2179 h 2215"/>
                  <a:gd name="T4" fmla="*/ 14 w 3750"/>
                  <a:gd name="T5" fmla="*/ 2171 h 2215"/>
                  <a:gd name="T6" fmla="*/ 3750 w 3750"/>
                  <a:gd name="T7" fmla="*/ 0 h 2215"/>
                  <a:gd name="T8" fmla="*/ 3749 w 3750"/>
                  <a:gd name="T9" fmla="*/ 36 h 2215"/>
                  <a:gd name="T10" fmla="*/ 2291 w 3750"/>
                  <a:gd name="T11" fmla="*/ 884 h 2215"/>
                  <a:gd name="T12" fmla="*/ 0 w 3750"/>
                  <a:gd name="T13" fmla="*/ 2215 h 2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50" h="2215">
                    <a:moveTo>
                      <a:pt x="0" y="2215"/>
                    </a:moveTo>
                    <a:lnTo>
                      <a:pt x="0" y="2179"/>
                    </a:lnTo>
                    <a:cubicBezTo>
                      <a:pt x="5" y="2176"/>
                      <a:pt x="10" y="2174"/>
                      <a:pt x="14" y="2171"/>
                    </a:cubicBezTo>
                    <a:lnTo>
                      <a:pt x="3750" y="0"/>
                    </a:lnTo>
                    <a:lnTo>
                      <a:pt x="3749" y="36"/>
                    </a:lnTo>
                    <a:lnTo>
                      <a:pt x="2291" y="884"/>
                    </a:lnTo>
                    <a:lnTo>
                      <a:pt x="0" y="2215"/>
                    </a:lnTo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26"/>
              <p:cNvSpPr>
                <a:spLocks/>
              </p:cNvSpPr>
              <p:nvPr/>
            </p:nvSpPr>
            <p:spPr bwMode="auto">
              <a:xfrm>
                <a:off x="2401" y="2805"/>
                <a:ext cx="896" cy="535"/>
              </a:xfrm>
              <a:custGeom>
                <a:avLst/>
                <a:gdLst>
                  <a:gd name="T0" fmla="*/ 1867 w 1867"/>
                  <a:gd name="T1" fmla="*/ 1114 h 1114"/>
                  <a:gd name="T2" fmla="*/ 999 w 1867"/>
                  <a:gd name="T3" fmla="*/ 613 h 1114"/>
                  <a:gd name="T4" fmla="*/ 0 w 1867"/>
                  <a:gd name="T5" fmla="*/ 36 h 1114"/>
                  <a:gd name="T6" fmla="*/ 0 w 1867"/>
                  <a:gd name="T7" fmla="*/ 0 h 1114"/>
                  <a:gd name="T8" fmla="*/ 1854 w 1867"/>
                  <a:gd name="T9" fmla="*/ 1070 h 1114"/>
                  <a:gd name="T10" fmla="*/ 1867 w 1867"/>
                  <a:gd name="T11" fmla="*/ 1077 h 1114"/>
                  <a:gd name="T12" fmla="*/ 1867 w 1867"/>
                  <a:gd name="T13" fmla="*/ 1114 h 1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67" h="1114">
                    <a:moveTo>
                      <a:pt x="1867" y="1114"/>
                    </a:moveTo>
                    <a:lnTo>
                      <a:pt x="999" y="613"/>
                    </a:lnTo>
                    <a:lnTo>
                      <a:pt x="0" y="36"/>
                    </a:lnTo>
                    <a:lnTo>
                      <a:pt x="0" y="0"/>
                    </a:lnTo>
                    <a:lnTo>
                      <a:pt x="1854" y="1070"/>
                    </a:lnTo>
                    <a:cubicBezTo>
                      <a:pt x="1858" y="1073"/>
                      <a:pt x="1863" y="1075"/>
                      <a:pt x="1867" y="1077"/>
                    </a:cubicBezTo>
                    <a:lnTo>
                      <a:pt x="1867" y="1114"/>
                    </a:lnTo>
                    <a:close/>
                  </a:path>
                </a:pathLst>
              </a:custGeom>
              <a:solidFill>
                <a:srgbClr val="3D3D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7"/>
              <p:cNvSpPr>
                <a:spLocks/>
              </p:cNvSpPr>
              <p:nvPr/>
            </p:nvSpPr>
            <p:spPr bwMode="auto">
              <a:xfrm>
                <a:off x="3297" y="3322"/>
                <a:ext cx="169" cy="38"/>
              </a:xfrm>
              <a:custGeom>
                <a:avLst/>
                <a:gdLst>
                  <a:gd name="T0" fmla="*/ 176 w 351"/>
                  <a:gd name="T1" fmla="*/ 79 h 79"/>
                  <a:gd name="T2" fmla="*/ 0 w 351"/>
                  <a:gd name="T3" fmla="*/ 37 h 79"/>
                  <a:gd name="T4" fmla="*/ 0 w 351"/>
                  <a:gd name="T5" fmla="*/ 0 h 79"/>
                  <a:gd name="T6" fmla="*/ 176 w 351"/>
                  <a:gd name="T7" fmla="*/ 39 h 79"/>
                  <a:gd name="T8" fmla="*/ 351 w 351"/>
                  <a:gd name="T9" fmla="*/ 1 h 79"/>
                  <a:gd name="T10" fmla="*/ 351 w 351"/>
                  <a:gd name="T11" fmla="*/ 37 h 79"/>
                  <a:gd name="T12" fmla="*/ 351 w 351"/>
                  <a:gd name="T13" fmla="*/ 37 h 79"/>
                  <a:gd name="T14" fmla="*/ 249 w 351"/>
                  <a:gd name="T15" fmla="*/ 73 h 79"/>
                  <a:gd name="T16" fmla="*/ 176 w 351"/>
                  <a:gd name="T17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1" h="79">
                    <a:moveTo>
                      <a:pt x="176" y="79"/>
                    </a:moveTo>
                    <a:cubicBezTo>
                      <a:pt x="112" y="79"/>
                      <a:pt x="48" y="65"/>
                      <a:pt x="0" y="37"/>
                    </a:cubicBezTo>
                    <a:lnTo>
                      <a:pt x="0" y="0"/>
                    </a:lnTo>
                    <a:cubicBezTo>
                      <a:pt x="49" y="25"/>
                      <a:pt x="111" y="39"/>
                      <a:pt x="176" y="39"/>
                    </a:cubicBezTo>
                    <a:cubicBezTo>
                      <a:pt x="241" y="39"/>
                      <a:pt x="302" y="25"/>
                      <a:pt x="351" y="1"/>
                    </a:cubicBezTo>
                    <a:lnTo>
                      <a:pt x="351" y="37"/>
                    </a:lnTo>
                    <a:lnTo>
                      <a:pt x="351" y="37"/>
                    </a:lnTo>
                    <a:cubicBezTo>
                      <a:pt x="321" y="54"/>
                      <a:pt x="286" y="66"/>
                      <a:pt x="249" y="73"/>
                    </a:cubicBezTo>
                    <a:cubicBezTo>
                      <a:pt x="225" y="77"/>
                      <a:pt x="200" y="79"/>
                      <a:pt x="176" y="79"/>
                    </a:cubicBezTo>
                  </a:path>
                </a:pathLst>
              </a:custGeom>
              <a:solidFill>
                <a:srgbClr val="5151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8"/>
              <p:cNvSpPr>
                <a:spLocks/>
              </p:cNvSpPr>
              <p:nvPr/>
            </p:nvSpPr>
            <p:spPr bwMode="auto">
              <a:xfrm>
                <a:off x="4529" y="1749"/>
                <a:ext cx="243" cy="139"/>
              </a:xfrm>
              <a:custGeom>
                <a:avLst/>
                <a:gdLst>
                  <a:gd name="T0" fmla="*/ 505 w 505"/>
                  <a:gd name="T1" fmla="*/ 269 h 291"/>
                  <a:gd name="T2" fmla="*/ 495 w 505"/>
                  <a:gd name="T3" fmla="*/ 278 h 291"/>
                  <a:gd name="T4" fmla="*/ 413 w 505"/>
                  <a:gd name="T5" fmla="*/ 278 h 291"/>
                  <a:gd name="T6" fmla="*/ 23 w 505"/>
                  <a:gd name="T7" fmla="*/ 53 h 291"/>
                  <a:gd name="T8" fmla="*/ 22 w 505"/>
                  <a:gd name="T9" fmla="*/ 6 h 291"/>
                  <a:gd name="T10" fmla="*/ 38 w 505"/>
                  <a:gd name="T11" fmla="*/ 0 h 291"/>
                  <a:gd name="T12" fmla="*/ 48 w 505"/>
                  <a:gd name="T13" fmla="*/ 38 h 291"/>
                  <a:gd name="T14" fmla="*/ 439 w 505"/>
                  <a:gd name="T15" fmla="*/ 263 h 291"/>
                  <a:gd name="T16" fmla="*/ 505 w 505"/>
                  <a:gd name="T17" fmla="*/ 269 h 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5" h="291">
                    <a:moveTo>
                      <a:pt x="505" y="269"/>
                    </a:moveTo>
                    <a:cubicBezTo>
                      <a:pt x="503" y="272"/>
                      <a:pt x="499" y="275"/>
                      <a:pt x="495" y="278"/>
                    </a:cubicBezTo>
                    <a:cubicBezTo>
                      <a:pt x="472" y="291"/>
                      <a:pt x="435" y="291"/>
                      <a:pt x="413" y="278"/>
                    </a:cubicBezTo>
                    <a:lnTo>
                      <a:pt x="23" y="53"/>
                    </a:lnTo>
                    <a:cubicBezTo>
                      <a:pt x="0" y="40"/>
                      <a:pt x="0" y="19"/>
                      <a:pt x="22" y="6"/>
                    </a:cubicBezTo>
                    <a:cubicBezTo>
                      <a:pt x="27" y="3"/>
                      <a:pt x="32" y="1"/>
                      <a:pt x="38" y="0"/>
                    </a:cubicBezTo>
                    <a:cubicBezTo>
                      <a:pt x="27" y="12"/>
                      <a:pt x="30" y="28"/>
                      <a:pt x="48" y="38"/>
                    </a:cubicBezTo>
                    <a:lnTo>
                      <a:pt x="439" y="263"/>
                    </a:lnTo>
                    <a:cubicBezTo>
                      <a:pt x="457" y="274"/>
                      <a:pt x="483" y="276"/>
                      <a:pt x="505" y="269"/>
                    </a:cubicBezTo>
                  </a:path>
                </a:pathLst>
              </a:cu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9"/>
              <p:cNvSpPr>
                <a:spLocks/>
              </p:cNvSpPr>
              <p:nvPr/>
            </p:nvSpPr>
            <p:spPr bwMode="auto">
              <a:xfrm>
                <a:off x="4540" y="1745"/>
                <a:ext cx="238" cy="137"/>
              </a:xfrm>
              <a:custGeom>
                <a:avLst/>
                <a:gdLst>
                  <a:gd name="T0" fmla="*/ 471 w 494"/>
                  <a:gd name="T1" fmla="*/ 238 h 285"/>
                  <a:gd name="T2" fmla="*/ 472 w 494"/>
                  <a:gd name="T3" fmla="*/ 285 h 285"/>
                  <a:gd name="T4" fmla="*/ 482 w 494"/>
                  <a:gd name="T5" fmla="*/ 276 h 285"/>
                  <a:gd name="T6" fmla="*/ 416 w 494"/>
                  <a:gd name="T7" fmla="*/ 270 h 285"/>
                  <a:gd name="T8" fmla="*/ 25 w 494"/>
                  <a:gd name="T9" fmla="*/ 45 h 285"/>
                  <a:gd name="T10" fmla="*/ 15 w 494"/>
                  <a:gd name="T11" fmla="*/ 7 h 285"/>
                  <a:gd name="T12" fmla="*/ 0 w 494"/>
                  <a:gd name="T13" fmla="*/ 12 h 285"/>
                  <a:gd name="T14" fmla="*/ 81 w 494"/>
                  <a:gd name="T15" fmla="*/ 13 h 285"/>
                  <a:gd name="T16" fmla="*/ 471 w 494"/>
                  <a:gd name="T17" fmla="*/ 238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4" h="285">
                    <a:moveTo>
                      <a:pt x="471" y="238"/>
                    </a:moveTo>
                    <a:cubicBezTo>
                      <a:pt x="493" y="251"/>
                      <a:pt x="494" y="272"/>
                      <a:pt x="472" y="285"/>
                    </a:cubicBezTo>
                    <a:cubicBezTo>
                      <a:pt x="476" y="282"/>
                      <a:pt x="480" y="279"/>
                      <a:pt x="482" y="276"/>
                    </a:cubicBezTo>
                    <a:cubicBezTo>
                      <a:pt x="460" y="283"/>
                      <a:pt x="434" y="281"/>
                      <a:pt x="416" y="270"/>
                    </a:cubicBezTo>
                    <a:lnTo>
                      <a:pt x="25" y="45"/>
                    </a:lnTo>
                    <a:cubicBezTo>
                      <a:pt x="7" y="35"/>
                      <a:pt x="4" y="19"/>
                      <a:pt x="15" y="7"/>
                    </a:cubicBezTo>
                    <a:cubicBezTo>
                      <a:pt x="9" y="8"/>
                      <a:pt x="4" y="10"/>
                      <a:pt x="0" y="12"/>
                    </a:cubicBezTo>
                    <a:cubicBezTo>
                      <a:pt x="23" y="0"/>
                      <a:pt x="59" y="0"/>
                      <a:pt x="81" y="13"/>
                    </a:cubicBezTo>
                    <a:lnTo>
                      <a:pt x="471" y="238"/>
                    </a:lnTo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30"/>
              <p:cNvSpPr>
                <a:spLocks/>
              </p:cNvSpPr>
              <p:nvPr/>
            </p:nvSpPr>
            <p:spPr bwMode="auto">
              <a:xfrm>
                <a:off x="4832" y="1925"/>
                <a:ext cx="28" cy="16"/>
              </a:xfrm>
              <a:custGeom>
                <a:avLst/>
                <a:gdLst>
                  <a:gd name="T0" fmla="*/ 48 w 58"/>
                  <a:gd name="T1" fmla="*/ 6 h 34"/>
                  <a:gd name="T2" fmla="*/ 48 w 58"/>
                  <a:gd name="T3" fmla="*/ 28 h 34"/>
                  <a:gd name="T4" fmla="*/ 10 w 58"/>
                  <a:gd name="T5" fmla="*/ 28 h 34"/>
                  <a:gd name="T6" fmla="*/ 10 w 58"/>
                  <a:gd name="T7" fmla="*/ 6 h 34"/>
                  <a:gd name="T8" fmla="*/ 48 w 58"/>
                  <a:gd name="T9" fmla="*/ 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34">
                    <a:moveTo>
                      <a:pt x="48" y="6"/>
                    </a:moveTo>
                    <a:cubicBezTo>
                      <a:pt x="58" y="12"/>
                      <a:pt x="58" y="22"/>
                      <a:pt x="48" y="28"/>
                    </a:cubicBezTo>
                    <a:cubicBezTo>
                      <a:pt x="38" y="34"/>
                      <a:pt x="21" y="34"/>
                      <a:pt x="10" y="28"/>
                    </a:cubicBezTo>
                    <a:cubicBezTo>
                      <a:pt x="0" y="22"/>
                      <a:pt x="0" y="12"/>
                      <a:pt x="10" y="6"/>
                    </a:cubicBezTo>
                    <a:cubicBezTo>
                      <a:pt x="21" y="0"/>
                      <a:pt x="38" y="0"/>
                      <a:pt x="48" y="6"/>
                    </a:cubicBezTo>
                  </a:path>
                </a:pathLst>
              </a:cu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31"/>
              <p:cNvSpPr>
                <a:spLocks noEditPoints="1"/>
              </p:cNvSpPr>
              <p:nvPr/>
            </p:nvSpPr>
            <p:spPr bwMode="auto">
              <a:xfrm>
                <a:off x="4809" y="1912"/>
                <a:ext cx="74" cy="42"/>
              </a:xfrm>
              <a:custGeom>
                <a:avLst/>
                <a:gdLst>
                  <a:gd name="T0" fmla="*/ 96 w 154"/>
                  <a:gd name="T1" fmla="*/ 55 h 88"/>
                  <a:gd name="T2" fmla="*/ 58 w 154"/>
                  <a:gd name="T3" fmla="*/ 55 h 88"/>
                  <a:gd name="T4" fmla="*/ 58 w 154"/>
                  <a:gd name="T5" fmla="*/ 33 h 88"/>
                  <a:gd name="T6" fmla="*/ 96 w 154"/>
                  <a:gd name="T7" fmla="*/ 33 h 88"/>
                  <a:gd name="T8" fmla="*/ 96 w 154"/>
                  <a:gd name="T9" fmla="*/ 55 h 88"/>
                  <a:gd name="T10" fmla="*/ 126 w 154"/>
                  <a:gd name="T11" fmla="*/ 15 h 88"/>
                  <a:gd name="T12" fmla="*/ 28 w 154"/>
                  <a:gd name="T13" fmla="*/ 15 h 88"/>
                  <a:gd name="T14" fmla="*/ 28 w 154"/>
                  <a:gd name="T15" fmla="*/ 73 h 88"/>
                  <a:gd name="T16" fmla="*/ 127 w 154"/>
                  <a:gd name="T17" fmla="*/ 73 h 88"/>
                  <a:gd name="T18" fmla="*/ 126 w 154"/>
                  <a:gd name="T19" fmla="*/ 15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4" h="88">
                    <a:moveTo>
                      <a:pt x="96" y="55"/>
                    </a:moveTo>
                    <a:cubicBezTo>
                      <a:pt x="86" y="61"/>
                      <a:pt x="69" y="61"/>
                      <a:pt x="58" y="55"/>
                    </a:cubicBezTo>
                    <a:cubicBezTo>
                      <a:pt x="48" y="49"/>
                      <a:pt x="48" y="39"/>
                      <a:pt x="58" y="33"/>
                    </a:cubicBezTo>
                    <a:cubicBezTo>
                      <a:pt x="69" y="27"/>
                      <a:pt x="86" y="27"/>
                      <a:pt x="96" y="33"/>
                    </a:cubicBezTo>
                    <a:cubicBezTo>
                      <a:pt x="106" y="39"/>
                      <a:pt x="106" y="49"/>
                      <a:pt x="96" y="55"/>
                    </a:cubicBezTo>
                    <a:close/>
                    <a:moveTo>
                      <a:pt x="126" y="15"/>
                    </a:moveTo>
                    <a:cubicBezTo>
                      <a:pt x="99" y="0"/>
                      <a:pt x="55" y="0"/>
                      <a:pt x="28" y="15"/>
                    </a:cubicBezTo>
                    <a:cubicBezTo>
                      <a:pt x="0" y="31"/>
                      <a:pt x="1" y="57"/>
                      <a:pt x="28" y="73"/>
                    </a:cubicBezTo>
                    <a:cubicBezTo>
                      <a:pt x="55" y="88"/>
                      <a:pt x="100" y="88"/>
                      <a:pt x="127" y="73"/>
                    </a:cubicBezTo>
                    <a:cubicBezTo>
                      <a:pt x="154" y="57"/>
                      <a:pt x="154" y="31"/>
                      <a:pt x="126" y="15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32"/>
              <p:cNvSpPr>
                <a:spLocks/>
              </p:cNvSpPr>
              <p:nvPr/>
            </p:nvSpPr>
            <p:spPr bwMode="auto">
              <a:xfrm>
                <a:off x="2924" y="2832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2 w 2"/>
                  <a:gd name="T3" fmla="*/ 0 h 1"/>
                  <a:gd name="T4" fmla="*/ 0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2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33"/>
              <p:cNvSpPr>
                <a:spLocks/>
              </p:cNvSpPr>
              <p:nvPr/>
            </p:nvSpPr>
            <p:spPr bwMode="auto">
              <a:xfrm>
                <a:off x="2922" y="2834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0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34"/>
              <p:cNvSpPr>
                <a:spLocks/>
              </p:cNvSpPr>
              <p:nvPr/>
            </p:nvSpPr>
            <p:spPr bwMode="auto">
              <a:xfrm>
                <a:off x="2921" y="2835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0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35"/>
              <p:cNvSpPr>
                <a:spLocks/>
              </p:cNvSpPr>
              <p:nvPr/>
            </p:nvSpPr>
            <p:spPr bwMode="auto">
              <a:xfrm>
                <a:off x="3075" y="2835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0 w 1"/>
                  <a:gd name="T3" fmla="*/ 0 h 1"/>
                  <a:gd name="T4" fmla="*/ 1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lnTo>
                      <a:pt x="0" y="0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36"/>
              <p:cNvSpPr>
                <a:spLocks/>
              </p:cNvSpPr>
              <p:nvPr/>
            </p:nvSpPr>
            <p:spPr bwMode="auto">
              <a:xfrm>
                <a:off x="2893" y="2816"/>
                <a:ext cx="210" cy="113"/>
              </a:xfrm>
              <a:custGeom>
                <a:avLst/>
                <a:gdLst>
                  <a:gd name="T0" fmla="*/ 382 w 437"/>
                  <a:gd name="T1" fmla="*/ 42 h 235"/>
                  <a:gd name="T2" fmla="*/ 360 w 437"/>
                  <a:gd name="T3" fmla="*/ 190 h 235"/>
                  <a:gd name="T4" fmla="*/ 78 w 437"/>
                  <a:gd name="T5" fmla="*/ 190 h 235"/>
                  <a:gd name="T6" fmla="*/ 57 w 437"/>
                  <a:gd name="T7" fmla="*/ 40 h 235"/>
                  <a:gd name="T8" fmla="*/ 19 w 437"/>
                  <a:gd name="T9" fmla="*/ 101 h 235"/>
                  <a:gd name="T10" fmla="*/ 72 w 437"/>
                  <a:gd name="T11" fmla="*/ 46 h 235"/>
                  <a:gd name="T12" fmla="*/ 354 w 437"/>
                  <a:gd name="T13" fmla="*/ 46 h 235"/>
                  <a:gd name="T14" fmla="*/ 413 w 437"/>
                  <a:gd name="T15" fmla="*/ 134 h 235"/>
                  <a:gd name="T16" fmla="*/ 382 w 437"/>
                  <a:gd name="T17" fmla="*/ 4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37" h="235">
                    <a:moveTo>
                      <a:pt x="382" y="42"/>
                    </a:moveTo>
                    <a:cubicBezTo>
                      <a:pt x="437" y="87"/>
                      <a:pt x="429" y="150"/>
                      <a:pt x="360" y="190"/>
                    </a:cubicBezTo>
                    <a:cubicBezTo>
                      <a:pt x="282" y="235"/>
                      <a:pt x="156" y="235"/>
                      <a:pt x="78" y="190"/>
                    </a:cubicBezTo>
                    <a:cubicBezTo>
                      <a:pt x="7" y="149"/>
                      <a:pt x="0" y="85"/>
                      <a:pt x="57" y="40"/>
                    </a:cubicBezTo>
                    <a:cubicBezTo>
                      <a:pt x="34" y="58"/>
                      <a:pt x="21" y="80"/>
                      <a:pt x="19" y="101"/>
                    </a:cubicBezTo>
                    <a:cubicBezTo>
                      <a:pt x="27" y="81"/>
                      <a:pt x="45" y="61"/>
                      <a:pt x="72" y="46"/>
                    </a:cubicBezTo>
                    <a:cubicBezTo>
                      <a:pt x="150" y="0"/>
                      <a:pt x="276" y="0"/>
                      <a:pt x="354" y="46"/>
                    </a:cubicBezTo>
                    <a:cubicBezTo>
                      <a:pt x="397" y="70"/>
                      <a:pt x="416" y="102"/>
                      <a:pt x="413" y="134"/>
                    </a:cubicBezTo>
                    <a:cubicBezTo>
                      <a:pt x="425" y="103"/>
                      <a:pt x="415" y="69"/>
                      <a:pt x="382" y="42"/>
                    </a:cubicBezTo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37"/>
              <p:cNvSpPr>
                <a:spLocks/>
              </p:cNvSpPr>
              <p:nvPr/>
            </p:nvSpPr>
            <p:spPr bwMode="auto">
              <a:xfrm>
                <a:off x="2903" y="2807"/>
                <a:ext cx="195" cy="74"/>
              </a:xfrm>
              <a:custGeom>
                <a:avLst/>
                <a:gdLst>
                  <a:gd name="T0" fmla="*/ 340 w 407"/>
                  <a:gd name="T1" fmla="*/ 45 h 153"/>
                  <a:gd name="T2" fmla="*/ 342 w 407"/>
                  <a:gd name="T3" fmla="*/ 47 h 153"/>
                  <a:gd name="T4" fmla="*/ 344 w 407"/>
                  <a:gd name="T5" fmla="*/ 48 h 153"/>
                  <a:gd name="T6" fmla="*/ 347 w 407"/>
                  <a:gd name="T7" fmla="*/ 50 h 153"/>
                  <a:gd name="T8" fmla="*/ 349 w 407"/>
                  <a:gd name="T9" fmla="*/ 51 h 153"/>
                  <a:gd name="T10" fmla="*/ 351 w 407"/>
                  <a:gd name="T11" fmla="*/ 52 h 153"/>
                  <a:gd name="T12" fmla="*/ 394 w 407"/>
                  <a:gd name="T13" fmla="*/ 153 h 153"/>
                  <a:gd name="T14" fmla="*/ 335 w 407"/>
                  <a:gd name="T15" fmla="*/ 65 h 153"/>
                  <a:gd name="T16" fmla="*/ 53 w 407"/>
                  <a:gd name="T17" fmla="*/ 65 h 153"/>
                  <a:gd name="T18" fmla="*/ 0 w 407"/>
                  <a:gd name="T19" fmla="*/ 120 h 153"/>
                  <a:gd name="T20" fmla="*/ 48 w 407"/>
                  <a:gd name="T21" fmla="*/ 52 h 153"/>
                  <a:gd name="T22" fmla="*/ 51 w 407"/>
                  <a:gd name="T23" fmla="*/ 49 h 153"/>
                  <a:gd name="T24" fmla="*/ 54 w 407"/>
                  <a:gd name="T25" fmla="*/ 47 h 153"/>
                  <a:gd name="T26" fmla="*/ 58 w 407"/>
                  <a:gd name="T27" fmla="*/ 45 h 153"/>
                  <a:gd name="T28" fmla="*/ 340 w 407"/>
                  <a:gd name="T29" fmla="*/ 45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07" h="153">
                    <a:moveTo>
                      <a:pt x="340" y="45"/>
                    </a:moveTo>
                    <a:lnTo>
                      <a:pt x="342" y="47"/>
                    </a:lnTo>
                    <a:lnTo>
                      <a:pt x="344" y="48"/>
                    </a:lnTo>
                    <a:lnTo>
                      <a:pt x="347" y="50"/>
                    </a:lnTo>
                    <a:lnTo>
                      <a:pt x="349" y="51"/>
                    </a:lnTo>
                    <a:lnTo>
                      <a:pt x="351" y="52"/>
                    </a:lnTo>
                    <a:cubicBezTo>
                      <a:pt x="393" y="81"/>
                      <a:pt x="407" y="119"/>
                      <a:pt x="394" y="153"/>
                    </a:cubicBezTo>
                    <a:cubicBezTo>
                      <a:pt x="397" y="121"/>
                      <a:pt x="378" y="89"/>
                      <a:pt x="335" y="65"/>
                    </a:cubicBezTo>
                    <a:cubicBezTo>
                      <a:pt x="257" y="19"/>
                      <a:pt x="131" y="19"/>
                      <a:pt x="53" y="65"/>
                    </a:cubicBezTo>
                    <a:cubicBezTo>
                      <a:pt x="26" y="80"/>
                      <a:pt x="8" y="100"/>
                      <a:pt x="0" y="120"/>
                    </a:cubicBezTo>
                    <a:cubicBezTo>
                      <a:pt x="3" y="96"/>
                      <a:pt x="18" y="71"/>
                      <a:pt x="48" y="52"/>
                    </a:cubicBezTo>
                    <a:lnTo>
                      <a:pt x="51" y="49"/>
                    </a:lnTo>
                    <a:lnTo>
                      <a:pt x="54" y="47"/>
                    </a:lnTo>
                    <a:lnTo>
                      <a:pt x="58" y="45"/>
                    </a:lnTo>
                    <a:cubicBezTo>
                      <a:pt x="135" y="0"/>
                      <a:pt x="262" y="0"/>
                      <a:pt x="340" y="45"/>
                    </a:cubicBezTo>
                  </a:path>
                </a:pathLst>
              </a:cu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38"/>
              <p:cNvSpPr>
                <a:spLocks/>
              </p:cNvSpPr>
              <p:nvPr/>
            </p:nvSpPr>
            <p:spPr bwMode="auto">
              <a:xfrm>
                <a:off x="4108" y="1885"/>
                <a:ext cx="699" cy="404"/>
              </a:xfrm>
              <a:custGeom>
                <a:avLst/>
                <a:gdLst>
                  <a:gd name="T0" fmla="*/ 1454 w 1457"/>
                  <a:gd name="T1" fmla="*/ 832 h 841"/>
                  <a:gd name="T2" fmla="*/ 1454 w 1457"/>
                  <a:gd name="T3" fmla="*/ 839 h 841"/>
                  <a:gd name="T4" fmla="*/ 1441 w 1457"/>
                  <a:gd name="T5" fmla="*/ 839 h 841"/>
                  <a:gd name="T6" fmla="*/ 3 w 1457"/>
                  <a:gd name="T7" fmla="*/ 9 h 841"/>
                  <a:gd name="T8" fmla="*/ 3 w 1457"/>
                  <a:gd name="T9" fmla="*/ 2 h 841"/>
                  <a:gd name="T10" fmla="*/ 16 w 1457"/>
                  <a:gd name="T11" fmla="*/ 2 h 841"/>
                  <a:gd name="T12" fmla="*/ 1454 w 1457"/>
                  <a:gd name="T13" fmla="*/ 83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7" h="841">
                    <a:moveTo>
                      <a:pt x="1454" y="832"/>
                    </a:moveTo>
                    <a:cubicBezTo>
                      <a:pt x="1457" y="834"/>
                      <a:pt x="1457" y="837"/>
                      <a:pt x="1454" y="839"/>
                    </a:cubicBezTo>
                    <a:cubicBezTo>
                      <a:pt x="1450" y="841"/>
                      <a:pt x="1445" y="841"/>
                      <a:pt x="1441" y="839"/>
                    </a:cubicBezTo>
                    <a:lnTo>
                      <a:pt x="3" y="9"/>
                    </a:lnTo>
                    <a:cubicBezTo>
                      <a:pt x="0" y="7"/>
                      <a:pt x="0" y="4"/>
                      <a:pt x="3" y="2"/>
                    </a:cubicBezTo>
                    <a:cubicBezTo>
                      <a:pt x="7" y="0"/>
                      <a:pt x="12" y="0"/>
                      <a:pt x="16" y="2"/>
                    </a:cubicBezTo>
                    <a:lnTo>
                      <a:pt x="1454" y="832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39"/>
              <p:cNvSpPr>
                <a:spLocks/>
              </p:cNvSpPr>
              <p:nvPr/>
            </p:nvSpPr>
            <p:spPr bwMode="auto">
              <a:xfrm>
                <a:off x="3714" y="2908"/>
                <a:ext cx="13" cy="10"/>
              </a:xfrm>
              <a:custGeom>
                <a:avLst/>
                <a:gdLst>
                  <a:gd name="T0" fmla="*/ 22 w 26"/>
                  <a:gd name="T1" fmla="*/ 10 h 19"/>
                  <a:gd name="T2" fmla="*/ 22 w 26"/>
                  <a:gd name="T3" fmla="*/ 17 h 19"/>
                  <a:gd name="T4" fmla="*/ 10 w 26"/>
                  <a:gd name="T5" fmla="*/ 17 h 19"/>
                  <a:gd name="T6" fmla="*/ 0 w 26"/>
                  <a:gd name="T7" fmla="*/ 11 h 19"/>
                  <a:gd name="T8" fmla="*/ 6 w 26"/>
                  <a:gd name="T9" fmla="*/ 0 h 19"/>
                  <a:gd name="T10" fmla="*/ 22 w 26"/>
                  <a:gd name="T11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19">
                    <a:moveTo>
                      <a:pt x="22" y="10"/>
                    </a:moveTo>
                    <a:cubicBezTo>
                      <a:pt x="26" y="12"/>
                      <a:pt x="26" y="15"/>
                      <a:pt x="22" y="17"/>
                    </a:cubicBezTo>
                    <a:cubicBezTo>
                      <a:pt x="19" y="19"/>
                      <a:pt x="13" y="19"/>
                      <a:pt x="10" y="17"/>
                    </a:cubicBezTo>
                    <a:lnTo>
                      <a:pt x="0" y="11"/>
                    </a:lnTo>
                    <a:cubicBezTo>
                      <a:pt x="2" y="8"/>
                      <a:pt x="4" y="4"/>
                      <a:pt x="6" y="0"/>
                    </a:cubicBezTo>
                    <a:lnTo>
                      <a:pt x="22" y="10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40"/>
              <p:cNvSpPr>
                <a:spLocks/>
              </p:cNvSpPr>
              <p:nvPr/>
            </p:nvSpPr>
            <p:spPr bwMode="auto">
              <a:xfrm>
                <a:off x="3699" y="2927"/>
                <a:ext cx="5" cy="4"/>
              </a:xfrm>
              <a:custGeom>
                <a:avLst/>
                <a:gdLst>
                  <a:gd name="T0" fmla="*/ 9 w 11"/>
                  <a:gd name="T1" fmla="*/ 0 h 8"/>
                  <a:gd name="T2" fmla="*/ 7 w 11"/>
                  <a:gd name="T3" fmla="*/ 6 h 8"/>
                  <a:gd name="T4" fmla="*/ 0 w 11"/>
                  <a:gd name="T5" fmla="*/ 8 h 8"/>
                  <a:gd name="T6" fmla="*/ 9 w 11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9" y="0"/>
                    </a:moveTo>
                    <a:cubicBezTo>
                      <a:pt x="11" y="2"/>
                      <a:pt x="10" y="4"/>
                      <a:pt x="7" y="6"/>
                    </a:cubicBezTo>
                    <a:cubicBezTo>
                      <a:pt x="5" y="7"/>
                      <a:pt x="3" y="8"/>
                      <a:pt x="0" y="8"/>
                    </a:cubicBezTo>
                    <a:cubicBezTo>
                      <a:pt x="3" y="5"/>
                      <a:pt x="6" y="3"/>
                      <a:pt x="9" y="0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41"/>
              <p:cNvSpPr>
                <a:spLocks/>
              </p:cNvSpPr>
              <p:nvPr/>
            </p:nvSpPr>
            <p:spPr bwMode="auto">
              <a:xfrm>
                <a:off x="4078" y="1725"/>
                <a:ext cx="126" cy="73"/>
              </a:xfrm>
              <a:custGeom>
                <a:avLst/>
                <a:gdLst>
                  <a:gd name="T0" fmla="*/ 258 w 264"/>
                  <a:gd name="T1" fmla="*/ 136 h 152"/>
                  <a:gd name="T2" fmla="*/ 258 w 264"/>
                  <a:gd name="T3" fmla="*/ 149 h 152"/>
                  <a:gd name="T4" fmla="*/ 236 w 264"/>
                  <a:gd name="T5" fmla="*/ 149 h 152"/>
                  <a:gd name="T6" fmla="*/ 7 w 264"/>
                  <a:gd name="T7" fmla="*/ 16 h 152"/>
                  <a:gd name="T8" fmla="*/ 6 w 264"/>
                  <a:gd name="T9" fmla="*/ 4 h 152"/>
                  <a:gd name="T10" fmla="*/ 29 w 264"/>
                  <a:gd name="T11" fmla="*/ 4 h 152"/>
                  <a:gd name="T12" fmla="*/ 258 w 264"/>
                  <a:gd name="T13" fmla="*/ 136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4" h="152">
                    <a:moveTo>
                      <a:pt x="258" y="136"/>
                    </a:moveTo>
                    <a:cubicBezTo>
                      <a:pt x="264" y="140"/>
                      <a:pt x="264" y="145"/>
                      <a:pt x="258" y="149"/>
                    </a:cubicBezTo>
                    <a:cubicBezTo>
                      <a:pt x="252" y="152"/>
                      <a:pt x="242" y="152"/>
                      <a:pt x="236" y="149"/>
                    </a:cubicBezTo>
                    <a:lnTo>
                      <a:pt x="7" y="16"/>
                    </a:lnTo>
                    <a:cubicBezTo>
                      <a:pt x="1" y="13"/>
                      <a:pt x="0" y="7"/>
                      <a:pt x="6" y="4"/>
                    </a:cubicBezTo>
                    <a:cubicBezTo>
                      <a:pt x="13" y="0"/>
                      <a:pt x="22" y="0"/>
                      <a:pt x="29" y="4"/>
                    </a:cubicBezTo>
                    <a:lnTo>
                      <a:pt x="258" y="136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42"/>
              <p:cNvSpPr>
                <a:spLocks/>
              </p:cNvSpPr>
              <p:nvPr/>
            </p:nvSpPr>
            <p:spPr bwMode="auto">
              <a:xfrm>
                <a:off x="4102" y="1711"/>
                <a:ext cx="126" cy="73"/>
              </a:xfrm>
              <a:custGeom>
                <a:avLst/>
                <a:gdLst>
                  <a:gd name="T0" fmla="*/ 257 w 263"/>
                  <a:gd name="T1" fmla="*/ 136 h 152"/>
                  <a:gd name="T2" fmla="*/ 257 w 263"/>
                  <a:gd name="T3" fmla="*/ 149 h 152"/>
                  <a:gd name="T4" fmla="*/ 235 w 263"/>
                  <a:gd name="T5" fmla="*/ 149 h 152"/>
                  <a:gd name="T6" fmla="*/ 6 w 263"/>
                  <a:gd name="T7" fmla="*/ 16 h 152"/>
                  <a:gd name="T8" fmla="*/ 6 w 263"/>
                  <a:gd name="T9" fmla="*/ 4 h 152"/>
                  <a:gd name="T10" fmla="*/ 28 w 263"/>
                  <a:gd name="T11" fmla="*/ 4 h 152"/>
                  <a:gd name="T12" fmla="*/ 257 w 263"/>
                  <a:gd name="T13" fmla="*/ 136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3" h="152">
                    <a:moveTo>
                      <a:pt x="257" y="136"/>
                    </a:moveTo>
                    <a:cubicBezTo>
                      <a:pt x="263" y="140"/>
                      <a:pt x="263" y="145"/>
                      <a:pt x="257" y="149"/>
                    </a:cubicBezTo>
                    <a:cubicBezTo>
                      <a:pt x="251" y="152"/>
                      <a:pt x="241" y="152"/>
                      <a:pt x="235" y="149"/>
                    </a:cubicBezTo>
                    <a:lnTo>
                      <a:pt x="6" y="16"/>
                    </a:lnTo>
                    <a:cubicBezTo>
                      <a:pt x="0" y="13"/>
                      <a:pt x="0" y="7"/>
                      <a:pt x="6" y="4"/>
                    </a:cubicBezTo>
                    <a:cubicBezTo>
                      <a:pt x="12" y="0"/>
                      <a:pt x="22" y="0"/>
                      <a:pt x="28" y="4"/>
                    </a:cubicBezTo>
                    <a:lnTo>
                      <a:pt x="257" y="136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43"/>
              <p:cNvSpPr>
                <a:spLocks/>
              </p:cNvSpPr>
              <p:nvPr/>
            </p:nvSpPr>
            <p:spPr bwMode="auto">
              <a:xfrm>
                <a:off x="4126" y="1697"/>
                <a:ext cx="126" cy="73"/>
              </a:xfrm>
              <a:custGeom>
                <a:avLst/>
                <a:gdLst>
                  <a:gd name="T0" fmla="*/ 257 w 263"/>
                  <a:gd name="T1" fmla="*/ 136 h 152"/>
                  <a:gd name="T2" fmla="*/ 257 w 263"/>
                  <a:gd name="T3" fmla="*/ 149 h 152"/>
                  <a:gd name="T4" fmla="*/ 235 w 263"/>
                  <a:gd name="T5" fmla="*/ 149 h 152"/>
                  <a:gd name="T6" fmla="*/ 6 w 263"/>
                  <a:gd name="T7" fmla="*/ 16 h 152"/>
                  <a:gd name="T8" fmla="*/ 6 w 263"/>
                  <a:gd name="T9" fmla="*/ 3 h 152"/>
                  <a:gd name="T10" fmla="*/ 28 w 263"/>
                  <a:gd name="T11" fmla="*/ 3 h 152"/>
                  <a:gd name="T12" fmla="*/ 257 w 263"/>
                  <a:gd name="T13" fmla="*/ 136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3" h="152">
                    <a:moveTo>
                      <a:pt x="257" y="136"/>
                    </a:moveTo>
                    <a:cubicBezTo>
                      <a:pt x="263" y="140"/>
                      <a:pt x="263" y="145"/>
                      <a:pt x="257" y="149"/>
                    </a:cubicBezTo>
                    <a:cubicBezTo>
                      <a:pt x="251" y="152"/>
                      <a:pt x="242" y="152"/>
                      <a:pt x="235" y="149"/>
                    </a:cubicBezTo>
                    <a:lnTo>
                      <a:pt x="6" y="16"/>
                    </a:lnTo>
                    <a:cubicBezTo>
                      <a:pt x="0" y="13"/>
                      <a:pt x="0" y="7"/>
                      <a:pt x="6" y="3"/>
                    </a:cubicBezTo>
                    <a:cubicBezTo>
                      <a:pt x="12" y="0"/>
                      <a:pt x="22" y="0"/>
                      <a:pt x="28" y="3"/>
                    </a:cubicBezTo>
                    <a:lnTo>
                      <a:pt x="257" y="13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44"/>
              <p:cNvSpPr>
                <a:spLocks/>
              </p:cNvSpPr>
              <p:nvPr/>
            </p:nvSpPr>
            <p:spPr bwMode="auto">
              <a:xfrm>
                <a:off x="3672" y="1921"/>
                <a:ext cx="196" cy="113"/>
              </a:xfrm>
              <a:custGeom>
                <a:avLst/>
                <a:gdLst>
                  <a:gd name="T0" fmla="*/ 336 w 409"/>
                  <a:gd name="T1" fmla="*/ 42 h 237"/>
                  <a:gd name="T2" fmla="*/ 337 w 409"/>
                  <a:gd name="T3" fmla="*/ 194 h 237"/>
                  <a:gd name="T4" fmla="*/ 73 w 409"/>
                  <a:gd name="T5" fmla="*/ 194 h 237"/>
                  <a:gd name="T6" fmla="*/ 72 w 409"/>
                  <a:gd name="T7" fmla="*/ 42 h 237"/>
                  <a:gd name="T8" fmla="*/ 336 w 409"/>
                  <a:gd name="T9" fmla="*/ 4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9" h="237">
                    <a:moveTo>
                      <a:pt x="336" y="42"/>
                    </a:moveTo>
                    <a:cubicBezTo>
                      <a:pt x="409" y="84"/>
                      <a:pt x="409" y="152"/>
                      <a:pt x="337" y="194"/>
                    </a:cubicBezTo>
                    <a:cubicBezTo>
                      <a:pt x="264" y="237"/>
                      <a:pt x="146" y="237"/>
                      <a:pt x="73" y="194"/>
                    </a:cubicBezTo>
                    <a:cubicBezTo>
                      <a:pt x="0" y="152"/>
                      <a:pt x="0" y="84"/>
                      <a:pt x="72" y="42"/>
                    </a:cubicBezTo>
                    <a:cubicBezTo>
                      <a:pt x="145" y="0"/>
                      <a:pt x="263" y="0"/>
                      <a:pt x="336" y="42"/>
                    </a:cubicBez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45"/>
              <p:cNvSpPr>
                <a:spLocks/>
              </p:cNvSpPr>
              <p:nvPr/>
            </p:nvSpPr>
            <p:spPr bwMode="auto">
              <a:xfrm>
                <a:off x="3469" y="2038"/>
                <a:ext cx="196" cy="114"/>
              </a:xfrm>
              <a:custGeom>
                <a:avLst/>
                <a:gdLst>
                  <a:gd name="T0" fmla="*/ 336 w 409"/>
                  <a:gd name="T1" fmla="*/ 42 h 237"/>
                  <a:gd name="T2" fmla="*/ 337 w 409"/>
                  <a:gd name="T3" fmla="*/ 195 h 237"/>
                  <a:gd name="T4" fmla="*/ 73 w 409"/>
                  <a:gd name="T5" fmla="*/ 195 h 237"/>
                  <a:gd name="T6" fmla="*/ 72 w 409"/>
                  <a:gd name="T7" fmla="*/ 42 h 237"/>
                  <a:gd name="T8" fmla="*/ 336 w 409"/>
                  <a:gd name="T9" fmla="*/ 4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9" h="237">
                    <a:moveTo>
                      <a:pt x="336" y="42"/>
                    </a:moveTo>
                    <a:cubicBezTo>
                      <a:pt x="409" y="84"/>
                      <a:pt x="409" y="153"/>
                      <a:pt x="337" y="195"/>
                    </a:cubicBezTo>
                    <a:cubicBezTo>
                      <a:pt x="264" y="237"/>
                      <a:pt x="146" y="237"/>
                      <a:pt x="73" y="195"/>
                    </a:cubicBezTo>
                    <a:cubicBezTo>
                      <a:pt x="0" y="153"/>
                      <a:pt x="0" y="84"/>
                      <a:pt x="72" y="42"/>
                    </a:cubicBezTo>
                    <a:cubicBezTo>
                      <a:pt x="145" y="0"/>
                      <a:pt x="263" y="0"/>
                      <a:pt x="336" y="42"/>
                    </a:cubicBezTo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46"/>
              <p:cNvSpPr>
                <a:spLocks/>
              </p:cNvSpPr>
              <p:nvPr/>
            </p:nvSpPr>
            <p:spPr bwMode="auto">
              <a:xfrm>
                <a:off x="3266" y="2156"/>
                <a:ext cx="197" cy="114"/>
              </a:xfrm>
              <a:custGeom>
                <a:avLst/>
                <a:gdLst>
                  <a:gd name="T0" fmla="*/ 337 w 410"/>
                  <a:gd name="T1" fmla="*/ 42 h 237"/>
                  <a:gd name="T2" fmla="*/ 337 w 410"/>
                  <a:gd name="T3" fmla="*/ 195 h 237"/>
                  <a:gd name="T4" fmla="*/ 74 w 410"/>
                  <a:gd name="T5" fmla="*/ 195 h 237"/>
                  <a:gd name="T6" fmla="*/ 73 w 410"/>
                  <a:gd name="T7" fmla="*/ 42 h 237"/>
                  <a:gd name="T8" fmla="*/ 337 w 410"/>
                  <a:gd name="T9" fmla="*/ 4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0" h="237">
                    <a:moveTo>
                      <a:pt x="337" y="42"/>
                    </a:moveTo>
                    <a:cubicBezTo>
                      <a:pt x="410" y="85"/>
                      <a:pt x="410" y="153"/>
                      <a:pt x="337" y="195"/>
                    </a:cubicBezTo>
                    <a:cubicBezTo>
                      <a:pt x="265" y="237"/>
                      <a:pt x="147" y="237"/>
                      <a:pt x="74" y="195"/>
                    </a:cubicBezTo>
                    <a:cubicBezTo>
                      <a:pt x="1" y="153"/>
                      <a:pt x="0" y="85"/>
                      <a:pt x="73" y="42"/>
                    </a:cubicBezTo>
                    <a:cubicBezTo>
                      <a:pt x="146" y="0"/>
                      <a:pt x="264" y="0"/>
                      <a:pt x="337" y="42"/>
                    </a:cubicBezTo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47"/>
              <p:cNvSpPr>
                <a:spLocks/>
              </p:cNvSpPr>
              <p:nvPr/>
            </p:nvSpPr>
            <p:spPr bwMode="auto">
              <a:xfrm>
                <a:off x="4063" y="1911"/>
                <a:ext cx="699" cy="405"/>
              </a:xfrm>
              <a:custGeom>
                <a:avLst/>
                <a:gdLst>
                  <a:gd name="T0" fmla="*/ 1454 w 1457"/>
                  <a:gd name="T1" fmla="*/ 833 h 842"/>
                  <a:gd name="T2" fmla="*/ 1454 w 1457"/>
                  <a:gd name="T3" fmla="*/ 840 h 842"/>
                  <a:gd name="T4" fmla="*/ 1441 w 1457"/>
                  <a:gd name="T5" fmla="*/ 840 h 842"/>
                  <a:gd name="T6" fmla="*/ 3 w 1457"/>
                  <a:gd name="T7" fmla="*/ 10 h 842"/>
                  <a:gd name="T8" fmla="*/ 3 w 1457"/>
                  <a:gd name="T9" fmla="*/ 2 h 842"/>
                  <a:gd name="T10" fmla="*/ 16 w 1457"/>
                  <a:gd name="T11" fmla="*/ 2 h 842"/>
                  <a:gd name="T12" fmla="*/ 1454 w 1457"/>
                  <a:gd name="T13" fmla="*/ 833 h 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7" h="842">
                    <a:moveTo>
                      <a:pt x="1454" y="833"/>
                    </a:moveTo>
                    <a:cubicBezTo>
                      <a:pt x="1457" y="835"/>
                      <a:pt x="1457" y="838"/>
                      <a:pt x="1454" y="840"/>
                    </a:cubicBezTo>
                    <a:cubicBezTo>
                      <a:pt x="1450" y="842"/>
                      <a:pt x="1445" y="842"/>
                      <a:pt x="1441" y="840"/>
                    </a:cubicBezTo>
                    <a:lnTo>
                      <a:pt x="3" y="10"/>
                    </a:lnTo>
                    <a:cubicBezTo>
                      <a:pt x="0" y="8"/>
                      <a:pt x="0" y="4"/>
                      <a:pt x="3" y="2"/>
                    </a:cubicBezTo>
                    <a:cubicBezTo>
                      <a:pt x="7" y="0"/>
                      <a:pt x="12" y="0"/>
                      <a:pt x="16" y="2"/>
                    </a:cubicBezTo>
                    <a:lnTo>
                      <a:pt x="1454" y="833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48"/>
              <p:cNvSpPr>
                <a:spLocks/>
              </p:cNvSpPr>
              <p:nvPr/>
            </p:nvSpPr>
            <p:spPr bwMode="auto">
              <a:xfrm>
                <a:off x="4018" y="1938"/>
                <a:ext cx="700" cy="404"/>
              </a:xfrm>
              <a:custGeom>
                <a:avLst/>
                <a:gdLst>
                  <a:gd name="T0" fmla="*/ 1454 w 1458"/>
                  <a:gd name="T1" fmla="*/ 832 h 841"/>
                  <a:gd name="T2" fmla="*/ 1454 w 1458"/>
                  <a:gd name="T3" fmla="*/ 839 h 841"/>
                  <a:gd name="T4" fmla="*/ 1441 w 1458"/>
                  <a:gd name="T5" fmla="*/ 839 h 841"/>
                  <a:gd name="T6" fmla="*/ 3 w 1458"/>
                  <a:gd name="T7" fmla="*/ 9 h 841"/>
                  <a:gd name="T8" fmla="*/ 4 w 1458"/>
                  <a:gd name="T9" fmla="*/ 2 h 841"/>
                  <a:gd name="T10" fmla="*/ 16 w 1458"/>
                  <a:gd name="T11" fmla="*/ 2 h 841"/>
                  <a:gd name="T12" fmla="*/ 1454 w 1458"/>
                  <a:gd name="T13" fmla="*/ 83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8" h="841">
                    <a:moveTo>
                      <a:pt x="1454" y="832"/>
                    </a:moveTo>
                    <a:cubicBezTo>
                      <a:pt x="1458" y="834"/>
                      <a:pt x="1457" y="837"/>
                      <a:pt x="1454" y="839"/>
                    </a:cubicBezTo>
                    <a:cubicBezTo>
                      <a:pt x="1451" y="841"/>
                      <a:pt x="1445" y="841"/>
                      <a:pt x="1441" y="839"/>
                    </a:cubicBezTo>
                    <a:lnTo>
                      <a:pt x="3" y="9"/>
                    </a:lnTo>
                    <a:cubicBezTo>
                      <a:pt x="0" y="7"/>
                      <a:pt x="0" y="4"/>
                      <a:pt x="4" y="2"/>
                    </a:cubicBezTo>
                    <a:cubicBezTo>
                      <a:pt x="7" y="0"/>
                      <a:pt x="13" y="0"/>
                      <a:pt x="16" y="2"/>
                    </a:cubicBezTo>
                    <a:lnTo>
                      <a:pt x="1454" y="832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49"/>
              <p:cNvSpPr>
                <a:spLocks/>
              </p:cNvSpPr>
              <p:nvPr/>
            </p:nvSpPr>
            <p:spPr bwMode="auto">
              <a:xfrm>
                <a:off x="3063" y="2274"/>
                <a:ext cx="197" cy="114"/>
              </a:xfrm>
              <a:custGeom>
                <a:avLst/>
                <a:gdLst>
                  <a:gd name="T0" fmla="*/ 336 w 410"/>
                  <a:gd name="T1" fmla="*/ 42 h 237"/>
                  <a:gd name="T2" fmla="*/ 337 w 410"/>
                  <a:gd name="T3" fmla="*/ 194 h 237"/>
                  <a:gd name="T4" fmla="*/ 74 w 410"/>
                  <a:gd name="T5" fmla="*/ 194 h 237"/>
                  <a:gd name="T6" fmla="*/ 73 w 410"/>
                  <a:gd name="T7" fmla="*/ 42 h 237"/>
                  <a:gd name="T8" fmla="*/ 336 w 410"/>
                  <a:gd name="T9" fmla="*/ 4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0" h="237">
                    <a:moveTo>
                      <a:pt x="336" y="42"/>
                    </a:moveTo>
                    <a:cubicBezTo>
                      <a:pt x="409" y="84"/>
                      <a:pt x="410" y="152"/>
                      <a:pt x="337" y="194"/>
                    </a:cubicBezTo>
                    <a:cubicBezTo>
                      <a:pt x="265" y="237"/>
                      <a:pt x="147" y="237"/>
                      <a:pt x="74" y="194"/>
                    </a:cubicBezTo>
                    <a:cubicBezTo>
                      <a:pt x="1" y="152"/>
                      <a:pt x="0" y="84"/>
                      <a:pt x="73" y="42"/>
                    </a:cubicBezTo>
                    <a:cubicBezTo>
                      <a:pt x="145" y="0"/>
                      <a:pt x="263" y="0"/>
                      <a:pt x="336" y="42"/>
                    </a:cubicBezTo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50"/>
              <p:cNvSpPr>
                <a:spLocks/>
              </p:cNvSpPr>
              <p:nvPr/>
            </p:nvSpPr>
            <p:spPr bwMode="auto">
              <a:xfrm>
                <a:off x="3775" y="1855"/>
                <a:ext cx="934" cy="539"/>
              </a:xfrm>
              <a:custGeom>
                <a:avLst/>
                <a:gdLst>
                  <a:gd name="T0" fmla="*/ 1941 w 1946"/>
                  <a:gd name="T1" fmla="*/ 1110 h 1124"/>
                  <a:gd name="T2" fmla="*/ 1941 w 1946"/>
                  <a:gd name="T3" fmla="*/ 1121 h 1124"/>
                  <a:gd name="T4" fmla="*/ 1922 w 1946"/>
                  <a:gd name="T5" fmla="*/ 1121 h 1124"/>
                  <a:gd name="T6" fmla="*/ 5 w 1946"/>
                  <a:gd name="T7" fmla="*/ 14 h 1124"/>
                  <a:gd name="T8" fmla="*/ 5 w 1946"/>
                  <a:gd name="T9" fmla="*/ 3 h 1124"/>
                  <a:gd name="T10" fmla="*/ 24 w 1946"/>
                  <a:gd name="T11" fmla="*/ 3 h 1124"/>
                  <a:gd name="T12" fmla="*/ 1941 w 1946"/>
                  <a:gd name="T13" fmla="*/ 1110 h 1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46" h="1124">
                    <a:moveTo>
                      <a:pt x="1941" y="1110"/>
                    </a:moveTo>
                    <a:cubicBezTo>
                      <a:pt x="1946" y="1113"/>
                      <a:pt x="1946" y="1118"/>
                      <a:pt x="1941" y="1121"/>
                    </a:cubicBezTo>
                    <a:cubicBezTo>
                      <a:pt x="1935" y="1124"/>
                      <a:pt x="1927" y="1124"/>
                      <a:pt x="1922" y="1121"/>
                    </a:cubicBezTo>
                    <a:lnTo>
                      <a:pt x="5" y="14"/>
                    </a:lnTo>
                    <a:cubicBezTo>
                      <a:pt x="0" y="11"/>
                      <a:pt x="0" y="6"/>
                      <a:pt x="5" y="3"/>
                    </a:cubicBezTo>
                    <a:cubicBezTo>
                      <a:pt x="10" y="0"/>
                      <a:pt x="19" y="0"/>
                      <a:pt x="24" y="3"/>
                    </a:cubicBezTo>
                    <a:lnTo>
                      <a:pt x="1941" y="1110"/>
                    </a:lnTo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51"/>
              <p:cNvSpPr>
                <a:spLocks/>
              </p:cNvSpPr>
              <p:nvPr/>
            </p:nvSpPr>
            <p:spPr bwMode="auto">
              <a:xfrm>
                <a:off x="3905" y="2003"/>
                <a:ext cx="700" cy="404"/>
              </a:xfrm>
              <a:custGeom>
                <a:avLst/>
                <a:gdLst>
                  <a:gd name="T0" fmla="*/ 1454 w 1457"/>
                  <a:gd name="T1" fmla="*/ 832 h 842"/>
                  <a:gd name="T2" fmla="*/ 1454 w 1457"/>
                  <a:gd name="T3" fmla="*/ 840 h 842"/>
                  <a:gd name="T4" fmla="*/ 1441 w 1457"/>
                  <a:gd name="T5" fmla="*/ 840 h 842"/>
                  <a:gd name="T6" fmla="*/ 3 w 1457"/>
                  <a:gd name="T7" fmla="*/ 9 h 842"/>
                  <a:gd name="T8" fmla="*/ 3 w 1457"/>
                  <a:gd name="T9" fmla="*/ 2 h 842"/>
                  <a:gd name="T10" fmla="*/ 16 w 1457"/>
                  <a:gd name="T11" fmla="*/ 2 h 842"/>
                  <a:gd name="T12" fmla="*/ 1454 w 1457"/>
                  <a:gd name="T13" fmla="*/ 832 h 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7" h="842">
                    <a:moveTo>
                      <a:pt x="1454" y="832"/>
                    </a:moveTo>
                    <a:cubicBezTo>
                      <a:pt x="1457" y="834"/>
                      <a:pt x="1457" y="838"/>
                      <a:pt x="1454" y="840"/>
                    </a:cubicBezTo>
                    <a:cubicBezTo>
                      <a:pt x="1450" y="842"/>
                      <a:pt x="1445" y="842"/>
                      <a:pt x="1441" y="840"/>
                    </a:cubicBezTo>
                    <a:lnTo>
                      <a:pt x="3" y="9"/>
                    </a:lnTo>
                    <a:cubicBezTo>
                      <a:pt x="0" y="7"/>
                      <a:pt x="0" y="4"/>
                      <a:pt x="3" y="2"/>
                    </a:cubicBezTo>
                    <a:cubicBezTo>
                      <a:pt x="6" y="0"/>
                      <a:pt x="12" y="0"/>
                      <a:pt x="16" y="2"/>
                    </a:cubicBezTo>
                    <a:lnTo>
                      <a:pt x="1454" y="832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52"/>
              <p:cNvSpPr>
                <a:spLocks/>
              </p:cNvSpPr>
              <p:nvPr/>
            </p:nvSpPr>
            <p:spPr bwMode="auto">
              <a:xfrm>
                <a:off x="3883" y="2016"/>
                <a:ext cx="699" cy="404"/>
              </a:xfrm>
              <a:custGeom>
                <a:avLst/>
                <a:gdLst>
                  <a:gd name="T0" fmla="*/ 1454 w 1457"/>
                  <a:gd name="T1" fmla="*/ 833 h 842"/>
                  <a:gd name="T2" fmla="*/ 1454 w 1457"/>
                  <a:gd name="T3" fmla="*/ 840 h 842"/>
                  <a:gd name="T4" fmla="*/ 1441 w 1457"/>
                  <a:gd name="T5" fmla="*/ 840 h 842"/>
                  <a:gd name="T6" fmla="*/ 3 w 1457"/>
                  <a:gd name="T7" fmla="*/ 10 h 842"/>
                  <a:gd name="T8" fmla="*/ 3 w 1457"/>
                  <a:gd name="T9" fmla="*/ 2 h 842"/>
                  <a:gd name="T10" fmla="*/ 16 w 1457"/>
                  <a:gd name="T11" fmla="*/ 2 h 842"/>
                  <a:gd name="T12" fmla="*/ 1454 w 1457"/>
                  <a:gd name="T13" fmla="*/ 833 h 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7" h="842">
                    <a:moveTo>
                      <a:pt x="1454" y="833"/>
                    </a:moveTo>
                    <a:cubicBezTo>
                      <a:pt x="1457" y="835"/>
                      <a:pt x="1457" y="838"/>
                      <a:pt x="1454" y="840"/>
                    </a:cubicBezTo>
                    <a:cubicBezTo>
                      <a:pt x="1450" y="842"/>
                      <a:pt x="1445" y="842"/>
                      <a:pt x="1441" y="840"/>
                    </a:cubicBezTo>
                    <a:lnTo>
                      <a:pt x="3" y="10"/>
                    </a:lnTo>
                    <a:cubicBezTo>
                      <a:pt x="0" y="8"/>
                      <a:pt x="0" y="5"/>
                      <a:pt x="3" y="2"/>
                    </a:cubicBezTo>
                    <a:cubicBezTo>
                      <a:pt x="7" y="0"/>
                      <a:pt x="12" y="0"/>
                      <a:pt x="16" y="2"/>
                    </a:cubicBezTo>
                    <a:lnTo>
                      <a:pt x="1454" y="833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53"/>
              <p:cNvSpPr>
                <a:spLocks/>
              </p:cNvSpPr>
              <p:nvPr/>
            </p:nvSpPr>
            <p:spPr bwMode="auto">
              <a:xfrm>
                <a:off x="3838" y="2042"/>
                <a:ext cx="699" cy="404"/>
              </a:xfrm>
              <a:custGeom>
                <a:avLst/>
                <a:gdLst>
                  <a:gd name="T0" fmla="*/ 1454 w 1457"/>
                  <a:gd name="T1" fmla="*/ 832 h 841"/>
                  <a:gd name="T2" fmla="*/ 1454 w 1457"/>
                  <a:gd name="T3" fmla="*/ 839 h 841"/>
                  <a:gd name="T4" fmla="*/ 1441 w 1457"/>
                  <a:gd name="T5" fmla="*/ 839 h 841"/>
                  <a:gd name="T6" fmla="*/ 3 w 1457"/>
                  <a:gd name="T7" fmla="*/ 9 h 841"/>
                  <a:gd name="T8" fmla="*/ 3 w 1457"/>
                  <a:gd name="T9" fmla="*/ 2 h 841"/>
                  <a:gd name="T10" fmla="*/ 16 w 1457"/>
                  <a:gd name="T11" fmla="*/ 2 h 841"/>
                  <a:gd name="T12" fmla="*/ 1454 w 1457"/>
                  <a:gd name="T13" fmla="*/ 83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7" h="841">
                    <a:moveTo>
                      <a:pt x="1454" y="832"/>
                    </a:moveTo>
                    <a:cubicBezTo>
                      <a:pt x="1457" y="834"/>
                      <a:pt x="1457" y="837"/>
                      <a:pt x="1454" y="839"/>
                    </a:cubicBezTo>
                    <a:cubicBezTo>
                      <a:pt x="1450" y="841"/>
                      <a:pt x="1445" y="841"/>
                      <a:pt x="1441" y="839"/>
                    </a:cubicBezTo>
                    <a:lnTo>
                      <a:pt x="3" y="9"/>
                    </a:lnTo>
                    <a:cubicBezTo>
                      <a:pt x="0" y="7"/>
                      <a:pt x="0" y="4"/>
                      <a:pt x="3" y="2"/>
                    </a:cubicBezTo>
                    <a:cubicBezTo>
                      <a:pt x="7" y="0"/>
                      <a:pt x="12" y="0"/>
                      <a:pt x="16" y="2"/>
                    </a:cubicBezTo>
                    <a:lnTo>
                      <a:pt x="1454" y="832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54"/>
              <p:cNvSpPr>
                <a:spLocks/>
              </p:cNvSpPr>
              <p:nvPr/>
            </p:nvSpPr>
            <p:spPr bwMode="auto">
              <a:xfrm>
                <a:off x="3815" y="2055"/>
                <a:ext cx="699" cy="405"/>
              </a:xfrm>
              <a:custGeom>
                <a:avLst/>
                <a:gdLst>
                  <a:gd name="T0" fmla="*/ 1454 w 1457"/>
                  <a:gd name="T1" fmla="*/ 832 h 842"/>
                  <a:gd name="T2" fmla="*/ 1454 w 1457"/>
                  <a:gd name="T3" fmla="*/ 840 h 842"/>
                  <a:gd name="T4" fmla="*/ 1441 w 1457"/>
                  <a:gd name="T5" fmla="*/ 840 h 842"/>
                  <a:gd name="T6" fmla="*/ 3 w 1457"/>
                  <a:gd name="T7" fmla="*/ 10 h 842"/>
                  <a:gd name="T8" fmla="*/ 3 w 1457"/>
                  <a:gd name="T9" fmla="*/ 2 h 842"/>
                  <a:gd name="T10" fmla="*/ 16 w 1457"/>
                  <a:gd name="T11" fmla="*/ 2 h 842"/>
                  <a:gd name="T12" fmla="*/ 1454 w 1457"/>
                  <a:gd name="T13" fmla="*/ 832 h 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7" h="842">
                    <a:moveTo>
                      <a:pt x="1454" y="832"/>
                    </a:moveTo>
                    <a:cubicBezTo>
                      <a:pt x="1457" y="834"/>
                      <a:pt x="1457" y="838"/>
                      <a:pt x="1454" y="840"/>
                    </a:cubicBezTo>
                    <a:cubicBezTo>
                      <a:pt x="1450" y="842"/>
                      <a:pt x="1445" y="842"/>
                      <a:pt x="1441" y="840"/>
                    </a:cubicBezTo>
                    <a:lnTo>
                      <a:pt x="3" y="10"/>
                    </a:lnTo>
                    <a:cubicBezTo>
                      <a:pt x="0" y="8"/>
                      <a:pt x="0" y="4"/>
                      <a:pt x="3" y="2"/>
                    </a:cubicBezTo>
                    <a:cubicBezTo>
                      <a:pt x="7" y="0"/>
                      <a:pt x="12" y="0"/>
                      <a:pt x="16" y="2"/>
                    </a:cubicBezTo>
                    <a:lnTo>
                      <a:pt x="1454" y="832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55"/>
              <p:cNvSpPr>
                <a:spLocks/>
              </p:cNvSpPr>
              <p:nvPr/>
            </p:nvSpPr>
            <p:spPr bwMode="auto">
              <a:xfrm>
                <a:off x="2861" y="2391"/>
                <a:ext cx="197" cy="114"/>
              </a:xfrm>
              <a:custGeom>
                <a:avLst/>
                <a:gdLst>
                  <a:gd name="T0" fmla="*/ 336 w 410"/>
                  <a:gd name="T1" fmla="*/ 42 h 237"/>
                  <a:gd name="T2" fmla="*/ 337 w 410"/>
                  <a:gd name="T3" fmla="*/ 195 h 237"/>
                  <a:gd name="T4" fmla="*/ 74 w 410"/>
                  <a:gd name="T5" fmla="*/ 195 h 237"/>
                  <a:gd name="T6" fmla="*/ 73 w 410"/>
                  <a:gd name="T7" fmla="*/ 42 h 237"/>
                  <a:gd name="T8" fmla="*/ 336 w 410"/>
                  <a:gd name="T9" fmla="*/ 4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0" h="237">
                    <a:moveTo>
                      <a:pt x="336" y="42"/>
                    </a:moveTo>
                    <a:cubicBezTo>
                      <a:pt x="409" y="84"/>
                      <a:pt x="410" y="153"/>
                      <a:pt x="337" y="195"/>
                    </a:cubicBezTo>
                    <a:cubicBezTo>
                      <a:pt x="265" y="237"/>
                      <a:pt x="147" y="237"/>
                      <a:pt x="74" y="195"/>
                    </a:cubicBezTo>
                    <a:cubicBezTo>
                      <a:pt x="1" y="153"/>
                      <a:pt x="0" y="84"/>
                      <a:pt x="73" y="42"/>
                    </a:cubicBezTo>
                    <a:cubicBezTo>
                      <a:pt x="145" y="0"/>
                      <a:pt x="263" y="0"/>
                      <a:pt x="336" y="42"/>
                    </a:cubicBezTo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56"/>
              <p:cNvSpPr>
                <a:spLocks/>
              </p:cNvSpPr>
              <p:nvPr/>
            </p:nvSpPr>
            <p:spPr bwMode="auto">
              <a:xfrm>
                <a:off x="3702" y="2121"/>
                <a:ext cx="700" cy="404"/>
              </a:xfrm>
              <a:custGeom>
                <a:avLst/>
                <a:gdLst>
                  <a:gd name="T0" fmla="*/ 1454 w 1458"/>
                  <a:gd name="T1" fmla="*/ 832 h 841"/>
                  <a:gd name="T2" fmla="*/ 1454 w 1458"/>
                  <a:gd name="T3" fmla="*/ 839 h 841"/>
                  <a:gd name="T4" fmla="*/ 1442 w 1458"/>
                  <a:gd name="T5" fmla="*/ 839 h 841"/>
                  <a:gd name="T6" fmla="*/ 4 w 1458"/>
                  <a:gd name="T7" fmla="*/ 9 h 841"/>
                  <a:gd name="T8" fmla="*/ 4 w 1458"/>
                  <a:gd name="T9" fmla="*/ 2 h 841"/>
                  <a:gd name="T10" fmla="*/ 16 w 1458"/>
                  <a:gd name="T11" fmla="*/ 2 h 841"/>
                  <a:gd name="T12" fmla="*/ 1454 w 1458"/>
                  <a:gd name="T13" fmla="*/ 83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8" h="841">
                    <a:moveTo>
                      <a:pt x="1454" y="832"/>
                    </a:moveTo>
                    <a:cubicBezTo>
                      <a:pt x="1458" y="834"/>
                      <a:pt x="1458" y="837"/>
                      <a:pt x="1454" y="839"/>
                    </a:cubicBezTo>
                    <a:cubicBezTo>
                      <a:pt x="1451" y="841"/>
                      <a:pt x="1445" y="841"/>
                      <a:pt x="1442" y="839"/>
                    </a:cubicBezTo>
                    <a:lnTo>
                      <a:pt x="4" y="9"/>
                    </a:lnTo>
                    <a:cubicBezTo>
                      <a:pt x="0" y="7"/>
                      <a:pt x="0" y="4"/>
                      <a:pt x="4" y="2"/>
                    </a:cubicBezTo>
                    <a:cubicBezTo>
                      <a:pt x="7" y="0"/>
                      <a:pt x="13" y="0"/>
                      <a:pt x="16" y="2"/>
                    </a:cubicBezTo>
                    <a:lnTo>
                      <a:pt x="1454" y="832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57"/>
              <p:cNvSpPr>
                <a:spLocks/>
              </p:cNvSpPr>
              <p:nvPr/>
            </p:nvSpPr>
            <p:spPr bwMode="auto">
              <a:xfrm>
                <a:off x="3477" y="2252"/>
                <a:ext cx="700" cy="404"/>
              </a:xfrm>
              <a:custGeom>
                <a:avLst/>
                <a:gdLst>
                  <a:gd name="T0" fmla="*/ 1454 w 1458"/>
                  <a:gd name="T1" fmla="*/ 832 h 842"/>
                  <a:gd name="T2" fmla="*/ 1454 w 1458"/>
                  <a:gd name="T3" fmla="*/ 840 h 842"/>
                  <a:gd name="T4" fmla="*/ 1442 w 1458"/>
                  <a:gd name="T5" fmla="*/ 840 h 842"/>
                  <a:gd name="T6" fmla="*/ 4 w 1458"/>
                  <a:gd name="T7" fmla="*/ 9 h 842"/>
                  <a:gd name="T8" fmla="*/ 4 w 1458"/>
                  <a:gd name="T9" fmla="*/ 2 h 842"/>
                  <a:gd name="T10" fmla="*/ 16 w 1458"/>
                  <a:gd name="T11" fmla="*/ 2 h 842"/>
                  <a:gd name="T12" fmla="*/ 1454 w 1458"/>
                  <a:gd name="T13" fmla="*/ 832 h 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8" h="842">
                    <a:moveTo>
                      <a:pt x="1454" y="832"/>
                    </a:moveTo>
                    <a:cubicBezTo>
                      <a:pt x="1458" y="834"/>
                      <a:pt x="1458" y="838"/>
                      <a:pt x="1454" y="840"/>
                    </a:cubicBezTo>
                    <a:cubicBezTo>
                      <a:pt x="1451" y="842"/>
                      <a:pt x="1445" y="842"/>
                      <a:pt x="1442" y="840"/>
                    </a:cubicBezTo>
                    <a:lnTo>
                      <a:pt x="4" y="9"/>
                    </a:lnTo>
                    <a:cubicBezTo>
                      <a:pt x="0" y="7"/>
                      <a:pt x="0" y="4"/>
                      <a:pt x="4" y="2"/>
                    </a:cubicBezTo>
                    <a:cubicBezTo>
                      <a:pt x="7" y="0"/>
                      <a:pt x="13" y="0"/>
                      <a:pt x="16" y="2"/>
                    </a:cubicBezTo>
                    <a:lnTo>
                      <a:pt x="1454" y="832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58"/>
              <p:cNvSpPr>
                <a:spLocks/>
              </p:cNvSpPr>
              <p:nvPr/>
            </p:nvSpPr>
            <p:spPr bwMode="auto">
              <a:xfrm>
                <a:off x="3432" y="2278"/>
                <a:ext cx="700" cy="404"/>
              </a:xfrm>
              <a:custGeom>
                <a:avLst/>
                <a:gdLst>
                  <a:gd name="T0" fmla="*/ 1454 w 1458"/>
                  <a:gd name="T1" fmla="*/ 832 h 841"/>
                  <a:gd name="T2" fmla="*/ 1455 w 1458"/>
                  <a:gd name="T3" fmla="*/ 839 h 841"/>
                  <a:gd name="T4" fmla="*/ 1442 w 1458"/>
                  <a:gd name="T5" fmla="*/ 839 h 841"/>
                  <a:gd name="T6" fmla="*/ 4 w 1458"/>
                  <a:gd name="T7" fmla="*/ 9 h 841"/>
                  <a:gd name="T8" fmla="*/ 4 w 1458"/>
                  <a:gd name="T9" fmla="*/ 2 h 841"/>
                  <a:gd name="T10" fmla="*/ 16 w 1458"/>
                  <a:gd name="T11" fmla="*/ 2 h 841"/>
                  <a:gd name="T12" fmla="*/ 1454 w 1458"/>
                  <a:gd name="T13" fmla="*/ 83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8" h="841">
                    <a:moveTo>
                      <a:pt x="1454" y="832"/>
                    </a:moveTo>
                    <a:cubicBezTo>
                      <a:pt x="1458" y="834"/>
                      <a:pt x="1458" y="837"/>
                      <a:pt x="1455" y="839"/>
                    </a:cubicBezTo>
                    <a:cubicBezTo>
                      <a:pt x="1451" y="841"/>
                      <a:pt x="1445" y="841"/>
                      <a:pt x="1442" y="839"/>
                    </a:cubicBezTo>
                    <a:lnTo>
                      <a:pt x="4" y="9"/>
                    </a:lnTo>
                    <a:cubicBezTo>
                      <a:pt x="0" y="7"/>
                      <a:pt x="0" y="4"/>
                      <a:pt x="4" y="2"/>
                    </a:cubicBezTo>
                    <a:cubicBezTo>
                      <a:pt x="7" y="0"/>
                      <a:pt x="13" y="0"/>
                      <a:pt x="16" y="2"/>
                    </a:cubicBezTo>
                    <a:lnTo>
                      <a:pt x="1454" y="832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59"/>
              <p:cNvSpPr>
                <a:spLocks/>
              </p:cNvSpPr>
              <p:nvPr/>
            </p:nvSpPr>
            <p:spPr bwMode="auto">
              <a:xfrm>
                <a:off x="3410" y="2291"/>
                <a:ext cx="699" cy="404"/>
              </a:xfrm>
              <a:custGeom>
                <a:avLst/>
                <a:gdLst>
                  <a:gd name="T0" fmla="*/ 1454 w 1457"/>
                  <a:gd name="T1" fmla="*/ 832 h 841"/>
                  <a:gd name="T2" fmla="*/ 1454 w 1457"/>
                  <a:gd name="T3" fmla="*/ 839 h 841"/>
                  <a:gd name="T4" fmla="*/ 1441 w 1457"/>
                  <a:gd name="T5" fmla="*/ 839 h 841"/>
                  <a:gd name="T6" fmla="*/ 3 w 1457"/>
                  <a:gd name="T7" fmla="*/ 9 h 841"/>
                  <a:gd name="T8" fmla="*/ 3 w 1457"/>
                  <a:gd name="T9" fmla="*/ 2 h 841"/>
                  <a:gd name="T10" fmla="*/ 16 w 1457"/>
                  <a:gd name="T11" fmla="*/ 2 h 841"/>
                  <a:gd name="T12" fmla="*/ 1454 w 1457"/>
                  <a:gd name="T13" fmla="*/ 83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7" h="841">
                    <a:moveTo>
                      <a:pt x="1454" y="832"/>
                    </a:moveTo>
                    <a:cubicBezTo>
                      <a:pt x="1457" y="834"/>
                      <a:pt x="1457" y="837"/>
                      <a:pt x="1454" y="839"/>
                    </a:cubicBezTo>
                    <a:cubicBezTo>
                      <a:pt x="1450" y="841"/>
                      <a:pt x="1445" y="841"/>
                      <a:pt x="1441" y="839"/>
                    </a:cubicBezTo>
                    <a:lnTo>
                      <a:pt x="3" y="9"/>
                    </a:lnTo>
                    <a:cubicBezTo>
                      <a:pt x="0" y="7"/>
                      <a:pt x="0" y="4"/>
                      <a:pt x="3" y="2"/>
                    </a:cubicBezTo>
                    <a:cubicBezTo>
                      <a:pt x="6" y="0"/>
                      <a:pt x="12" y="0"/>
                      <a:pt x="16" y="2"/>
                    </a:cubicBezTo>
                    <a:lnTo>
                      <a:pt x="1454" y="832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60"/>
              <p:cNvSpPr>
                <a:spLocks/>
              </p:cNvSpPr>
              <p:nvPr/>
            </p:nvSpPr>
            <p:spPr bwMode="auto">
              <a:xfrm>
                <a:off x="3167" y="2208"/>
                <a:ext cx="934" cy="540"/>
              </a:xfrm>
              <a:custGeom>
                <a:avLst/>
                <a:gdLst>
                  <a:gd name="T0" fmla="*/ 1941 w 1946"/>
                  <a:gd name="T1" fmla="*/ 1110 h 1124"/>
                  <a:gd name="T2" fmla="*/ 1941 w 1946"/>
                  <a:gd name="T3" fmla="*/ 1121 h 1124"/>
                  <a:gd name="T4" fmla="*/ 1922 w 1946"/>
                  <a:gd name="T5" fmla="*/ 1121 h 1124"/>
                  <a:gd name="T6" fmla="*/ 6 w 1946"/>
                  <a:gd name="T7" fmla="*/ 14 h 1124"/>
                  <a:gd name="T8" fmla="*/ 5 w 1946"/>
                  <a:gd name="T9" fmla="*/ 3 h 1124"/>
                  <a:gd name="T10" fmla="*/ 24 w 1946"/>
                  <a:gd name="T11" fmla="*/ 3 h 1124"/>
                  <a:gd name="T12" fmla="*/ 1941 w 1946"/>
                  <a:gd name="T13" fmla="*/ 1110 h 1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46" h="1124">
                    <a:moveTo>
                      <a:pt x="1941" y="1110"/>
                    </a:moveTo>
                    <a:cubicBezTo>
                      <a:pt x="1946" y="1113"/>
                      <a:pt x="1946" y="1118"/>
                      <a:pt x="1941" y="1121"/>
                    </a:cubicBezTo>
                    <a:cubicBezTo>
                      <a:pt x="1936" y="1124"/>
                      <a:pt x="1928" y="1124"/>
                      <a:pt x="1922" y="1121"/>
                    </a:cubicBezTo>
                    <a:lnTo>
                      <a:pt x="6" y="14"/>
                    </a:lnTo>
                    <a:cubicBezTo>
                      <a:pt x="0" y="11"/>
                      <a:pt x="0" y="6"/>
                      <a:pt x="5" y="3"/>
                    </a:cubicBezTo>
                    <a:cubicBezTo>
                      <a:pt x="11" y="0"/>
                      <a:pt x="19" y="0"/>
                      <a:pt x="24" y="3"/>
                    </a:cubicBezTo>
                    <a:lnTo>
                      <a:pt x="1941" y="1110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61"/>
              <p:cNvSpPr>
                <a:spLocks/>
              </p:cNvSpPr>
              <p:nvPr/>
            </p:nvSpPr>
            <p:spPr bwMode="auto">
              <a:xfrm>
                <a:off x="3297" y="2356"/>
                <a:ext cx="700" cy="405"/>
              </a:xfrm>
              <a:custGeom>
                <a:avLst/>
                <a:gdLst>
                  <a:gd name="T0" fmla="*/ 1454 w 1458"/>
                  <a:gd name="T1" fmla="*/ 832 h 842"/>
                  <a:gd name="T2" fmla="*/ 1454 w 1458"/>
                  <a:gd name="T3" fmla="*/ 840 h 842"/>
                  <a:gd name="T4" fmla="*/ 1442 w 1458"/>
                  <a:gd name="T5" fmla="*/ 840 h 842"/>
                  <a:gd name="T6" fmla="*/ 4 w 1458"/>
                  <a:gd name="T7" fmla="*/ 9 h 842"/>
                  <a:gd name="T8" fmla="*/ 4 w 1458"/>
                  <a:gd name="T9" fmla="*/ 2 h 842"/>
                  <a:gd name="T10" fmla="*/ 16 w 1458"/>
                  <a:gd name="T11" fmla="*/ 2 h 842"/>
                  <a:gd name="T12" fmla="*/ 1454 w 1458"/>
                  <a:gd name="T13" fmla="*/ 832 h 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8" h="842">
                    <a:moveTo>
                      <a:pt x="1454" y="832"/>
                    </a:moveTo>
                    <a:cubicBezTo>
                      <a:pt x="1458" y="834"/>
                      <a:pt x="1458" y="838"/>
                      <a:pt x="1454" y="840"/>
                    </a:cubicBezTo>
                    <a:cubicBezTo>
                      <a:pt x="1451" y="842"/>
                      <a:pt x="1445" y="842"/>
                      <a:pt x="1442" y="840"/>
                    </a:cubicBezTo>
                    <a:lnTo>
                      <a:pt x="4" y="9"/>
                    </a:lnTo>
                    <a:cubicBezTo>
                      <a:pt x="0" y="7"/>
                      <a:pt x="0" y="4"/>
                      <a:pt x="4" y="2"/>
                    </a:cubicBezTo>
                    <a:cubicBezTo>
                      <a:pt x="7" y="0"/>
                      <a:pt x="13" y="0"/>
                      <a:pt x="16" y="2"/>
                    </a:cubicBezTo>
                    <a:lnTo>
                      <a:pt x="1454" y="832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62"/>
              <p:cNvSpPr>
                <a:spLocks/>
              </p:cNvSpPr>
              <p:nvPr/>
            </p:nvSpPr>
            <p:spPr bwMode="auto">
              <a:xfrm>
                <a:off x="3095" y="2475"/>
                <a:ext cx="699" cy="403"/>
              </a:xfrm>
              <a:custGeom>
                <a:avLst/>
                <a:gdLst>
                  <a:gd name="T0" fmla="*/ 1454 w 1457"/>
                  <a:gd name="T1" fmla="*/ 832 h 841"/>
                  <a:gd name="T2" fmla="*/ 1454 w 1457"/>
                  <a:gd name="T3" fmla="*/ 839 h 841"/>
                  <a:gd name="T4" fmla="*/ 1441 w 1457"/>
                  <a:gd name="T5" fmla="*/ 839 h 841"/>
                  <a:gd name="T6" fmla="*/ 3 w 1457"/>
                  <a:gd name="T7" fmla="*/ 9 h 841"/>
                  <a:gd name="T8" fmla="*/ 3 w 1457"/>
                  <a:gd name="T9" fmla="*/ 2 h 841"/>
                  <a:gd name="T10" fmla="*/ 16 w 1457"/>
                  <a:gd name="T11" fmla="*/ 2 h 841"/>
                  <a:gd name="T12" fmla="*/ 1454 w 1457"/>
                  <a:gd name="T13" fmla="*/ 83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7" h="841">
                    <a:moveTo>
                      <a:pt x="1454" y="832"/>
                    </a:moveTo>
                    <a:cubicBezTo>
                      <a:pt x="1457" y="834"/>
                      <a:pt x="1457" y="837"/>
                      <a:pt x="1454" y="839"/>
                    </a:cubicBezTo>
                    <a:cubicBezTo>
                      <a:pt x="1450" y="841"/>
                      <a:pt x="1445" y="841"/>
                      <a:pt x="1441" y="839"/>
                    </a:cubicBezTo>
                    <a:lnTo>
                      <a:pt x="3" y="9"/>
                    </a:lnTo>
                    <a:cubicBezTo>
                      <a:pt x="0" y="7"/>
                      <a:pt x="0" y="4"/>
                      <a:pt x="3" y="2"/>
                    </a:cubicBezTo>
                    <a:cubicBezTo>
                      <a:pt x="7" y="0"/>
                      <a:pt x="12" y="0"/>
                      <a:pt x="16" y="2"/>
                    </a:cubicBezTo>
                    <a:lnTo>
                      <a:pt x="1454" y="832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63"/>
              <p:cNvSpPr>
                <a:spLocks/>
              </p:cNvSpPr>
              <p:nvPr/>
            </p:nvSpPr>
            <p:spPr bwMode="auto">
              <a:xfrm>
                <a:off x="3072" y="2487"/>
                <a:ext cx="699" cy="404"/>
              </a:xfrm>
              <a:custGeom>
                <a:avLst/>
                <a:gdLst>
                  <a:gd name="T0" fmla="*/ 1454 w 1457"/>
                  <a:gd name="T1" fmla="*/ 832 h 841"/>
                  <a:gd name="T2" fmla="*/ 1454 w 1457"/>
                  <a:gd name="T3" fmla="*/ 839 h 841"/>
                  <a:gd name="T4" fmla="*/ 1441 w 1457"/>
                  <a:gd name="T5" fmla="*/ 839 h 841"/>
                  <a:gd name="T6" fmla="*/ 1330 w 1457"/>
                  <a:gd name="T7" fmla="*/ 775 h 841"/>
                  <a:gd name="T8" fmla="*/ 1279 w 1457"/>
                  <a:gd name="T9" fmla="*/ 733 h 841"/>
                  <a:gd name="T10" fmla="*/ 1206 w 1457"/>
                  <a:gd name="T11" fmla="*/ 703 h 841"/>
                  <a:gd name="T12" fmla="*/ 3 w 1457"/>
                  <a:gd name="T13" fmla="*/ 9 h 841"/>
                  <a:gd name="T14" fmla="*/ 3 w 1457"/>
                  <a:gd name="T15" fmla="*/ 2 h 841"/>
                  <a:gd name="T16" fmla="*/ 16 w 1457"/>
                  <a:gd name="T17" fmla="*/ 2 h 841"/>
                  <a:gd name="T18" fmla="*/ 1454 w 1457"/>
                  <a:gd name="T19" fmla="*/ 83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57" h="841">
                    <a:moveTo>
                      <a:pt x="1454" y="832"/>
                    </a:moveTo>
                    <a:cubicBezTo>
                      <a:pt x="1457" y="834"/>
                      <a:pt x="1457" y="837"/>
                      <a:pt x="1454" y="839"/>
                    </a:cubicBezTo>
                    <a:cubicBezTo>
                      <a:pt x="1451" y="841"/>
                      <a:pt x="1445" y="841"/>
                      <a:pt x="1441" y="839"/>
                    </a:cubicBezTo>
                    <a:lnTo>
                      <a:pt x="1330" y="775"/>
                    </a:lnTo>
                    <a:cubicBezTo>
                      <a:pt x="1318" y="760"/>
                      <a:pt x="1301" y="746"/>
                      <a:pt x="1279" y="733"/>
                    </a:cubicBezTo>
                    <a:cubicBezTo>
                      <a:pt x="1257" y="720"/>
                      <a:pt x="1233" y="711"/>
                      <a:pt x="1206" y="703"/>
                    </a:cubicBezTo>
                    <a:lnTo>
                      <a:pt x="3" y="9"/>
                    </a:lnTo>
                    <a:cubicBezTo>
                      <a:pt x="0" y="7"/>
                      <a:pt x="0" y="4"/>
                      <a:pt x="3" y="2"/>
                    </a:cubicBezTo>
                    <a:cubicBezTo>
                      <a:pt x="7" y="0"/>
                      <a:pt x="12" y="0"/>
                      <a:pt x="16" y="2"/>
                    </a:cubicBezTo>
                    <a:lnTo>
                      <a:pt x="1454" y="832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64"/>
              <p:cNvSpPr>
                <a:spLocks/>
              </p:cNvSpPr>
              <p:nvPr/>
            </p:nvSpPr>
            <p:spPr bwMode="auto">
              <a:xfrm>
                <a:off x="3639" y="2953"/>
                <a:ext cx="57" cy="30"/>
              </a:xfrm>
              <a:custGeom>
                <a:avLst/>
                <a:gdLst>
                  <a:gd name="T0" fmla="*/ 112 w 117"/>
                  <a:gd name="T1" fmla="*/ 50 h 63"/>
                  <a:gd name="T2" fmla="*/ 112 w 117"/>
                  <a:gd name="T3" fmla="*/ 60 h 63"/>
                  <a:gd name="T4" fmla="*/ 93 w 117"/>
                  <a:gd name="T5" fmla="*/ 60 h 63"/>
                  <a:gd name="T6" fmla="*/ 0 w 117"/>
                  <a:gd name="T7" fmla="*/ 7 h 63"/>
                  <a:gd name="T8" fmla="*/ 27 w 117"/>
                  <a:gd name="T9" fmla="*/ 0 h 63"/>
                  <a:gd name="T10" fmla="*/ 112 w 117"/>
                  <a:gd name="T11" fmla="*/ 5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7" h="63">
                    <a:moveTo>
                      <a:pt x="112" y="50"/>
                    </a:moveTo>
                    <a:cubicBezTo>
                      <a:pt x="117" y="53"/>
                      <a:pt x="117" y="57"/>
                      <a:pt x="112" y="60"/>
                    </a:cubicBezTo>
                    <a:cubicBezTo>
                      <a:pt x="107" y="63"/>
                      <a:pt x="98" y="63"/>
                      <a:pt x="93" y="60"/>
                    </a:cubicBezTo>
                    <a:lnTo>
                      <a:pt x="0" y="7"/>
                    </a:lnTo>
                    <a:cubicBezTo>
                      <a:pt x="9" y="5"/>
                      <a:pt x="18" y="3"/>
                      <a:pt x="27" y="0"/>
                    </a:cubicBezTo>
                    <a:lnTo>
                      <a:pt x="112" y="50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65"/>
              <p:cNvSpPr>
                <a:spLocks noEditPoints="1"/>
              </p:cNvSpPr>
              <p:nvPr/>
            </p:nvSpPr>
            <p:spPr bwMode="auto">
              <a:xfrm>
                <a:off x="2614" y="1725"/>
                <a:ext cx="2318" cy="1344"/>
              </a:xfrm>
              <a:custGeom>
                <a:avLst/>
                <a:gdLst>
                  <a:gd name="T0" fmla="*/ 4567 w 4830"/>
                  <a:gd name="T1" fmla="*/ 1166 h 2799"/>
                  <a:gd name="T2" fmla="*/ 3082 w 4830"/>
                  <a:gd name="T3" fmla="*/ 363 h 2799"/>
                  <a:gd name="T4" fmla="*/ 3022 w 4830"/>
                  <a:gd name="T5" fmla="*/ 390 h 2799"/>
                  <a:gd name="T6" fmla="*/ 2975 w 4830"/>
                  <a:gd name="T7" fmla="*/ 425 h 2799"/>
                  <a:gd name="T8" fmla="*/ 4366 w 4830"/>
                  <a:gd name="T9" fmla="*/ 1282 h 2799"/>
                  <a:gd name="T10" fmla="*/ 4360 w 4830"/>
                  <a:gd name="T11" fmla="*/ 1391 h 2799"/>
                  <a:gd name="T12" fmla="*/ 4360 w 4830"/>
                  <a:gd name="T13" fmla="*/ 1391 h 2799"/>
                  <a:gd name="T14" fmla="*/ 4145 w 4830"/>
                  <a:gd name="T15" fmla="*/ 1411 h 2799"/>
                  <a:gd name="T16" fmla="*/ 2660 w 4830"/>
                  <a:gd name="T17" fmla="*/ 608 h 2799"/>
                  <a:gd name="T18" fmla="*/ 2600 w 4830"/>
                  <a:gd name="T19" fmla="*/ 636 h 2799"/>
                  <a:gd name="T20" fmla="*/ 2553 w 4830"/>
                  <a:gd name="T21" fmla="*/ 670 h 2799"/>
                  <a:gd name="T22" fmla="*/ 3944 w 4830"/>
                  <a:gd name="T23" fmla="*/ 1528 h 2799"/>
                  <a:gd name="T24" fmla="*/ 3937 w 4830"/>
                  <a:gd name="T25" fmla="*/ 1636 h 2799"/>
                  <a:gd name="T26" fmla="*/ 3937 w 4830"/>
                  <a:gd name="T27" fmla="*/ 1636 h 2799"/>
                  <a:gd name="T28" fmla="*/ 2284 w 4830"/>
                  <a:gd name="T29" fmla="*/ 827 h 2799"/>
                  <a:gd name="T30" fmla="*/ 3154 w 4830"/>
                  <a:gd name="T31" fmla="*/ 1398 h 2799"/>
                  <a:gd name="T32" fmla="*/ 3675 w 4830"/>
                  <a:gd name="T33" fmla="*/ 1691 h 2799"/>
                  <a:gd name="T34" fmla="*/ 2191 w 4830"/>
                  <a:gd name="T35" fmla="*/ 881 h 2799"/>
                  <a:gd name="T36" fmla="*/ 3569 w 4830"/>
                  <a:gd name="T37" fmla="*/ 1746 h 2799"/>
                  <a:gd name="T38" fmla="*/ 3582 w 4830"/>
                  <a:gd name="T39" fmla="*/ 1739 h 2799"/>
                  <a:gd name="T40" fmla="*/ 2084 w 4830"/>
                  <a:gd name="T41" fmla="*/ 943 h 2799"/>
                  <a:gd name="T42" fmla="*/ 3515 w 4830"/>
                  <a:gd name="T43" fmla="*/ 1881 h 2799"/>
                  <a:gd name="T44" fmla="*/ 1598 w 4830"/>
                  <a:gd name="T45" fmla="*/ 764 h 2799"/>
                  <a:gd name="T46" fmla="*/ 1850 w 4830"/>
                  <a:gd name="T47" fmla="*/ 1072 h 2799"/>
                  <a:gd name="T48" fmla="*/ 1803 w 4830"/>
                  <a:gd name="T49" fmla="*/ 1106 h 2799"/>
                  <a:gd name="T50" fmla="*/ 3194 w 4830"/>
                  <a:gd name="T51" fmla="*/ 1964 h 2799"/>
                  <a:gd name="T52" fmla="*/ 3160 w 4830"/>
                  <a:gd name="T53" fmla="*/ 1991 h 2799"/>
                  <a:gd name="T54" fmla="*/ 3160 w 4830"/>
                  <a:gd name="T55" fmla="*/ 1991 h 2799"/>
                  <a:gd name="T56" fmla="*/ 3113 w 4830"/>
                  <a:gd name="T57" fmla="*/ 2011 h 2799"/>
                  <a:gd name="T58" fmla="*/ 1176 w 4830"/>
                  <a:gd name="T59" fmla="*/ 1009 h 2799"/>
                  <a:gd name="T60" fmla="*/ 1428 w 4830"/>
                  <a:gd name="T61" fmla="*/ 1317 h 2799"/>
                  <a:gd name="T62" fmla="*/ 2819 w 4830"/>
                  <a:gd name="T63" fmla="*/ 2182 h 2799"/>
                  <a:gd name="T64" fmla="*/ 2833 w 4830"/>
                  <a:gd name="T65" fmla="*/ 2180 h 2799"/>
                  <a:gd name="T66" fmla="*/ 2784 w 4830"/>
                  <a:gd name="T67" fmla="*/ 2202 h 2799"/>
                  <a:gd name="T68" fmla="*/ 1284 w 4830"/>
                  <a:gd name="T69" fmla="*/ 1403 h 2799"/>
                  <a:gd name="T70" fmla="*/ 2678 w 4830"/>
                  <a:gd name="T71" fmla="*/ 2264 h 2799"/>
                  <a:gd name="T72" fmla="*/ 2671 w 4830"/>
                  <a:gd name="T73" fmla="*/ 2372 h 2799"/>
                  <a:gd name="T74" fmla="*/ 2671 w 4830"/>
                  <a:gd name="T75" fmla="*/ 2372 h 2799"/>
                  <a:gd name="T76" fmla="*/ 2456 w 4830"/>
                  <a:gd name="T77" fmla="*/ 2393 h 2799"/>
                  <a:gd name="T78" fmla="*/ 2362 w 4830"/>
                  <a:gd name="T79" fmla="*/ 2447 h 2799"/>
                  <a:gd name="T80" fmla="*/ 2315 w 4830"/>
                  <a:gd name="T81" fmla="*/ 2482 h 2799"/>
                  <a:gd name="T82" fmla="*/ 2268 w 4830"/>
                  <a:gd name="T83" fmla="*/ 2509 h 2799"/>
                  <a:gd name="T84" fmla="*/ 2230 w 4830"/>
                  <a:gd name="T85" fmla="*/ 2617 h 2799"/>
                  <a:gd name="T86" fmla="*/ 332 w 4830"/>
                  <a:gd name="T87" fmla="*/ 1500 h 2799"/>
                  <a:gd name="T88" fmla="*/ 830 w 4830"/>
                  <a:gd name="T89" fmla="*/ 1672 h 2799"/>
                  <a:gd name="T90" fmla="*/ 1985 w 4830"/>
                  <a:gd name="T91" fmla="*/ 2284 h 2799"/>
                  <a:gd name="T92" fmla="*/ 2161 w 4830"/>
                  <a:gd name="T93" fmla="*/ 2291 h 2799"/>
                  <a:gd name="T94" fmla="*/ 588 w 4830"/>
                  <a:gd name="T95" fmla="*/ 1430 h 2799"/>
                  <a:gd name="T96" fmla="*/ 1273 w 4830"/>
                  <a:gd name="T97" fmla="*/ 1185 h 2799"/>
                  <a:gd name="T98" fmla="*/ 1696 w 4830"/>
                  <a:gd name="T99" fmla="*/ 1092 h 2799"/>
                  <a:gd name="T100" fmla="*/ 2170 w 4830"/>
                  <a:gd name="T101" fmla="*/ 752 h 2799"/>
                  <a:gd name="T102" fmla="*/ 2276 w 4830"/>
                  <a:gd name="T103" fmla="*/ 449 h 2799"/>
                  <a:gd name="T104" fmla="*/ 2650 w 4830"/>
                  <a:gd name="T105" fmla="*/ 254 h 2799"/>
                  <a:gd name="T106" fmla="*/ 2963 w 4830"/>
                  <a:gd name="T107" fmla="*/ 356 h 2799"/>
                  <a:gd name="T108" fmla="*/ 2758 w 4830"/>
                  <a:gd name="T109" fmla="*/ 0 h 2799"/>
                  <a:gd name="T110" fmla="*/ 2758 w 4830"/>
                  <a:gd name="T111" fmla="*/ 0 h 2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830" h="2799">
                    <a:moveTo>
                      <a:pt x="4567" y="1173"/>
                    </a:moveTo>
                    <a:cubicBezTo>
                      <a:pt x="4563" y="1175"/>
                      <a:pt x="4558" y="1175"/>
                      <a:pt x="4554" y="1173"/>
                    </a:cubicBezTo>
                    <a:lnTo>
                      <a:pt x="3116" y="343"/>
                    </a:lnTo>
                    <a:cubicBezTo>
                      <a:pt x="3113" y="341"/>
                      <a:pt x="3113" y="338"/>
                      <a:pt x="3116" y="336"/>
                    </a:cubicBezTo>
                    <a:cubicBezTo>
                      <a:pt x="3120" y="334"/>
                      <a:pt x="3125" y="334"/>
                      <a:pt x="3129" y="336"/>
                    </a:cubicBezTo>
                    <a:lnTo>
                      <a:pt x="4567" y="1166"/>
                    </a:lnTo>
                    <a:cubicBezTo>
                      <a:pt x="4570" y="1168"/>
                      <a:pt x="4570" y="1171"/>
                      <a:pt x="4567" y="1173"/>
                    </a:cubicBezTo>
                    <a:moveTo>
                      <a:pt x="4520" y="1201"/>
                    </a:moveTo>
                    <a:cubicBezTo>
                      <a:pt x="4516" y="1203"/>
                      <a:pt x="4511" y="1203"/>
                      <a:pt x="4507" y="1201"/>
                    </a:cubicBezTo>
                    <a:lnTo>
                      <a:pt x="3069" y="370"/>
                    </a:lnTo>
                    <a:cubicBezTo>
                      <a:pt x="3066" y="368"/>
                      <a:pt x="3066" y="365"/>
                      <a:pt x="3069" y="363"/>
                    </a:cubicBezTo>
                    <a:cubicBezTo>
                      <a:pt x="3073" y="361"/>
                      <a:pt x="3078" y="361"/>
                      <a:pt x="3082" y="363"/>
                    </a:cubicBezTo>
                    <a:lnTo>
                      <a:pt x="4520" y="1193"/>
                    </a:lnTo>
                    <a:cubicBezTo>
                      <a:pt x="4523" y="1195"/>
                      <a:pt x="4523" y="1199"/>
                      <a:pt x="4520" y="1201"/>
                    </a:cubicBezTo>
                    <a:close/>
                    <a:moveTo>
                      <a:pt x="4473" y="1228"/>
                    </a:moveTo>
                    <a:cubicBezTo>
                      <a:pt x="4469" y="1230"/>
                      <a:pt x="4464" y="1230"/>
                      <a:pt x="4460" y="1228"/>
                    </a:cubicBezTo>
                    <a:lnTo>
                      <a:pt x="3022" y="398"/>
                    </a:lnTo>
                    <a:cubicBezTo>
                      <a:pt x="3019" y="396"/>
                      <a:pt x="3019" y="392"/>
                      <a:pt x="3022" y="390"/>
                    </a:cubicBezTo>
                    <a:cubicBezTo>
                      <a:pt x="3026" y="388"/>
                      <a:pt x="3031" y="388"/>
                      <a:pt x="3035" y="390"/>
                    </a:cubicBezTo>
                    <a:lnTo>
                      <a:pt x="4473" y="1221"/>
                    </a:lnTo>
                    <a:cubicBezTo>
                      <a:pt x="4476" y="1223"/>
                      <a:pt x="4476" y="1226"/>
                      <a:pt x="4473" y="1228"/>
                    </a:cubicBezTo>
                    <a:moveTo>
                      <a:pt x="4426" y="1255"/>
                    </a:moveTo>
                    <a:cubicBezTo>
                      <a:pt x="4423" y="1257"/>
                      <a:pt x="4417" y="1257"/>
                      <a:pt x="4413" y="1255"/>
                    </a:cubicBezTo>
                    <a:lnTo>
                      <a:pt x="2975" y="425"/>
                    </a:lnTo>
                    <a:cubicBezTo>
                      <a:pt x="2972" y="423"/>
                      <a:pt x="2972" y="420"/>
                      <a:pt x="2975" y="418"/>
                    </a:cubicBezTo>
                    <a:cubicBezTo>
                      <a:pt x="2979" y="416"/>
                      <a:pt x="2984" y="416"/>
                      <a:pt x="2988" y="418"/>
                    </a:cubicBezTo>
                    <a:lnTo>
                      <a:pt x="4426" y="1248"/>
                    </a:lnTo>
                    <a:cubicBezTo>
                      <a:pt x="4429" y="1250"/>
                      <a:pt x="4429" y="1253"/>
                      <a:pt x="4426" y="1255"/>
                    </a:cubicBezTo>
                    <a:close/>
                    <a:moveTo>
                      <a:pt x="4379" y="1282"/>
                    </a:moveTo>
                    <a:cubicBezTo>
                      <a:pt x="4376" y="1284"/>
                      <a:pt x="4370" y="1284"/>
                      <a:pt x="4366" y="1282"/>
                    </a:cubicBezTo>
                    <a:lnTo>
                      <a:pt x="2928" y="452"/>
                    </a:lnTo>
                    <a:cubicBezTo>
                      <a:pt x="2925" y="450"/>
                      <a:pt x="2925" y="447"/>
                      <a:pt x="2929" y="445"/>
                    </a:cubicBezTo>
                    <a:cubicBezTo>
                      <a:pt x="2932" y="443"/>
                      <a:pt x="2938" y="443"/>
                      <a:pt x="2941" y="445"/>
                    </a:cubicBezTo>
                    <a:lnTo>
                      <a:pt x="4379" y="1275"/>
                    </a:lnTo>
                    <a:cubicBezTo>
                      <a:pt x="4383" y="1277"/>
                      <a:pt x="4382" y="1280"/>
                      <a:pt x="4379" y="1282"/>
                    </a:cubicBezTo>
                    <a:moveTo>
                      <a:pt x="4360" y="1391"/>
                    </a:moveTo>
                    <a:cubicBezTo>
                      <a:pt x="4354" y="1394"/>
                      <a:pt x="4346" y="1394"/>
                      <a:pt x="4341" y="1391"/>
                    </a:cubicBezTo>
                    <a:lnTo>
                      <a:pt x="2424" y="284"/>
                    </a:lnTo>
                    <a:cubicBezTo>
                      <a:pt x="2419" y="281"/>
                      <a:pt x="2419" y="276"/>
                      <a:pt x="2424" y="273"/>
                    </a:cubicBezTo>
                    <a:cubicBezTo>
                      <a:pt x="2429" y="270"/>
                      <a:pt x="2438" y="270"/>
                      <a:pt x="2443" y="273"/>
                    </a:cubicBezTo>
                    <a:lnTo>
                      <a:pt x="4360" y="1380"/>
                    </a:lnTo>
                    <a:cubicBezTo>
                      <a:pt x="4365" y="1383"/>
                      <a:pt x="4365" y="1388"/>
                      <a:pt x="4360" y="1391"/>
                    </a:cubicBezTo>
                    <a:moveTo>
                      <a:pt x="4145" y="1419"/>
                    </a:moveTo>
                    <a:cubicBezTo>
                      <a:pt x="4141" y="1421"/>
                      <a:pt x="4136" y="1421"/>
                      <a:pt x="4132" y="1419"/>
                    </a:cubicBezTo>
                    <a:lnTo>
                      <a:pt x="2694" y="588"/>
                    </a:lnTo>
                    <a:cubicBezTo>
                      <a:pt x="2691" y="586"/>
                      <a:pt x="2691" y="583"/>
                      <a:pt x="2694" y="581"/>
                    </a:cubicBezTo>
                    <a:cubicBezTo>
                      <a:pt x="2697" y="579"/>
                      <a:pt x="2703" y="579"/>
                      <a:pt x="2707" y="581"/>
                    </a:cubicBezTo>
                    <a:lnTo>
                      <a:pt x="4145" y="1411"/>
                    </a:lnTo>
                    <a:cubicBezTo>
                      <a:pt x="4148" y="1413"/>
                      <a:pt x="4148" y="1417"/>
                      <a:pt x="4145" y="1419"/>
                    </a:cubicBezTo>
                    <a:moveTo>
                      <a:pt x="4098" y="1446"/>
                    </a:moveTo>
                    <a:cubicBezTo>
                      <a:pt x="4094" y="1448"/>
                      <a:pt x="4089" y="1448"/>
                      <a:pt x="4085" y="1446"/>
                    </a:cubicBezTo>
                    <a:lnTo>
                      <a:pt x="2647" y="616"/>
                    </a:lnTo>
                    <a:cubicBezTo>
                      <a:pt x="2644" y="614"/>
                      <a:pt x="2644" y="610"/>
                      <a:pt x="2647" y="608"/>
                    </a:cubicBezTo>
                    <a:cubicBezTo>
                      <a:pt x="2651" y="606"/>
                      <a:pt x="2656" y="606"/>
                      <a:pt x="2660" y="608"/>
                    </a:cubicBezTo>
                    <a:lnTo>
                      <a:pt x="4098" y="1439"/>
                    </a:lnTo>
                    <a:cubicBezTo>
                      <a:pt x="4101" y="1441"/>
                      <a:pt x="4101" y="1444"/>
                      <a:pt x="4098" y="1446"/>
                    </a:cubicBezTo>
                    <a:close/>
                    <a:moveTo>
                      <a:pt x="4051" y="1473"/>
                    </a:moveTo>
                    <a:cubicBezTo>
                      <a:pt x="4047" y="1475"/>
                      <a:pt x="4042" y="1475"/>
                      <a:pt x="4038" y="1473"/>
                    </a:cubicBezTo>
                    <a:lnTo>
                      <a:pt x="2600" y="643"/>
                    </a:lnTo>
                    <a:cubicBezTo>
                      <a:pt x="2597" y="641"/>
                      <a:pt x="2597" y="638"/>
                      <a:pt x="2600" y="636"/>
                    </a:cubicBezTo>
                    <a:cubicBezTo>
                      <a:pt x="2604" y="634"/>
                      <a:pt x="2609" y="634"/>
                      <a:pt x="2613" y="636"/>
                    </a:cubicBezTo>
                    <a:lnTo>
                      <a:pt x="4051" y="1466"/>
                    </a:lnTo>
                    <a:cubicBezTo>
                      <a:pt x="4054" y="1468"/>
                      <a:pt x="4054" y="1471"/>
                      <a:pt x="4051" y="1473"/>
                    </a:cubicBezTo>
                    <a:moveTo>
                      <a:pt x="4004" y="1500"/>
                    </a:moveTo>
                    <a:cubicBezTo>
                      <a:pt x="4000" y="1502"/>
                      <a:pt x="3995" y="1502"/>
                      <a:pt x="3991" y="1500"/>
                    </a:cubicBezTo>
                    <a:lnTo>
                      <a:pt x="2553" y="670"/>
                    </a:lnTo>
                    <a:cubicBezTo>
                      <a:pt x="2550" y="668"/>
                      <a:pt x="2550" y="665"/>
                      <a:pt x="2553" y="663"/>
                    </a:cubicBezTo>
                    <a:cubicBezTo>
                      <a:pt x="2557" y="661"/>
                      <a:pt x="2562" y="661"/>
                      <a:pt x="2566" y="663"/>
                    </a:cubicBezTo>
                    <a:lnTo>
                      <a:pt x="4004" y="1493"/>
                    </a:lnTo>
                    <a:cubicBezTo>
                      <a:pt x="4007" y="1495"/>
                      <a:pt x="4007" y="1498"/>
                      <a:pt x="4004" y="1500"/>
                    </a:cubicBezTo>
                    <a:close/>
                    <a:moveTo>
                      <a:pt x="3957" y="1528"/>
                    </a:moveTo>
                    <a:cubicBezTo>
                      <a:pt x="3953" y="1530"/>
                      <a:pt x="3948" y="1530"/>
                      <a:pt x="3944" y="1528"/>
                    </a:cubicBezTo>
                    <a:lnTo>
                      <a:pt x="2506" y="698"/>
                    </a:lnTo>
                    <a:cubicBezTo>
                      <a:pt x="2503" y="696"/>
                      <a:pt x="2503" y="692"/>
                      <a:pt x="2506" y="690"/>
                    </a:cubicBezTo>
                    <a:cubicBezTo>
                      <a:pt x="2510" y="688"/>
                      <a:pt x="2515" y="688"/>
                      <a:pt x="2519" y="690"/>
                    </a:cubicBezTo>
                    <a:lnTo>
                      <a:pt x="3957" y="1520"/>
                    </a:lnTo>
                    <a:cubicBezTo>
                      <a:pt x="3960" y="1522"/>
                      <a:pt x="3960" y="1526"/>
                      <a:pt x="3957" y="1528"/>
                    </a:cubicBezTo>
                    <a:moveTo>
                      <a:pt x="3937" y="1636"/>
                    </a:moveTo>
                    <a:cubicBezTo>
                      <a:pt x="3932" y="1639"/>
                      <a:pt x="3924" y="1639"/>
                      <a:pt x="3919" y="1636"/>
                    </a:cubicBezTo>
                    <a:lnTo>
                      <a:pt x="2002" y="529"/>
                    </a:lnTo>
                    <a:cubicBezTo>
                      <a:pt x="1997" y="526"/>
                      <a:pt x="1997" y="521"/>
                      <a:pt x="2002" y="518"/>
                    </a:cubicBezTo>
                    <a:cubicBezTo>
                      <a:pt x="2007" y="515"/>
                      <a:pt x="2015" y="516"/>
                      <a:pt x="2021" y="518"/>
                    </a:cubicBezTo>
                    <a:lnTo>
                      <a:pt x="3937" y="1625"/>
                    </a:lnTo>
                    <a:cubicBezTo>
                      <a:pt x="3943" y="1628"/>
                      <a:pt x="3943" y="1633"/>
                      <a:pt x="3937" y="1636"/>
                    </a:cubicBezTo>
                    <a:moveTo>
                      <a:pt x="3722" y="1664"/>
                    </a:moveTo>
                    <a:cubicBezTo>
                      <a:pt x="3719" y="1666"/>
                      <a:pt x="3713" y="1666"/>
                      <a:pt x="3710" y="1664"/>
                    </a:cubicBezTo>
                    <a:lnTo>
                      <a:pt x="3201" y="1370"/>
                    </a:lnTo>
                    <a:lnTo>
                      <a:pt x="2272" y="834"/>
                    </a:lnTo>
                    <a:cubicBezTo>
                      <a:pt x="2268" y="832"/>
                      <a:pt x="2268" y="829"/>
                      <a:pt x="2272" y="827"/>
                    </a:cubicBezTo>
                    <a:cubicBezTo>
                      <a:pt x="2275" y="825"/>
                      <a:pt x="2281" y="825"/>
                      <a:pt x="2284" y="827"/>
                    </a:cubicBezTo>
                    <a:lnTo>
                      <a:pt x="3214" y="1363"/>
                    </a:lnTo>
                    <a:lnTo>
                      <a:pt x="3722" y="1657"/>
                    </a:lnTo>
                    <a:cubicBezTo>
                      <a:pt x="3726" y="1659"/>
                      <a:pt x="3726" y="1662"/>
                      <a:pt x="3722" y="1664"/>
                    </a:cubicBezTo>
                    <a:close/>
                    <a:moveTo>
                      <a:pt x="3675" y="1691"/>
                    </a:moveTo>
                    <a:cubicBezTo>
                      <a:pt x="3672" y="1693"/>
                      <a:pt x="3666" y="1693"/>
                      <a:pt x="3663" y="1691"/>
                    </a:cubicBezTo>
                    <a:lnTo>
                      <a:pt x="3154" y="1398"/>
                    </a:lnTo>
                    <a:lnTo>
                      <a:pt x="2225" y="861"/>
                    </a:lnTo>
                    <a:cubicBezTo>
                      <a:pt x="2221" y="859"/>
                      <a:pt x="2221" y="856"/>
                      <a:pt x="2225" y="854"/>
                    </a:cubicBezTo>
                    <a:cubicBezTo>
                      <a:pt x="2228" y="852"/>
                      <a:pt x="2234" y="852"/>
                      <a:pt x="2237" y="854"/>
                    </a:cubicBezTo>
                    <a:lnTo>
                      <a:pt x="3167" y="1390"/>
                    </a:lnTo>
                    <a:lnTo>
                      <a:pt x="3675" y="1684"/>
                    </a:lnTo>
                    <a:cubicBezTo>
                      <a:pt x="3679" y="1686"/>
                      <a:pt x="3679" y="1689"/>
                      <a:pt x="3675" y="1691"/>
                    </a:cubicBezTo>
                    <a:close/>
                    <a:moveTo>
                      <a:pt x="3629" y="1719"/>
                    </a:moveTo>
                    <a:cubicBezTo>
                      <a:pt x="3625" y="1721"/>
                      <a:pt x="3620" y="1721"/>
                      <a:pt x="3616" y="1719"/>
                    </a:cubicBezTo>
                    <a:lnTo>
                      <a:pt x="3107" y="1425"/>
                    </a:lnTo>
                    <a:lnTo>
                      <a:pt x="2178" y="888"/>
                    </a:lnTo>
                    <a:cubicBezTo>
                      <a:pt x="2175" y="886"/>
                      <a:pt x="2175" y="883"/>
                      <a:pt x="2178" y="881"/>
                    </a:cubicBezTo>
                    <a:cubicBezTo>
                      <a:pt x="2181" y="879"/>
                      <a:pt x="2187" y="879"/>
                      <a:pt x="2191" y="881"/>
                    </a:cubicBezTo>
                    <a:lnTo>
                      <a:pt x="3120" y="1418"/>
                    </a:lnTo>
                    <a:lnTo>
                      <a:pt x="3629" y="1711"/>
                    </a:lnTo>
                    <a:cubicBezTo>
                      <a:pt x="3632" y="1713"/>
                      <a:pt x="3632" y="1717"/>
                      <a:pt x="3629" y="1719"/>
                    </a:cubicBezTo>
                    <a:moveTo>
                      <a:pt x="3584" y="1744"/>
                    </a:moveTo>
                    <a:lnTo>
                      <a:pt x="3582" y="1746"/>
                    </a:lnTo>
                    <a:cubicBezTo>
                      <a:pt x="3578" y="1748"/>
                      <a:pt x="3573" y="1748"/>
                      <a:pt x="3569" y="1746"/>
                    </a:cubicBezTo>
                    <a:lnTo>
                      <a:pt x="3060" y="1452"/>
                    </a:lnTo>
                    <a:lnTo>
                      <a:pt x="2131" y="916"/>
                    </a:lnTo>
                    <a:cubicBezTo>
                      <a:pt x="2128" y="914"/>
                      <a:pt x="2128" y="910"/>
                      <a:pt x="2131" y="908"/>
                    </a:cubicBezTo>
                    <a:cubicBezTo>
                      <a:pt x="2135" y="906"/>
                      <a:pt x="2140" y="906"/>
                      <a:pt x="2144" y="908"/>
                    </a:cubicBezTo>
                    <a:lnTo>
                      <a:pt x="3073" y="1445"/>
                    </a:lnTo>
                    <a:lnTo>
                      <a:pt x="3582" y="1739"/>
                    </a:lnTo>
                    <a:cubicBezTo>
                      <a:pt x="3583" y="1740"/>
                      <a:pt x="3584" y="1741"/>
                      <a:pt x="3584" y="1742"/>
                    </a:cubicBezTo>
                    <a:lnTo>
                      <a:pt x="3584" y="1744"/>
                    </a:lnTo>
                    <a:close/>
                    <a:moveTo>
                      <a:pt x="3535" y="1773"/>
                    </a:moveTo>
                    <a:cubicBezTo>
                      <a:pt x="3531" y="1775"/>
                      <a:pt x="3526" y="1775"/>
                      <a:pt x="3522" y="1773"/>
                    </a:cubicBezTo>
                    <a:lnTo>
                      <a:pt x="3014" y="1479"/>
                    </a:lnTo>
                    <a:lnTo>
                      <a:pt x="2084" y="943"/>
                    </a:lnTo>
                    <a:cubicBezTo>
                      <a:pt x="2081" y="941"/>
                      <a:pt x="2081" y="938"/>
                      <a:pt x="2084" y="936"/>
                    </a:cubicBezTo>
                    <a:cubicBezTo>
                      <a:pt x="2088" y="934"/>
                      <a:pt x="2093" y="934"/>
                      <a:pt x="2097" y="936"/>
                    </a:cubicBezTo>
                    <a:lnTo>
                      <a:pt x="3026" y="1472"/>
                    </a:lnTo>
                    <a:lnTo>
                      <a:pt x="3535" y="1766"/>
                    </a:lnTo>
                    <a:cubicBezTo>
                      <a:pt x="3538" y="1768"/>
                      <a:pt x="3538" y="1771"/>
                      <a:pt x="3535" y="1773"/>
                    </a:cubicBezTo>
                    <a:moveTo>
                      <a:pt x="3515" y="1881"/>
                    </a:moveTo>
                    <a:cubicBezTo>
                      <a:pt x="3510" y="1884"/>
                      <a:pt x="3502" y="1884"/>
                      <a:pt x="3497" y="1881"/>
                    </a:cubicBezTo>
                    <a:lnTo>
                      <a:pt x="1580" y="775"/>
                    </a:lnTo>
                    <a:lnTo>
                      <a:pt x="1577" y="772"/>
                    </a:lnTo>
                    <a:lnTo>
                      <a:pt x="1576" y="769"/>
                    </a:lnTo>
                    <a:cubicBezTo>
                      <a:pt x="1576" y="767"/>
                      <a:pt x="1577" y="765"/>
                      <a:pt x="1580" y="764"/>
                    </a:cubicBezTo>
                    <a:cubicBezTo>
                      <a:pt x="1585" y="761"/>
                      <a:pt x="1593" y="761"/>
                      <a:pt x="1598" y="764"/>
                    </a:cubicBezTo>
                    <a:lnTo>
                      <a:pt x="3515" y="1871"/>
                    </a:lnTo>
                    <a:cubicBezTo>
                      <a:pt x="3520" y="1874"/>
                      <a:pt x="3521" y="1878"/>
                      <a:pt x="3515" y="1881"/>
                    </a:cubicBezTo>
                    <a:close/>
                    <a:moveTo>
                      <a:pt x="3300" y="1909"/>
                    </a:moveTo>
                    <a:cubicBezTo>
                      <a:pt x="3297" y="1911"/>
                      <a:pt x="3291" y="1911"/>
                      <a:pt x="3288" y="1909"/>
                    </a:cubicBezTo>
                    <a:lnTo>
                      <a:pt x="1850" y="1079"/>
                    </a:lnTo>
                    <a:cubicBezTo>
                      <a:pt x="1846" y="1077"/>
                      <a:pt x="1846" y="1074"/>
                      <a:pt x="1850" y="1072"/>
                    </a:cubicBezTo>
                    <a:cubicBezTo>
                      <a:pt x="1853" y="1070"/>
                      <a:pt x="1859" y="1070"/>
                      <a:pt x="1862" y="1072"/>
                    </a:cubicBezTo>
                    <a:lnTo>
                      <a:pt x="3300" y="1902"/>
                    </a:lnTo>
                    <a:cubicBezTo>
                      <a:pt x="3304" y="1904"/>
                      <a:pt x="3304" y="1907"/>
                      <a:pt x="3300" y="1909"/>
                    </a:cubicBezTo>
                    <a:moveTo>
                      <a:pt x="3253" y="1937"/>
                    </a:moveTo>
                    <a:cubicBezTo>
                      <a:pt x="3250" y="1939"/>
                      <a:pt x="3244" y="1939"/>
                      <a:pt x="3241" y="1937"/>
                    </a:cubicBezTo>
                    <a:lnTo>
                      <a:pt x="1803" y="1106"/>
                    </a:lnTo>
                    <a:cubicBezTo>
                      <a:pt x="1799" y="1104"/>
                      <a:pt x="1799" y="1101"/>
                      <a:pt x="1803" y="1099"/>
                    </a:cubicBezTo>
                    <a:cubicBezTo>
                      <a:pt x="1806" y="1097"/>
                      <a:pt x="1812" y="1097"/>
                      <a:pt x="1815" y="1099"/>
                    </a:cubicBezTo>
                    <a:lnTo>
                      <a:pt x="3253" y="1929"/>
                    </a:lnTo>
                    <a:cubicBezTo>
                      <a:pt x="3257" y="1931"/>
                      <a:pt x="3257" y="1935"/>
                      <a:pt x="3253" y="1937"/>
                    </a:cubicBezTo>
                    <a:moveTo>
                      <a:pt x="3206" y="1964"/>
                    </a:moveTo>
                    <a:cubicBezTo>
                      <a:pt x="3203" y="1966"/>
                      <a:pt x="3197" y="1966"/>
                      <a:pt x="3194" y="1964"/>
                    </a:cubicBezTo>
                    <a:lnTo>
                      <a:pt x="1756" y="1134"/>
                    </a:lnTo>
                    <a:cubicBezTo>
                      <a:pt x="1752" y="1132"/>
                      <a:pt x="1752" y="1128"/>
                      <a:pt x="1756" y="1126"/>
                    </a:cubicBezTo>
                    <a:cubicBezTo>
                      <a:pt x="1759" y="1124"/>
                      <a:pt x="1765" y="1124"/>
                      <a:pt x="1768" y="1126"/>
                    </a:cubicBezTo>
                    <a:lnTo>
                      <a:pt x="3206" y="1957"/>
                    </a:lnTo>
                    <a:cubicBezTo>
                      <a:pt x="3210" y="1959"/>
                      <a:pt x="3210" y="1962"/>
                      <a:pt x="3206" y="1964"/>
                    </a:cubicBezTo>
                    <a:close/>
                    <a:moveTo>
                      <a:pt x="3160" y="1991"/>
                    </a:moveTo>
                    <a:cubicBezTo>
                      <a:pt x="3156" y="1993"/>
                      <a:pt x="3150" y="1993"/>
                      <a:pt x="3147" y="1991"/>
                    </a:cubicBezTo>
                    <a:lnTo>
                      <a:pt x="1709" y="1161"/>
                    </a:lnTo>
                    <a:cubicBezTo>
                      <a:pt x="1706" y="1159"/>
                      <a:pt x="1705" y="1156"/>
                      <a:pt x="1709" y="1154"/>
                    </a:cubicBezTo>
                    <a:cubicBezTo>
                      <a:pt x="1712" y="1152"/>
                      <a:pt x="1718" y="1152"/>
                      <a:pt x="1721" y="1154"/>
                    </a:cubicBezTo>
                    <a:lnTo>
                      <a:pt x="3159" y="1984"/>
                    </a:lnTo>
                    <a:cubicBezTo>
                      <a:pt x="3163" y="1986"/>
                      <a:pt x="3163" y="1989"/>
                      <a:pt x="3160" y="1991"/>
                    </a:cubicBezTo>
                    <a:close/>
                    <a:moveTo>
                      <a:pt x="3113" y="2018"/>
                    </a:moveTo>
                    <a:cubicBezTo>
                      <a:pt x="3109" y="2020"/>
                      <a:pt x="3104" y="2020"/>
                      <a:pt x="3100" y="2018"/>
                    </a:cubicBezTo>
                    <a:lnTo>
                      <a:pt x="1662" y="1188"/>
                    </a:lnTo>
                    <a:cubicBezTo>
                      <a:pt x="1659" y="1186"/>
                      <a:pt x="1659" y="1183"/>
                      <a:pt x="1662" y="1181"/>
                    </a:cubicBezTo>
                    <a:cubicBezTo>
                      <a:pt x="1665" y="1179"/>
                      <a:pt x="1671" y="1179"/>
                      <a:pt x="1675" y="1181"/>
                    </a:cubicBezTo>
                    <a:lnTo>
                      <a:pt x="3113" y="2011"/>
                    </a:lnTo>
                    <a:cubicBezTo>
                      <a:pt x="3116" y="2013"/>
                      <a:pt x="3116" y="2016"/>
                      <a:pt x="3113" y="2018"/>
                    </a:cubicBezTo>
                    <a:close/>
                    <a:moveTo>
                      <a:pt x="3093" y="2127"/>
                    </a:moveTo>
                    <a:cubicBezTo>
                      <a:pt x="3088" y="2130"/>
                      <a:pt x="3080" y="2130"/>
                      <a:pt x="3074" y="2127"/>
                    </a:cubicBezTo>
                    <a:lnTo>
                      <a:pt x="1158" y="1020"/>
                    </a:lnTo>
                    <a:cubicBezTo>
                      <a:pt x="1152" y="1017"/>
                      <a:pt x="1152" y="1012"/>
                      <a:pt x="1157" y="1009"/>
                    </a:cubicBezTo>
                    <a:cubicBezTo>
                      <a:pt x="1163" y="1006"/>
                      <a:pt x="1171" y="1006"/>
                      <a:pt x="1176" y="1009"/>
                    </a:cubicBezTo>
                    <a:lnTo>
                      <a:pt x="3093" y="2116"/>
                    </a:lnTo>
                    <a:cubicBezTo>
                      <a:pt x="3098" y="2119"/>
                      <a:pt x="3098" y="2124"/>
                      <a:pt x="3093" y="2127"/>
                    </a:cubicBezTo>
                    <a:close/>
                    <a:moveTo>
                      <a:pt x="2878" y="2155"/>
                    </a:moveTo>
                    <a:cubicBezTo>
                      <a:pt x="2875" y="2157"/>
                      <a:pt x="2869" y="2157"/>
                      <a:pt x="2866" y="2155"/>
                    </a:cubicBezTo>
                    <a:lnTo>
                      <a:pt x="1428" y="1324"/>
                    </a:lnTo>
                    <a:cubicBezTo>
                      <a:pt x="1424" y="1322"/>
                      <a:pt x="1424" y="1319"/>
                      <a:pt x="1428" y="1317"/>
                    </a:cubicBezTo>
                    <a:cubicBezTo>
                      <a:pt x="1431" y="1315"/>
                      <a:pt x="1437" y="1315"/>
                      <a:pt x="1440" y="1317"/>
                    </a:cubicBezTo>
                    <a:lnTo>
                      <a:pt x="2878" y="2147"/>
                    </a:lnTo>
                    <a:cubicBezTo>
                      <a:pt x="2882" y="2149"/>
                      <a:pt x="2882" y="2153"/>
                      <a:pt x="2878" y="2155"/>
                    </a:cubicBezTo>
                    <a:close/>
                    <a:moveTo>
                      <a:pt x="2833" y="2180"/>
                    </a:moveTo>
                    <a:lnTo>
                      <a:pt x="2831" y="2182"/>
                    </a:lnTo>
                    <a:cubicBezTo>
                      <a:pt x="2828" y="2184"/>
                      <a:pt x="2822" y="2184"/>
                      <a:pt x="2819" y="2182"/>
                    </a:cubicBezTo>
                    <a:lnTo>
                      <a:pt x="1381" y="1352"/>
                    </a:lnTo>
                    <a:cubicBezTo>
                      <a:pt x="1377" y="1350"/>
                      <a:pt x="1377" y="1346"/>
                      <a:pt x="1381" y="1344"/>
                    </a:cubicBezTo>
                    <a:cubicBezTo>
                      <a:pt x="1384" y="1342"/>
                      <a:pt x="1390" y="1342"/>
                      <a:pt x="1393" y="1344"/>
                    </a:cubicBezTo>
                    <a:lnTo>
                      <a:pt x="2831" y="2175"/>
                    </a:lnTo>
                    <a:cubicBezTo>
                      <a:pt x="2833" y="2176"/>
                      <a:pt x="2834" y="2177"/>
                      <a:pt x="2834" y="2178"/>
                    </a:cubicBezTo>
                    <a:lnTo>
                      <a:pt x="2833" y="2180"/>
                    </a:lnTo>
                    <a:moveTo>
                      <a:pt x="2784" y="2209"/>
                    </a:moveTo>
                    <a:cubicBezTo>
                      <a:pt x="2781" y="2211"/>
                      <a:pt x="2775" y="2211"/>
                      <a:pt x="2772" y="2209"/>
                    </a:cubicBezTo>
                    <a:lnTo>
                      <a:pt x="1334" y="1379"/>
                    </a:lnTo>
                    <a:cubicBezTo>
                      <a:pt x="1330" y="1377"/>
                      <a:pt x="1330" y="1374"/>
                      <a:pt x="1334" y="1372"/>
                    </a:cubicBezTo>
                    <a:cubicBezTo>
                      <a:pt x="1337" y="1370"/>
                      <a:pt x="1343" y="1370"/>
                      <a:pt x="1346" y="1372"/>
                    </a:cubicBezTo>
                    <a:lnTo>
                      <a:pt x="2784" y="2202"/>
                    </a:lnTo>
                    <a:cubicBezTo>
                      <a:pt x="2788" y="2204"/>
                      <a:pt x="2788" y="2207"/>
                      <a:pt x="2784" y="2209"/>
                    </a:cubicBezTo>
                    <a:close/>
                    <a:moveTo>
                      <a:pt x="2737" y="2236"/>
                    </a:moveTo>
                    <a:cubicBezTo>
                      <a:pt x="2734" y="2238"/>
                      <a:pt x="2728" y="2238"/>
                      <a:pt x="2725" y="2236"/>
                    </a:cubicBezTo>
                    <a:lnTo>
                      <a:pt x="1287" y="1406"/>
                    </a:lnTo>
                    <a:lnTo>
                      <a:pt x="1285" y="1405"/>
                    </a:lnTo>
                    <a:lnTo>
                      <a:pt x="1284" y="1403"/>
                    </a:lnTo>
                    <a:cubicBezTo>
                      <a:pt x="1284" y="1401"/>
                      <a:pt x="1285" y="1400"/>
                      <a:pt x="1287" y="1399"/>
                    </a:cubicBezTo>
                    <a:cubicBezTo>
                      <a:pt x="1290" y="1397"/>
                      <a:pt x="1296" y="1397"/>
                      <a:pt x="1299" y="1399"/>
                    </a:cubicBezTo>
                    <a:lnTo>
                      <a:pt x="2737" y="2229"/>
                    </a:lnTo>
                    <a:cubicBezTo>
                      <a:pt x="2741" y="2231"/>
                      <a:pt x="2741" y="2234"/>
                      <a:pt x="2737" y="2236"/>
                    </a:cubicBezTo>
                    <a:close/>
                    <a:moveTo>
                      <a:pt x="2691" y="2264"/>
                    </a:moveTo>
                    <a:cubicBezTo>
                      <a:pt x="2687" y="2266"/>
                      <a:pt x="2681" y="2266"/>
                      <a:pt x="2678" y="2264"/>
                    </a:cubicBezTo>
                    <a:lnTo>
                      <a:pt x="1240" y="1434"/>
                    </a:lnTo>
                    <a:cubicBezTo>
                      <a:pt x="1236" y="1432"/>
                      <a:pt x="1236" y="1428"/>
                      <a:pt x="1240" y="1426"/>
                    </a:cubicBezTo>
                    <a:cubicBezTo>
                      <a:pt x="1243" y="1424"/>
                      <a:pt x="1249" y="1424"/>
                      <a:pt x="1252" y="1426"/>
                    </a:cubicBezTo>
                    <a:lnTo>
                      <a:pt x="2690" y="2256"/>
                    </a:lnTo>
                    <a:cubicBezTo>
                      <a:pt x="2694" y="2258"/>
                      <a:pt x="2694" y="2262"/>
                      <a:pt x="2691" y="2264"/>
                    </a:cubicBezTo>
                    <a:close/>
                    <a:moveTo>
                      <a:pt x="2671" y="2372"/>
                    </a:moveTo>
                    <a:cubicBezTo>
                      <a:pt x="2666" y="2375"/>
                      <a:pt x="2657" y="2375"/>
                      <a:pt x="2652" y="2372"/>
                    </a:cubicBezTo>
                    <a:lnTo>
                      <a:pt x="735" y="1265"/>
                    </a:lnTo>
                    <a:cubicBezTo>
                      <a:pt x="730" y="1262"/>
                      <a:pt x="730" y="1257"/>
                      <a:pt x="735" y="1254"/>
                    </a:cubicBezTo>
                    <a:cubicBezTo>
                      <a:pt x="741" y="1251"/>
                      <a:pt x="749" y="1251"/>
                      <a:pt x="754" y="1254"/>
                    </a:cubicBezTo>
                    <a:lnTo>
                      <a:pt x="2671" y="2361"/>
                    </a:lnTo>
                    <a:cubicBezTo>
                      <a:pt x="2676" y="2364"/>
                      <a:pt x="2676" y="2369"/>
                      <a:pt x="2671" y="2372"/>
                    </a:cubicBezTo>
                    <a:moveTo>
                      <a:pt x="2456" y="2400"/>
                    </a:moveTo>
                    <a:cubicBezTo>
                      <a:pt x="2452" y="2402"/>
                      <a:pt x="2447" y="2402"/>
                      <a:pt x="2443" y="2400"/>
                    </a:cubicBezTo>
                    <a:lnTo>
                      <a:pt x="1005" y="1570"/>
                    </a:lnTo>
                    <a:cubicBezTo>
                      <a:pt x="1002" y="1568"/>
                      <a:pt x="1002" y="1565"/>
                      <a:pt x="1005" y="1563"/>
                    </a:cubicBezTo>
                    <a:cubicBezTo>
                      <a:pt x="1009" y="1560"/>
                      <a:pt x="1014" y="1561"/>
                      <a:pt x="1018" y="1563"/>
                    </a:cubicBezTo>
                    <a:lnTo>
                      <a:pt x="2456" y="2393"/>
                    </a:lnTo>
                    <a:cubicBezTo>
                      <a:pt x="2459" y="2395"/>
                      <a:pt x="2459" y="2398"/>
                      <a:pt x="2456" y="2400"/>
                    </a:cubicBezTo>
                    <a:close/>
                    <a:moveTo>
                      <a:pt x="2409" y="2427"/>
                    </a:moveTo>
                    <a:cubicBezTo>
                      <a:pt x="2406" y="2429"/>
                      <a:pt x="2400" y="2429"/>
                      <a:pt x="2396" y="2427"/>
                    </a:cubicBezTo>
                    <a:lnTo>
                      <a:pt x="2285" y="2363"/>
                    </a:lnTo>
                    <a:cubicBezTo>
                      <a:pt x="2299" y="2380"/>
                      <a:pt x="2307" y="2398"/>
                      <a:pt x="2309" y="2416"/>
                    </a:cubicBezTo>
                    <a:lnTo>
                      <a:pt x="2362" y="2447"/>
                    </a:lnTo>
                    <a:cubicBezTo>
                      <a:pt x="2366" y="2449"/>
                      <a:pt x="2366" y="2453"/>
                      <a:pt x="2362" y="2455"/>
                    </a:cubicBezTo>
                    <a:cubicBezTo>
                      <a:pt x="2359" y="2457"/>
                      <a:pt x="2353" y="2457"/>
                      <a:pt x="2350" y="2455"/>
                    </a:cubicBezTo>
                    <a:lnTo>
                      <a:pt x="2309" y="2431"/>
                    </a:lnTo>
                    <a:cubicBezTo>
                      <a:pt x="2308" y="2443"/>
                      <a:pt x="2305" y="2454"/>
                      <a:pt x="2299" y="2465"/>
                    </a:cubicBezTo>
                    <a:lnTo>
                      <a:pt x="2315" y="2475"/>
                    </a:lnTo>
                    <a:cubicBezTo>
                      <a:pt x="2319" y="2477"/>
                      <a:pt x="2319" y="2480"/>
                      <a:pt x="2315" y="2482"/>
                    </a:cubicBezTo>
                    <a:cubicBezTo>
                      <a:pt x="2312" y="2484"/>
                      <a:pt x="2306" y="2484"/>
                      <a:pt x="2303" y="2482"/>
                    </a:cubicBezTo>
                    <a:lnTo>
                      <a:pt x="2293" y="2476"/>
                    </a:lnTo>
                    <a:cubicBezTo>
                      <a:pt x="2287" y="2486"/>
                      <a:pt x="2279" y="2495"/>
                      <a:pt x="2270" y="2503"/>
                    </a:cubicBezTo>
                    <a:lnTo>
                      <a:pt x="2270" y="2503"/>
                    </a:lnTo>
                    <a:lnTo>
                      <a:pt x="2271" y="2504"/>
                    </a:lnTo>
                    <a:cubicBezTo>
                      <a:pt x="2271" y="2506"/>
                      <a:pt x="2271" y="2508"/>
                      <a:pt x="2268" y="2509"/>
                    </a:cubicBezTo>
                    <a:cubicBezTo>
                      <a:pt x="2266" y="2510"/>
                      <a:pt x="2264" y="2511"/>
                      <a:pt x="2261" y="2511"/>
                    </a:cubicBezTo>
                    <a:cubicBezTo>
                      <a:pt x="2254" y="2517"/>
                      <a:pt x="2245" y="2523"/>
                      <a:pt x="2236" y="2528"/>
                    </a:cubicBezTo>
                    <a:cubicBezTo>
                      <a:pt x="2214" y="2541"/>
                      <a:pt x="2190" y="2550"/>
                      <a:pt x="2164" y="2557"/>
                    </a:cubicBezTo>
                    <a:lnTo>
                      <a:pt x="2249" y="2607"/>
                    </a:lnTo>
                    <a:cubicBezTo>
                      <a:pt x="2254" y="2610"/>
                      <a:pt x="2254" y="2614"/>
                      <a:pt x="2249" y="2617"/>
                    </a:cubicBezTo>
                    <a:cubicBezTo>
                      <a:pt x="2244" y="2620"/>
                      <a:pt x="2235" y="2620"/>
                      <a:pt x="2230" y="2617"/>
                    </a:cubicBezTo>
                    <a:lnTo>
                      <a:pt x="2137" y="2564"/>
                    </a:lnTo>
                    <a:cubicBezTo>
                      <a:pt x="2049" y="2580"/>
                      <a:pt x="1948" y="2569"/>
                      <a:pt x="1878" y="2528"/>
                    </a:cubicBezTo>
                    <a:cubicBezTo>
                      <a:pt x="1808" y="2488"/>
                      <a:pt x="1787" y="2429"/>
                      <a:pt x="1816" y="2378"/>
                    </a:cubicBezTo>
                    <a:lnTo>
                      <a:pt x="313" y="1511"/>
                    </a:lnTo>
                    <a:cubicBezTo>
                      <a:pt x="308" y="1508"/>
                      <a:pt x="308" y="1503"/>
                      <a:pt x="313" y="1500"/>
                    </a:cubicBezTo>
                    <a:cubicBezTo>
                      <a:pt x="318" y="1497"/>
                      <a:pt x="327" y="1497"/>
                      <a:pt x="332" y="1500"/>
                    </a:cubicBezTo>
                    <a:lnTo>
                      <a:pt x="1826" y="2363"/>
                    </a:lnTo>
                    <a:cubicBezTo>
                      <a:pt x="1839" y="2348"/>
                      <a:pt x="1855" y="2333"/>
                      <a:pt x="1877" y="2321"/>
                    </a:cubicBezTo>
                    <a:cubicBezTo>
                      <a:pt x="1886" y="2316"/>
                      <a:pt x="1895" y="2311"/>
                      <a:pt x="1905" y="2307"/>
                    </a:cubicBezTo>
                    <a:lnTo>
                      <a:pt x="818" y="1679"/>
                    </a:lnTo>
                    <a:cubicBezTo>
                      <a:pt x="814" y="1677"/>
                      <a:pt x="814" y="1674"/>
                      <a:pt x="818" y="1672"/>
                    </a:cubicBezTo>
                    <a:cubicBezTo>
                      <a:pt x="821" y="1670"/>
                      <a:pt x="827" y="1670"/>
                      <a:pt x="830" y="1672"/>
                    </a:cubicBezTo>
                    <a:lnTo>
                      <a:pt x="1920" y="2301"/>
                    </a:lnTo>
                    <a:cubicBezTo>
                      <a:pt x="1935" y="2295"/>
                      <a:pt x="1950" y="2291"/>
                      <a:pt x="1966" y="2287"/>
                    </a:cubicBezTo>
                    <a:lnTo>
                      <a:pt x="865" y="1652"/>
                    </a:lnTo>
                    <a:cubicBezTo>
                      <a:pt x="861" y="1650"/>
                      <a:pt x="861" y="1646"/>
                      <a:pt x="865" y="1644"/>
                    </a:cubicBezTo>
                    <a:cubicBezTo>
                      <a:pt x="868" y="1642"/>
                      <a:pt x="874" y="1642"/>
                      <a:pt x="877" y="1644"/>
                    </a:cubicBezTo>
                    <a:lnTo>
                      <a:pt x="1985" y="2284"/>
                    </a:lnTo>
                    <a:cubicBezTo>
                      <a:pt x="2004" y="2281"/>
                      <a:pt x="2024" y="2279"/>
                      <a:pt x="2044" y="2278"/>
                    </a:cubicBezTo>
                    <a:lnTo>
                      <a:pt x="912" y="1624"/>
                    </a:lnTo>
                    <a:cubicBezTo>
                      <a:pt x="908" y="1622"/>
                      <a:pt x="908" y="1619"/>
                      <a:pt x="912" y="1617"/>
                    </a:cubicBezTo>
                    <a:cubicBezTo>
                      <a:pt x="915" y="1615"/>
                      <a:pt x="921" y="1615"/>
                      <a:pt x="924" y="1617"/>
                    </a:cubicBezTo>
                    <a:lnTo>
                      <a:pt x="2069" y="2278"/>
                    </a:lnTo>
                    <a:cubicBezTo>
                      <a:pt x="2101" y="2279"/>
                      <a:pt x="2132" y="2284"/>
                      <a:pt x="2161" y="2291"/>
                    </a:cubicBezTo>
                    <a:lnTo>
                      <a:pt x="958" y="1597"/>
                    </a:lnTo>
                    <a:cubicBezTo>
                      <a:pt x="955" y="1595"/>
                      <a:pt x="955" y="1592"/>
                      <a:pt x="958" y="1590"/>
                    </a:cubicBezTo>
                    <a:cubicBezTo>
                      <a:pt x="962" y="1588"/>
                      <a:pt x="967" y="1588"/>
                      <a:pt x="971" y="1590"/>
                    </a:cubicBezTo>
                    <a:lnTo>
                      <a:pt x="2409" y="2420"/>
                    </a:lnTo>
                    <a:cubicBezTo>
                      <a:pt x="2412" y="2422"/>
                      <a:pt x="2412" y="2425"/>
                      <a:pt x="2409" y="2427"/>
                    </a:cubicBezTo>
                    <a:moveTo>
                      <a:pt x="588" y="1430"/>
                    </a:moveTo>
                    <a:cubicBezTo>
                      <a:pt x="660" y="1388"/>
                      <a:pt x="778" y="1388"/>
                      <a:pt x="851" y="1430"/>
                    </a:cubicBezTo>
                    <a:cubicBezTo>
                      <a:pt x="924" y="1472"/>
                      <a:pt x="925" y="1541"/>
                      <a:pt x="852" y="1583"/>
                    </a:cubicBezTo>
                    <a:cubicBezTo>
                      <a:pt x="780" y="1625"/>
                      <a:pt x="662" y="1625"/>
                      <a:pt x="589" y="1583"/>
                    </a:cubicBezTo>
                    <a:cubicBezTo>
                      <a:pt x="516" y="1541"/>
                      <a:pt x="515" y="1472"/>
                      <a:pt x="588" y="1430"/>
                    </a:cubicBezTo>
                    <a:close/>
                    <a:moveTo>
                      <a:pt x="1010" y="1185"/>
                    </a:moveTo>
                    <a:cubicBezTo>
                      <a:pt x="1082" y="1143"/>
                      <a:pt x="1200" y="1143"/>
                      <a:pt x="1273" y="1185"/>
                    </a:cubicBezTo>
                    <a:cubicBezTo>
                      <a:pt x="1346" y="1227"/>
                      <a:pt x="1347" y="1295"/>
                      <a:pt x="1274" y="1337"/>
                    </a:cubicBezTo>
                    <a:cubicBezTo>
                      <a:pt x="1202" y="1379"/>
                      <a:pt x="1084" y="1380"/>
                      <a:pt x="1011" y="1337"/>
                    </a:cubicBezTo>
                    <a:cubicBezTo>
                      <a:pt x="938" y="1295"/>
                      <a:pt x="937" y="1227"/>
                      <a:pt x="1010" y="1185"/>
                    </a:cubicBezTo>
                    <a:close/>
                    <a:moveTo>
                      <a:pt x="1432" y="939"/>
                    </a:moveTo>
                    <a:cubicBezTo>
                      <a:pt x="1505" y="897"/>
                      <a:pt x="1623" y="897"/>
                      <a:pt x="1696" y="939"/>
                    </a:cubicBezTo>
                    <a:cubicBezTo>
                      <a:pt x="1769" y="982"/>
                      <a:pt x="1769" y="1050"/>
                      <a:pt x="1696" y="1092"/>
                    </a:cubicBezTo>
                    <a:cubicBezTo>
                      <a:pt x="1624" y="1134"/>
                      <a:pt x="1506" y="1134"/>
                      <a:pt x="1433" y="1092"/>
                    </a:cubicBezTo>
                    <a:cubicBezTo>
                      <a:pt x="1360" y="1050"/>
                      <a:pt x="1359" y="982"/>
                      <a:pt x="1432" y="939"/>
                    </a:cubicBezTo>
                    <a:close/>
                    <a:moveTo>
                      <a:pt x="1854" y="694"/>
                    </a:moveTo>
                    <a:cubicBezTo>
                      <a:pt x="1899" y="668"/>
                      <a:pt x="1960" y="658"/>
                      <a:pt x="2018" y="664"/>
                    </a:cubicBezTo>
                    <a:cubicBezTo>
                      <a:pt x="2055" y="668"/>
                      <a:pt x="2090" y="678"/>
                      <a:pt x="2118" y="694"/>
                    </a:cubicBezTo>
                    <a:cubicBezTo>
                      <a:pt x="2146" y="710"/>
                      <a:pt x="2163" y="731"/>
                      <a:pt x="2170" y="752"/>
                    </a:cubicBezTo>
                    <a:cubicBezTo>
                      <a:pt x="2180" y="785"/>
                      <a:pt x="2163" y="821"/>
                      <a:pt x="2119" y="847"/>
                    </a:cubicBezTo>
                    <a:cubicBezTo>
                      <a:pt x="2078" y="870"/>
                      <a:pt x="2023" y="881"/>
                      <a:pt x="1970" y="878"/>
                    </a:cubicBezTo>
                    <a:cubicBezTo>
                      <a:pt x="1928" y="876"/>
                      <a:pt x="1887" y="865"/>
                      <a:pt x="1855" y="847"/>
                    </a:cubicBezTo>
                    <a:cubicBezTo>
                      <a:pt x="1823" y="828"/>
                      <a:pt x="1805" y="804"/>
                      <a:pt x="1801" y="780"/>
                    </a:cubicBezTo>
                    <a:cubicBezTo>
                      <a:pt x="1796" y="749"/>
                      <a:pt x="1814" y="718"/>
                      <a:pt x="1854" y="694"/>
                    </a:cubicBezTo>
                    <a:moveTo>
                      <a:pt x="2276" y="449"/>
                    </a:moveTo>
                    <a:cubicBezTo>
                      <a:pt x="2349" y="407"/>
                      <a:pt x="2467" y="407"/>
                      <a:pt x="2540" y="449"/>
                    </a:cubicBezTo>
                    <a:cubicBezTo>
                      <a:pt x="2613" y="491"/>
                      <a:pt x="2613" y="559"/>
                      <a:pt x="2541" y="601"/>
                    </a:cubicBezTo>
                    <a:cubicBezTo>
                      <a:pt x="2468" y="644"/>
                      <a:pt x="2350" y="644"/>
                      <a:pt x="2277" y="601"/>
                    </a:cubicBezTo>
                    <a:cubicBezTo>
                      <a:pt x="2204" y="559"/>
                      <a:pt x="2204" y="491"/>
                      <a:pt x="2276" y="449"/>
                    </a:cubicBezTo>
                    <a:close/>
                    <a:moveTo>
                      <a:pt x="2648" y="259"/>
                    </a:moveTo>
                    <a:cubicBezTo>
                      <a:pt x="2648" y="257"/>
                      <a:pt x="2649" y="255"/>
                      <a:pt x="2650" y="254"/>
                    </a:cubicBezTo>
                    <a:cubicBezTo>
                      <a:pt x="2652" y="247"/>
                      <a:pt x="2656" y="240"/>
                      <a:pt x="2661" y="234"/>
                    </a:cubicBezTo>
                    <a:lnTo>
                      <a:pt x="2662" y="234"/>
                    </a:lnTo>
                    <a:cubicBezTo>
                      <a:pt x="2664" y="231"/>
                      <a:pt x="2667" y="228"/>
                      <a:pt x="2670" y="225"/>
                    </a:cubicBezTo>
                    <a:cubicBezTo>
                      <a:pt x="2678" y="217"/>
                      <a:pt x="2687" y="210"/>
                      <a:pt x="2698" y="203"/>
                    </a:cubicBezTo>
                    <a:cubicBezTo>
                      <a:pt x="2771" y="161"/>
                      <a:pt x="2889" y="161"/>
                      <a:pt x="2962" y="203"/>
                    </a:cubicBezTo>
                    <a:cubicBezTo>
                      <a:pt x="3035" y="246"/>
                      <a:pt x="3035" y="314"/>
                      <a:pt x="2963" y="356"/>
                    </a:cubicBezTo>
                    <a:cubicBezTo>
                      <a:pt x="2890" y="398"/>
                      <a:pt x="2772" y="398"/>
                      <a:pt x="2699" y="356"/>
                    </a:cubicBezTo>
                    <a:cubicBezTo>
                      <a:pt x="2688" y="349"/>
                      <a:pt x="2678" y="342"/>
                      <a:pt x="2670" y="334"/>
                    </a:cubicBezTo>
                    <a:cubicBezTo>
                      <a:pt x="2666" y="330"/>
                      <a:pt x="2661" y="325"/>
                      <a:pt x="2658" y="320"/>
                    </a:cubicBezTo>
                    <a:lnTo>
                      <a:pt x="2658" y="320"/>
                    </a:lnTo>
                    <a:cubicBezTo>
                      <a:pt x="2644" y="301"/>
                      <a:pt x="2641" y="279"/>
                      <a:pt x="2648" y="259"/>
                    </a:cubicBezTo>
                    <a:moveTo>
                      <a:pt x="2758" y="0"/>
                    </a:moveTo>
                    <a:lnTo>
                      <a:pt x="1816" y="548"/>
                    </a:lnTo>
                    <a:lnTo>
                      <a:pt x="1608" y="669"/>
                    </a:lnTo>
                    <a:lnTo>
                      <a:pt x="0" y="1603"/>
                    </a:lnTo>
                    <a:lnTo>
                      <a:pt x="2071" y="2799"/>
                    </a:lnTo>
                    <a:lnTo>
                      <a:pt x="4830" y="1196"/>
                    </a:lnTo>
                    <a:lnTo>
                      <a:pt x="2758" y="0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66"/>
              <p:cNvSpPr>
                <a:spLocks/>
              </p:cNvSpPr>
              <p:nvPr/>
            </p:nvSpPr>
            <p:spPr bwMode="auto">
              <a:xfrm>
                <a:off x="3874" y="1802"/>
                <a:ext cx="196" cy="114"/>
              </a:xfrm>
              <a:custGeom>
                <a:avLst/>
                <a:gdLst>
                  <a:gd name="T0" fmla="*/ 336 w 409"/>
                  <a:gd name="T1" fmla="*/ 42 h 237"/>
                  <a:gd name="T2" fmla="*/ 337 w 409"/>
                  <a:gd name="T3" fmla="*/ 195 h 237"/>
                  <a:gd name="T4" fmla="*/ 73 w 409"/>
                  <a:gd name="T5" fmla="*/ 195 h 237"/>
                  <a:gd name="T6" fmla="*/ 72 w 409"/>
                  <a:gd name="T7" fmla="*/ 42 h 237"/>
                  <a:gd name="T8" fmla="*/ 336 w 409"/>
                  <a:gd name="T9" fmla="*/ 42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9" h="237">
                    <a:moveTo>
                      <a:pt x="336" y="42"/>
                    </a:moveTo>
                    <a:cubicBezTo>
                      <a:pt x="409" y="85"/>
                      <a:pt x="409" y="153"/>
                      <a:pt x="337" y="195"/>
                    </a:cubicBezTo>
                    <a:cubicBezTo>
                      <a:pt x="264" y="237"/>
                      <a:pt x="146" y="237"/>
                      <a:pt x="73" y="195"/>
                    </a:cubicBezTo>
                    <a:cubicBezTo>
                      <a:pt x="0" y="153"/>
                      <a:pt x="0" y="85"/>
                      <a:pt x="72" y="42"/>
                    </a:cubicBezTo>
                    <a:cubicBezTo>
                      <a:pt x="145" y="0"/>
                      <a:pt x="263" y="0"/>
                      <a:pt x="336" y="42"/>
                    </a:cubicBezTo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67"/>
              <p:cNvSpPr>
                <a:spLocks/>
              </p:cNvSpPr>
              <p:nvPr/>
            </p:nvSpPr>
            <p:spPr bwMode="auto">
              <a:xfrm>
                <a:off x="4919" y="2197"/>
                <a:ext cx="11" cy="21"/>
              </a:xfrm>
              <a:custGeom>
                <a:avLst/>
                <a:gdLst>
                  <a:gd name="T0" fmla="*/ 20 w 23"/>
                  <a:gd name="T1" fmla="*/ 2 h 44"/>
                  <a:gd name="T2" fmla="*/ 23 w 23"/>
                  <a:gd name="T3" fmla="*/ 6 h 44"/>
                  <a:gd name="T4" fmla="*/ 23 w 23"/>
                  <a:gd name="T5" fmla="*/ 13 h 44"/>
                  <a:gd name="T6" fmla="*/ 23 w 23"/>
                  <a:gd name="T7" fmla="*/ 37 h 44"/>
                  <a:gd name="T8" fmla="*/ 12 w 23"/>
                  <a:gd name="T9" fmla="*/ 44 h 44"/>
                  <a:gd name="T10" fmla="*/ 4 w 23"/>
                  <a:gd name="T11" fmla="*/ 42 h 44"/>
                  <a:gd name="T12" fmla="*/ 0 w 23"/>
                  <a:gd name="T13" fmla="*/ 37 h 44"/>
                  <a:gd name="T14" fmla="*/ 0 w 23"/>
                  <a:gd name="T15" fmla="*/ 13 h 44"/>
                  <a:gd name="T16" fmla="*/ 0 w 23"/>
                  <a:gd name="T17" fmla="*/ 6 h 44"/>
                  <a:gd name="T18" fmla="*/ 11 w 23"/>
                  <a:gd name="T19" fmla="*/ 0 h 44"/>
                  <a:gd name="T20" fmla="*/ 20 w 23"/>
                  <a:gd name="T21" fmla="*/ 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" h="44">
                    <a:moveTo>
                      <a:pt x="20" y="2"/>
                    </a:moveTo>
                    <a:cubicBezTo>
                      <a:pt x="22" y="3"/>
                      <a:pt x="23" y="5"/>
                      <a:pt x="23" y="6"/>
                    </a:cubicBezTo>
                    <a:lnTo>
                      <a:pt x="23" y="13"/>
                    </a:lnTo>
                    <a:lnTo>
                      <a:pt x="23" y="37"/>
                    </a:lnTo>
                    <a:cubicBezTo>
                      <a:pt x="23" y="41"/>
                      <a:pt x="18" y="44"/>
                      <a:pt x="12" y="44"/>
                    </a:cubicBezTo>
                    <a:cubicBezTo>
                      <a:pt x="9" y="44"/>
                      <a:pt x="6" y="43"/>
                      <a:pt x="4" y="42"/>
                    </a:cubicBezTo>
                    <a:cubicBezTo>
                      <a:pt x="1" y="41"/>
                      <a:pt x="0" y="39"/>
                      <a:pt x="0" y="37"/>
                    </a:cubicBezTo>
                    <a:lnTo>
                      <a:pt x="0" y="13"/>
                    </a:lnTo>
                    <a:lnTo>
                      <a:pt x="0" y="6"/>
                    </a:lnTo>
                    <a:cubicBezTo>
                      <a:pt x="0" y="3"/>
                      <a:pt x="5" y="0"/>
                      <a:pt x="11" y="0"/>
                    </a:cubicBezTo>
                    <a:cubicBezTo>
                      <a:pt x="15" y="0"/>
                      <a:pt x="18" y="1"/>
                      <a:pt x="20" y="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68"/>
              <p:cNvSpPr>
                <a:spLocks noEditPoints="1"/>
              </p:cNvSpPr>
              <p:nvPr/>
            </p:nvSpPr>
            <p:spPr bwMode="auto">
              <a:xfrm>
                <a:off x="3937" y="1615"/>
                <a:ext cx="1184" cy="684"/>
              </a:xfrm>
              <a:custGeom>
                <a:avLst/>
                <a:gdLst>
                  <a:gd name="T0" fmla="*/ 2110 w 2465"/>
                  <a:gd name="T1" fmla="*/ 1212 h 1425"/>
                  <a:gd name="T2" fmla="*/ 2067 w 2465"/>
                  <a:gd name="T3" fmla="*/ 1225 h 1425"/>
                  <a:gd name="T4" fmla="*/ 2067 w 2465"/>
                  <a:gd name="T5" fmla="*/ 1249 h 1425"/>
                  <a:gd name="T6" fmla="*/ 2056 w 2465"/>
                  <a:gd name="T7" fmla="*/ 1256 h 1425"/>
                  <a:gd name="T8" fmla="*/ 2048 w 2465"/>
                  <a:gd name="T9" fmla="*/ 1254 h 1425"/>
                  <a:gd name="T10" fmla="*/ 2044 w 2465"/>
                  <a:gd name="T11" fmla="*/ 1249 h 1425"/>
                  <a:gd name="T12" fmla="*/ 2044 w 2465"/>
                  <a:gd name="T13" fmla="*/ 1225 h 1425"/>
                  <a:gd name="T14" fmla="*/ 2001 w 2465"/>
                  <a:gd name="T15" fmla="*/ 1212 h 1425"/>
                  <a:gd name="T16" fmla="*/ 1978 w 2465"/>
                  <a:gd name="T17" fmla="*/ 1180 h 1425"/>
                  <a:gd name="T18" fmla="*/ 2001 w 2465"/>
                  <a:gd name="T19" fmla="*/ 1149 h 1425"/>
                  <a:gd name="T20" fmla="*/ 2055 w 2465"/>
                  <a:gd name="T21" fmla="*/ 1136 h 1425"/>
                  <a:gd name="T22" fmla="*/ 2110 w 2465"/>
                  <a:gd name="T23" fmla="*/ 1149 h 1425"/>
                  <a:gd name="T24" fmla="*/ 2133 w 2465"/>
                  <a:gd name="T25" fmla="*/ 1180 h 1425"/>
                  <a:gd name="T26" fmla="*/ 2110 w 2465"/>
                  <a:gd name="T27" fmla="*/ 1212 h 1425"/>
                  <a:gd name="T28" fmla="*/ 650 w 2465"/>
                  <a:gd name="T29" fmla="*/ 319 h 1425"/>
                  <a:gd name="T30" fmla="*/ 629 w 2465"/>
                  <a:gd name="T31" fmla="*/ 319 h 1425"/>
                  <a:gd name="T32" fmla="*/ 399 w 2465"/>
                  <a:gd name="T33" fmla="*/ 186 h 1425"/>
                  <a:gd name="T34" fmla="*/ 399 w 2465"/>
                  <a:gd name="T35" fmla="*/ 173 h 1425"/>
                  <a:gd name="T36" fmla="*/ 421 w 2465"/>
                  <a:gd name="T37" fmla="*/ 173 h 1425"/>
                  <a:gd name="T38" fmla="*/ 650 w 2465"/>
                  <a:gd name="T39" fmla="*/ 306 h 1425"/>
                  <a:gd name="T40" fmla="*/ 650 w 2465"/>
                  <a:gd name="T41" fmla="*/ 319 h 1425"/>
                  <a:gd name="T42" fmla="*/ 600 w 2465"/>
                  <a:gd name="T43" fmla="*/ 348 h 1425"/>
                  <a:gd name="T44" fmla="*/ 578 w 2465"/>
                  <a:gd name="T45" fmla="*/ 348 h 1425"/>
                  <a:gd name="T46" fmla="*/ 349 w 2465"/>
                  <a:gd name="T47" fmla="*/ 215 h 1425"/>
                  <a:gd name="T48" fmla="*/ 349 w 2465"/>
                  <a:gd name="T49" fmla="*/ 203 h 1425"/>
                  <a:gd name="T50" fmla="*/ 371 w 2465"/>
                  <a:gd name="T51" fmla="*/ 203 h 1425"/>
                  <a:gd name="T52" fmla="*/ 600 w 2465"/>
                  <a:gd name="T53" fmla="*/ 335 h 1425"/>
                  <a:gd name="T54" fmla="*/ 600 w 2465"/>
                  <a:gd name="T55" fmla="*/ 348 h 1425"/>
                  <a:gd name="T56" fmla="*/ 550 w 2465"/>
                  <a:gd name="T57" fmla="*/ 377 h 1425"/>
                  <a:gd name="T58" fmla="*/ 528 w 2465"/>
                  <a:gd name="T59" fmla="*/ 377 h 1425"/>
                  <a:gd name="T60" fmla="*/ 299 w 2465"/>
                  <a:gd name="T61" fmla="*/ 244 h 1425"/>
                  <a:gd name="T62" fmla="*/ 299 w 2465"/>
                  <a:gd name="T63" fmla="*/ 232 h 1425"/>
                  <a:gd name="T64" fmla="*/ 321 w 2465"/>
                  <a:gd name="T65" fmla="*/ 232 h 1425"/>
                  <a:gd name="T66" fmla="*/ 550 w 2465"/>
                  <a:gd name="T67" fmla="*/ 364 h 1425"/>
                  <a:gd name="T68" fmla="*/ 550 w 2465"/>
                  <a:gd name="T69" fmla="*/ 377 h 1425"/>
                  <a:gd name="T70" fmla="*/ 394 w 2465"/>
                  <a:gd name="T71" fmla="*/ 0 h 1425"/>
                  <a:gd name="T72" fmla="*/ 0 w 2465"/>
                  <a:gd name="T73" fmla="*/ 229 h 1425"/>
                  <a:gd name="T74" fmla="*/ 2072 w 2465"/>
                  <a:gd name="T75" fmla="*/ 1425 h 1425"/>
                  <a:gd name="T76" fmla="*/ 2465 w 2465"/>
                  <a:gd name="T77" fmla="*/ 1197 h 1425"/>
                  <a:gd name="T78" fmla="*/ 394 w 2465"/>
                  <a:gd name="T79" fmla="*/ 0 h 1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465" h="1425">
                    <a:moveTo>
                      <a:pt x="2110" y="1212"/>
                    </a:moveTo>
                    <a:cubicBezTo>
                      <a:pt x="2098" y="1219"/>
                      <a:pt x="2083" y="1223"/>
                      <a:pt x="2067" y="1225"/>
                    </a:cubicBezTo>
                    <a:lnTo>
                      <a:pt x="2067" y="1249"/>
                    </a:lnTo>
                    <a:cubicBezTo>
                      <a:pt x="2067" y="1253"/>
                      <a:pt x="2062" y="1256"/>
                      <a:pt x="2056" y="1256"/>
                    </a:cubicBezTo>
                    <a:cubicBezTo>
                      <a:pt x="2053" y="1256"/>
                      <a:pt x="2050" y="1255"/>
                      <a:pt x="2048" y="1254"/>
                    </a:cubicBezTo>
                    <a:cubicBezTo>
                      <a:pt x="2045" y="1253"/>
                      <a:pt x="2044" y="1251"/>
                      <a:pt x="2044" y="1249"/>
                    </a:cubicBezTo>
                    <a:lnTo>
                      <a:pt x="2044" y="1225"/>
                    </a:lnTo>
                    <a:cubicBezTo>
                      <a:pt x="2028" y="1223"/>
                      <a:pt x="2013" y="1219"/>
                      <a:pt x="2001" y="1212"/>
                    </a:cubicBezTo>
                    <a:cubicBezTo>
                      <a:pt x="1986" y="1204"/>
                      <a:pt x="1978" y="1192"/>
                      <a:pt x="1978" y="1180"/>
                    </a:cubicBezTo>
                    <a:cubicBezTo>
                      <a:pt x="1978" y="1168"/>
                      <a:pt x="1986" y="1157"/>
                      <a:pt x="2001" y="1149"/>
                    </a:cubicBezTo>
                    <a:cubicBezTo>
                      <a:pt x="2015" y="1140"/>
                      <a:pt x="2034" y="1136"/>
                      <a:pt x="2055" y="1136"/>
                    </a:cubicBezTo>
                    <a:cubicBezTo>
                      <a:pt x="2076" y="1136"/>
                      <a:pt x="2095" y="1140"/>
                      <a:pt x="2110" y="1149"/>
                    </a:cubicBezTo>
                    <a:cubicBezTo>
                      <a:pt x="2124" y="1157"/>
                      <a:pt x="2133" y="1168"/>
                      <a:pt x="2133" y="1180"/>
                    </a:cubicBezTo>
                    <a:cubicBezTo>
                      <a:pt x="2133" y="1192"/>
                      <a:pt x="2125" y="1204"/>
                      <a:pt x="2110" y="1212"/>
                    </a:cubicBezTo>
                    <a:close/>
                    <a:moveTo>
                      <a:pt x="650" y="319"/>
                    </a:moveTo>
                    <a:cubicBezTo>
                      <a:pt x="644" y="322"/>
                      <a:pt x="635" y="322"/>
                      <a:pt x="629" y="319"/>
                    </a:cubicBezTo>
                    <a:lnTo>
                      <a:pt x="399" y="186"/>
                    </a:lnTo>
                    <a:cubicBezTo>
                      <a:pt x="393" y="183"/>
                      <a:pt x="393" y="177"/>
                      <a:pt x="399" y="173"/>
                    </a:cubicBezTo>
                    <a:cubicBezTo>
                      <a:pt x="405" y="170"/>
                      <a:pt x="415" y="170"/>
                      <a:pt x="421" y="173"/>
                    </a:cubicBezTo>
                    <a:lnTo>
                      <a:pt x="650" y="306"/>
                    </a:lnTo>
                    <a:cubicBezTo>
                      <a:pt x="656" y="310"/>
                      <a:pt x="656" y="315"/>
                      <a:pt x="650" y="319"/>
                    </a:cubicBezTo>
                    <a:close/>
                    <a:moveTo>
                      <a:pt x="600" y="348"/>
                    </a:moveTo>
                    <a:cubicBezTo>
                      <a:pt x="594" y="351"/>
                      <a:pt x="584" y="351"/>
                      <a:pt x="578" y="348"/>
                    </a:cubicBezTo>
                    <a:lnTo>
                      <a:pt x="349" y="215"/>
                    </a:lnTo>
                    <a:cubicBezTo>
                      <a:pt x="343" y="212"/>
                      <a:pt x="343" y="206"/>
                      <a:pt x="349" y="203"/>
                    </a:cubicBezTo>
                    <a:cubicBezTo>
                      <a:pt x="355" y="199"/>
                      <a:pt x="365" y="199"/>
                      <a:pt x="371" y="203"/>
                    </a:cubicBezTo>
                    <a:lnTo>
                      <a:pt x="600" y="335"/>
                    </a:lnTo>
                    <a:cubicBezTo>
                      <a:pt x="606" y="339"/>
                      <a:pt x="606" y="344"/>
                      <a:pt x="600" y="348"/>
                    </a:cubicBezTo>
                    <a:close/>
                    <a:moveTo>
                      <a:pt x="550" y="377"/>
                    </a:moveTo>
                    <a:cubicBezTo>
                      <a:pt x="544" y="380"/>
                      <a:pt x="534" y="380"/>
                      <a:pt x="528" y="377"/>
                    </a:cubicBezTo>
                    <a:lnTo>
                      <a:pt x="299" y="244"/>
                    </a:lnTo>
                    <a:cubicBezTo>
                      <a:pt x="293" y="241"/>
                      <a:pt x="293" y="235"/>
                      <a:pt x="299" y="232"/>
                    </a:cubicBezTo>
                    <a:cubicBezTo>
                      <a:pt x="305" y="228"/>
                      <a:pt x="314" y="228"/>
                      <a:pt x="321" y="232"/>
                    </a:cubicBezTo>
                    <a:lnTo>
                      <a:pt x="550" y="364"/>
                    </a:lnTo>
                    <a:cubicBezTo>
                      <a:pt x="556" y="368"/>
                      <a:pt x="556" y="373"/>
                      <a:pt x="550" y="377"/>
                    </a:cubicBezTo>
                    <a:close/>
                    <a:moveTo>
                      <a:pt x="394" y="0"/>
                    </a:moveTo>
                    <a:lnTo>
                      <a:pt x="0" y="229"/>
                    </a:lnTo>
                    <a:lnTo>
                      <a:pt x="2072" y="1425"/>
                    </a:lnTo>
                    <a:lnTo>
                      <a:pt x="2465" y="1197"/>
                    </a:lnTo>
                    <a:lnTo>
                      <a:pt x="394" y="0"/>
                    </a:lnTo>
                  </a:path>
                </a:pathLst>
              </a:custGeom>
              <a:solidFill>
                <a:srgbClr val="E575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69"/>
              <p:cNvSpPr>
                <a:spLocks/>
              </p:cNvSpPr>
              <p:nvPr/>
            </p:nvSpPr>
            <p:spPr bwMode="auto">
              <a:xfrm>
                <a:off x="4898" y="2167"/>
                <a:ext cx="52" cy="30"/>
              </a:xfrm>
              <a:custGeom>
                <a:avLst/>
                <a:gdLst>
                  <a:gd name="T0" fmla="*/ 92 w 108"/>
                  <a:gd name="T1" fmla="*/ 9 h 63"/>
                  <a:gd name="T2" fmla="*/ 108 w 108"/>
                  <a:gd name="T3" fmla="*/ 31 h 63"/>
                  <a:gd name="T4" fmla="*/ 93 w 108"/>
                  <a:gd name="T5" fmla="*/ 54 h 63"/>
                  <a:gd name="T6" fmla="*/ 54 w 108"/>
                  <a:gd name="T7" fmla="*/ 63 h 63"/>
                  <a:gd name="T8" fmla="*/ 16 w 108"/>
                  <a:gd name="T9" fmla="*/ 54 h 63"/>
                  <a:gd name="T10" fmla="*/ 0 w 108"/>
                  <a:gd name="T11" fmla="*/ 31 h 63"/>
                  <a:gd name="T12" fmla="*/ 16 w 108"/>
                  <a:gd name="T13" fmla="*/ 9 h 63"/>
                  <a:gd name="T14" fmla="*/ 54 w 108"/>
                  <a:gd name="T15" fmla="*/ 0 h 63"/>
                  <a:gd name="T16" fmla="*/ 92 w 108"/>
                  <a:gd name="T17" fmla="*/ 9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8" h="63">
                    <a:moveTo>
                      <a:pt x="92" y="9"/>
                    </a:moveTo>
                    <a:cubicBezTo>
                      <a:pt x="103" y="15"/>
                      <a:pt x="108" y="23"/>
                      <a:pt x="108" y="31"/>
                    </a:cubicBezTo>
                    <a:cubicBezTo>
                      <a:pt x="108" y="40"/>
                      <a:pt x="103" y="48"/>
                      <a:pt x="93" y="54"/>
                    </a:cubicBezTo>
                    <a:cubicBezTo>
                      <a:pt x="83" y="60"/>
                      <a:pt x="69" y="63"/>
                      <a:pt x="54" y="63"/>
                    </a:cubicBezTo>
                    <a:cubicBezTo>
                      <a:pt x="40" y="63"/>
                      <a:pt x="26" y="60"/>
                      <a:pt x="16" y="54"/>
                    </a:cubicBezTo>
                    <a:cubicBezTo>
                      <a:pt x="6" y="48"/>
                      <a:pt x="0" y="40"/>
                      <a:pt x="0" y="31"/>
                    </a:cubicBezTo>
                    <a:cubicBezTo>
                      <a:pt x="0" y="23"/>
                      <a:pt x="6" y="15"/>
                      <a:pt x="16" y="9"/>
                    </a:cubicBezTo>
                    <a:cubicBezTo>
                      <a:pt x="26" y="3"/>
                      <a:pt x="40" y="0"/>
                      <a:pt x="54" y="0"/>
                    </a:cubicBezTo>
                    <a:cubicBezTo>
                      <a:pt x="69" y="0"/>
                      <a:pt x="82" y="3"/>
                      <a:pt x="92" y="9"/>
                    </a:cubicBezTo>
                    <a:close/>
                  </a:path>
                </a:pathLst>
              </a:custGeom>
              <a:solidFill>
                <a:srgbClr val="E575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70"/>
              <p:cNvSpPr>
                <a:spLocks/>
              </p:cNvSpPr>
              <p:nvPr/>
            </p:nvSpPr>
            <p:spPr bwMode="auto">
              <a:xfrm>
                <a:off x="4887" y="2161"/>
                <a:ext cx="74" cy="42"/>
              </a:xfrm>
              <a:custGeom>
                <a:avLst/>
                <a:gdLst>
                  <a:gd name="T0" fmla="*/ 132 w 155"/>
                  <a:gd name="T1" fmla="*/ 13 h 89"/>
                  <a:gd name="T2" fmla="*/ 155 w 155"/>
                  <a:gd name="T3" fmla="*/ 44 h 89"/>
                  <a:gd name="T4" fmla="*/ 132 w 155"/>
                  <a:gd name="T5" fmla="*/ 76 h 89"/>
                  <a:gd name="T6" fmla="*/ 89 w 155"/>
                  <a:gd name="T7" fmla="*/ 89 h 89"/>
                  <a:gd name="T8" fmla="*/ 89 w 155"/>
                  <a:gd name="T9" fmla="*/ 82 h 89"/>
                  <a:gd name="T10" fmla="*/ 86 w 155"/>
                  <a:gd name="T11" fmla="*/ 78 h 89"/>
                  <a:gd name="T12" fmla="*/ 77 w 155"/>
                  <a:gd name="T13" fmla="*/ 76 h 89"/>
                  <a:gd name="T14" fmla="*/ 116 w 155"/>
                  <a:gd name="T15" fmla="*/ 67 h 89"/>
                  <a:gd name="T16" fmla="*/ 131 w 155"/>
                  <a:gd name="T17" fmla="*/ 44 h 89"/>
                  <a:gd name="T18" fmla="*/ 115 w 155"/>
                  <a:gd name="T19" fmla="*/ 22 h 89"/>
                  <a:gd name="T20" fmla="*/ 77 w 155"/>
                  <a:gd name="T21" fmla="*/ 13 h 89"/>
                  <a:gd name="T22" fmla="*/ 39 w 155"/>
                  <a:gd name="T23" fmla="*/ 22 h 89"/>
                  <a:gd name="T24" fmla="*/ 23 w 155"/>
                  <a:gd name="T25" fmla="*/ 44 h 89"/>
                  <a:gd name="T26" fmla="*/ 39 w 155"/>
                  <a:gd name="T27" fmla="*/ 67 h 89"/>
                  <a:gd name="T28" fmla="*/ 77 w 155"/>
                  <a:gd name="T29" fmla="*/ 76 h 89"/>
                  <a:gd name="T30" fmla="*/ 66 w 155"/>
                  <a:gd name="T31" fmla="*/ 82 h 89"/>
                  <a:gd name="T32" fmla="*/ 66 w 155"/>
                  <a:gd name="T33" fmla="*/ 89 h 89"/>
                  <a:gd name="T34" fmla="*/ 23 w 155"/>
                  <a:gd name="T35" fmla="*/ 76 h 89"/>
                  <a:gd name="T36" fmla="*/ 0 w 155"/>
                  <a:gd name="T37" fmla="*/ 44 h 89"/>
                  <a:gd name="T38" fmla="*/ 22 w 155"/>
                  <a:gd name="T39" fmla="*/ 13 h 89"/>
                  <a:gd name="T40" fmla="*/ 77 w 155"/>
                  <a:gd name="T41" fmla="*/ 0 h 89"/>
                  <a:gd name="T42" fmla="*/ 132 w 155"/>
                  <a:gd name="T43" fmla="*/ 13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55" h="89">
                    <a:moveTo>
                      <a:pt x="132" y="13"/>
                    </a:moveTo>
                    <a:cubicBezTo>
                      <a:pt x="146" y="21"/>
                      <a:pt x="154" y="32"/>
                      <a:pt x="155" y="44"/>
                    </a:cubicBezTo>
                    <a:cubicBezTo>
                      <a:pt x="155" y="56"/>
                      <a:pt x="147" y="68"/>
                      <a:pt x="132" y="76"/>
                    </a:cubicBezTo>
                    <a:cubicBezTo>
                      <a:pt x="120" y="83"/>
                      <a:pt x="105" y="87"/>
                      <a:pt x="89" y="89"/>
                    </a:cubicBezTo>
                    <a:lnTo>
                      <a:pt x="89" y="82"/>
                    </a:lnTo>
                    <a:cubicBezTo>
                      <a:pt x="89" y="81"/>
                      <a:pt x="88" y="79"/>
                      <a:pt x="86" y="78"/>
                    </a:cubicBezTo>
                    <a:cubicBezTo>
                      <a:pt x="84" y="77"/>
                      <a:pt x="81" y="76"/>
                      <a:pt x="77" y="76"/>
                    </a:cubicBezTo>
                    <a:cubicBezTo>
                      <a:pt x="92" y="76"/>
                      <a:pt x="106" y="73"/>
                      <a:pt x="116" y="67"/>
                    </a:cubicBezTo>
                    <a:cubicBezTo>
                      <a:pt x="126" y="61"/>
                      <a:pt x="131" y="53"/>
                      <a:pt x="131" y="44"/>
                    </a:cubicBezTo>
                    <a:cubicBezTo>
                      <a:pt x="131" y="36"/>
                      <a:pt x="126" y="28"/>
                      <a:pt x="115" y="22"/>
                    </a:cubicBezTo>
                    <a:cubicBezTo>
                      <a:pt x="105" y="16"/>
                      <a:pt x="92" y="13"/>
                      <a:pt x="77" y="13"/>
                    </a:cubicBezTo>
                    <a:cubicBezTo>
                      <a:pt x="63" y="13"/>
                      <a:pt x="49" y="16"/>
                      <a:pt x="39" y="22"/>
                    </a:cubicBezTo>
                    <a:cubicBezTo>
                      <a:pt x="29" y="28"/>
                      <a:pt x="23" y="36"/>
                      <a:pt x="23" y="44"/>
                    </a:cubicBezTo>
                    <a:cubicBezTo>
                      <a:pt x="23" y="53"/>
                      <a:pt x="29" y="61"/>
                      <a:pt x="39" y="67"/>
                    </a:cubicBezTo>
                    <a:cubicBezTo>
                      <a:pt x="49" y="73"/>
                      <a:pt x="63" y="76"/>
                      <a:pt x="77" y="76"/>
                    </a:cubicBezTo>
                    <a:cubicBezTo>
                      <a:pt x="71" y="76"/>
                      <a:pt x="66" y="79"/>
                      <a:pt x="66" y="82"/>
                    </a:cubicBezTo>
                    <a:lnTo>
                      <a:pt x="66" y="89"/>
                    </a:lnTo>
                    <a:cubicBezTo>
                      <a:pt x="50" y="87"/>
                      <a:pt x="35" y="83"/>
                      <a:pt x="23" y="76"/>
                    </a:cubicBezTo>
                    <a:cubicBezTo>
                      <a:pt x="8" y="68"/>
                      <a:pt x="0" y="56"/>
                      <a:pt x="0" y="44"/>
                    </a:cubicBezTo>
                    <a:cubicBezTo>
                      <a:pt x="0" y="32"/>
                      <a:pt x="8" y="21"/>
                      <a:pt x="22" y="13"/>
                    </a:cubicBezTo>
                    <a:cubicBezTo>
                      <a:pt x="37" y="4"/>
                      <a:pt x="56" y="0"/>
                      <a:pt x="77" y="0"/>
                    </a:cubicBezTo>
                    <a:cubicBezTo>
                      <a:pt x="98" y="0"/>
                      <a:pt x="117" y="4"/>
                      <a:pt x="132" y="1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71"/>
              <p:cNvSpPr>
                <a:spLocks/>
              </p:cNvSpPr>
              <p:nvPr/>
            </p:nvSpPr>
            <p:spPr bwMode="auto">
              <a:xfrm>
                <a:off x="4085" y="1898"/>
                <a:ext cx="700" cy="405"/>
              </a:xfrm>
              <a:custGeom>
                <a:avLst/>
                <a:gdLst>
                  <a:gd name="T0" fmla="*/ 1454 w 1457"/>
                  <a:gd name="T1" fmla="*/ 832 h 842"/>
                  <a:gd name="T2" fmla="*/ 1454 w 1457"/>
                  <a:gd name="T3" fmla="*/ 840 h 842"/>
                  <a:gd name="T4" fmla="*/ 1441 w 1457"/>
                  <a:gd name="T5" fmla="*/ 840 h 842"/>
                  <a:gd name="T6" fmla="*/ 3 w 1457"/>
                  <a:gd name="T7" fmla="*/ 9 h 842"/>
                  <a:gd name="T8" fmla="*/ 3 w 1457"/>
                  <a:gd name="T9" fmla="*/ 2 h 842"/>
                  <a:gd name="T10" fmla="*/ 16 w 1457"/>
                  <a:gd name="T11" fmla="*/ 2 h 842"/>
                  <a:gd name="T12" fmla="*/ 1454 w 1457"/>
                  <a:gd name="T13" fmla="*/ 832 h 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7" h="842">
                    <a:moveTo>
                      <a:pt x="1454" y="832"/>
                    </a:moveTo>
                    <a:cubicBezTo>
                      <a:pt x="1457" y="834"/>
                      <a:pt x="1457" y="838"/>
                      <a:pt x="1454" y="840"/>
                    </a:cubicBezTo>
                    <a:cubicBezTo>
                      <a:pt x="1450" y="842"/>
                      <a:pt x="1445" y="842"/>
                      <a:pt x="1441" y="840"/>
                    </a:cubicBezTo>
                    <a:lnTo>
                      <a:pt x="3" y="9"/>
                    </a:lnTo>
                    <a:cubicBezTo>
                      <a:pt x="0" y="7"/>
                      <a:pt x="0" y="4"/>
                      <a:pt x="3" y="2"/>
                    </a:cubicBezTo>
                    <a:cubicBezTo>
                      <a:pt x="7" y="0"/>
                      <a:pt x="12" y="0"/>
                      <a:pt x="16" y="2"/>
                    </a:cubicBezTo>
                    <a:lnTo>
                      <a:pt x="1454" y="832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72"/>
              <p:cNvSpPr>
                <a:spLocks/>
              </p:cNvSpPr>
              <p:nvPr/>
            </p:nvSpPr>
            <p:spPr bwMode="auto">
              <a:xfrm>
                <a:off x="4040" y="1925"/>
                <a:ext cx="700" cy="404"/>
              </a:xfrm>
              <a:custGeom>
                <a:avLst/>
                <a:gdLst>
                  <a:gd name="T0" fmla="*/ 1454 w 1457"/>
                  <a:gd name="T1" fmla="*/ 832 h 841"/>
                  <a:gd name="T2" fmla="*/ 1454 w 1457"/>
                  <a:gd name="T3" fmla="*/ 839 h 841"/>
                  <a:gd name="T4" fmla="*/ 1441 w 1457"/>
                  <a:gd name="T5" fmla="*/ 839 h 841"/>
                  <a:gd name="T6" fmla="*/ 3 w 1457"/>
                  <a:gd name="T7" fmla="*/ 9 h 841"/>
                  <a:gd name="T8" fmla="*/ 3 w 1457"/>
                  <a:gd name="T9" fmla="*/ 2 h 841"/>
                  <a:gd name="T10" fmla="*/ 16 w 1457"/>
                  <a:gd name="T11" fmla="*/ 2 h 841"/>
                  <a:gd name="T12" fmla="*/ 1454 w 1457"/>
                  <a:gd name="T13" fmla="*/ 83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7" h="841">
                    <a:moveTo>
                      <a:pt x="1454" y="832"/>
                    </a:moveTo>
                    <a:cubicBezTo>
                      <a:pt x="1457" y="834"/>
                      <a:pt x="1457" y="837"/>
                      <a:pt x="1454" y="839"/>
                    </a:cubicBezTo>
                    <a:cubicBezTo>
                      <a:pt x="1451" y="841"/>
                      <a:pt x="1445" y="841"/>
                      <a:pt x="1441" y="839"/>
                    </a:cubicBezTo>
                    <a:lnTo>
                      <a:pt x="3" y="9"/>
                    </a:lnTo>
                    <a:cubicBezTo>
                      <a:pt x="0" y="7"/>
                      <a:pt x="0" y="4"/>
                      <a:pt x="3" y="2"/>
                    </a:cubicBezTo>
                    <a:cubicBezTo>
                      <a:pt x="7" y="0"/>
                      <a:pt x="12" y="0"/>
                      <a:pt x="16" y="2"/>
                    </a:cubicBezTo>
                    <a:lnTo>
                      <a:pt x="1454" y="832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73"/>
              <p:cNvSpPr>
                <a:spLocks/>
              </p:cNvSpPr>
              <p:nvPr/>
            </p:nvSpPr>
            <p:spPr bwMode="auto">
              <a:xfrm>
                <a:off x="3860" y="2030"/>
                <a:ext cx="700" cy="403"/>
              </a:xfrm>
              <a:custGeom>
                <a:avLst/>
                <a:gdLst>
                  <a:gd name="T0" fmla="*/ 1454 w 1457"/>
                  <a:gd name="T1" fmla="*/ 832 h 841"/>
                  <a:gd name="T2" fmla="*/ 1454 w 1457"/>
                  <a:gd name="T3" fmla="*/ 839 h 841"/>
                  <a:gd name="T4" fmla="*/ 1441 w 1457"/>
                  <a:gd name="T5" fmla="*/ 839 h 841"/>
                  <a:gd name="T6" fmla="*/ 3 w 1457"/>
                  <a:gd name="T7" fmla="*/ 9 h 841"/>
                  <a:gd name="T8" fmla="*/ 3 w 1457"/>
                  <a:gd name="T9" fmla="*/ 2 h 841"/>
                  <a:gd name="T10" fmla="*/ 16 w 1457"/>
                  <a:gd name="T11" fmla="*/ 2 h 841"/>
                  <a:gd name="T12" fmla="*/ 1454 w 1457"/>
                  <a:gd name="T13" fmla="*/ 83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7" h="841">
                    <a:moveTo>
                      <a:pt x="1454" y="832"/>
                    </a:moveTo>
                    <a:cubicBezTo>
                      <a:pt x="1457" y="834"/>
                      <a:pt x="1457" y="837"/>
                      <a:pt x="1454" y="839"/>
                    </a:cubicBezTo>
                    <a:cubicBezTo>
                      <a:pt x="1450" y="841"/>
                      <a:pt x="1445" y="841"/>
                      <a:pt x="1441" y="839"/>
                    </a:cubicBezTo>
                    <a:lnTo>
                      <a:pt x="3" y="9"/>
                    </a:lnTo>
                    <a:cubicBezTo>
                      <a:pt x="0" y="7"/>
                      <a:pt x="0" y="4"/>
                      <a:pt x="3" y="2"/>
                    </a:cubicBezTo>
                    <a:cubicBezTo>
                      <a:pt x="7" y="0"/>
                      <a:pt x="12" y="0"/>
                      <a:pt x="16" y="2"/>
                    </a:cubicBezTo>
                    <a:lnTo>
                      <a:pt x="1454" y="832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74"/>
              <p:cNvSpPr>
                <a:spLocks/>
              </p:cNvSpPr>
              <p:nvPr/>
            </p:nvSpPr>
            <p:spPr bwMode="auto">
              <a:xfrm>
                <a:off x="3572" y="1972"/>
                <a:ext cx="934" cy="540"/>
              </a:xfrm>
              <a:custGeom>
                <a:avLst/>
                <a:gdLst>
                  <a:gd name="T0" fmla="*/ 1940 w 1946"/>
                  <a:gd name="T1" fmla="*/ 1110 h 1124"/>
                  <a:gd name="T2" fmla="*/ 1940 w 1946"/>
                  <a:gd name="T3" fmla="*/ 1121 h 1124"/>
                  <a:gd name="T4" fmla="*/ 1922 w 1946"/>
                  <a:gd name="T5" fmla="*/ 1121 h 1124"/>
                  <a:gd name="T6" fmla="*/ 5 w 1946"/>
                  <a:gd name="T7" fmla="*/ 14 h 1124"/>
                  <a:gd name="T8" fmla="*/ 5 w 1946"/>
                  <a:gd name="T9" fmla="*/ 4 h 1124"/>
                  <a:gd name="T10" fmla="*/ 24 w 1946"/>
                  <a:gd name="T11" fmla="*/ 4 h 1124"/>
                  <a:gd name="T12" fmla="*/ 1940 w 1946"/>
                  <a:gd name="T13" fmla="*/ 1110 h 1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46" h="1124">
                    <a:moveTo>
                      <a:pt x="1940" y="1110"/>
                    </a:moveTo>
                    <a:cubicBezTo>
                      <a:pt x="1946" y="1113"/>
                      <a:pt x="1946" y="1118"/>
                      <a:pt x="1940" y="1121"/>
                    </a:cubicBezTo>
                    <a:cubicBezTo>
                      <a:pt x="1935" y="1124"/>
                      <a:pt x="1927" y="1124"/>
                      <a:pt x="1922" y="1121"/>
                    </a:cubicBezTo>
                    <a:lnTo>
                      <a:pt x="5" y="14"/>
                    </a:lnTo>
                    <a:cubicBezTo>
                      <a:pt x="0" y="11"/>
                      <a:pt x="0" y="6"/>
                      <a:pt x="5" y="4"/>
                    </a:cubicBezTo>
                    <a:cubicBezTo>
                      <a:pt x="10" y="0"/>
                      <a:pt x="18" y="1"/>
                      <a:pt x="24" y="4"/>
                    </a:cubicBezTo>
                    <a:lnTo>
                      <a:pt x="1940" y="1110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75"/>
              <p:cNvSpPr>
                <a:spLocks/>
              </p:cNvSpPr>
              <p:nvPr/>
            </p:nvSpPr>
            <p:spPr bwMode="auto">
              <a:xfrm>
                <a:off x="3680" y="2134"/>
                <a:ext cx="700" cy="404"/>
              </a:xfrm>
              <a:custGeom>
                <a:avLst/>
                <a:gdLst>
                  <a:gd name="T0" fmla="*/ 1454 w 1458"/>
                  <a:gd name="T1" fmla="*/ 832 h 841"/>
                  <a:gd name="T2" fmla="*/ 1454 w 1458"/>
                  <a:gd name="T3" fmla="*/ 839 h 841"/>
                  <a:gd name="T4" fmla="*/ 1442 w 1458"/>
                  <a:gd name="T5" fmla="*/ 839 h 841"/>
                  <a:gd name="T6" fmla="*/ 4 w 1458"/>
                  <a:gd name="T7" fmla="*/ 9 h 841"/>
                  <a:gd name="T8" fmla="*/ 4 w 1458"/>
                  <a:gd name="T9" fmla="*/ 2 h 841"/>
                  <a:gd name="T10" fmla="*/ 16 w 1458"/>
                  <a:gd name="T11" fmla="*/ 2 h 841"/>
                  <a:gd name="T12" fmla="*/ 1454 w 1458"/>
                  <a:gd name="T13" fmla="*/ 83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8" h="841">
                    <a:moveTo>
                      <a:pt x="1454" y="832"/>
                    </a:moveTo>
                    <a:cubicBezTo>
                      <a:pt x="1458" y="834"/>
                      <a:pt x="1458" y="837"/>
                      <a:pt x="1454" y="839"/>
                    </a:cubicBezTo>
                    <a:cubicBezTo>
                      <a:pt x="1451" y="841"/>
                      <a:pt x="1445" y="841"/>
                      <a:pt x="1442" y="839"/>
                    </a:cubicBezTo>
                    <a:lnTo>
                      <a:pt x="4" y="9"/>
                    </a:lnTo>
                    <a:cubicBezTo>
                      <a:pt x="0" y="7"/>
                      <a:pt x="0" y="4"/>
                      <a:pt x="4" y="2"/>
                    </a:cubicBezTo>
                    <a:cubicBezTo>
                      <a:pt x="7" y="0"/>
                      <a:pt x="13" y="0"/>
                      <a:pt x="16" y="2"/>
                    </a:cubicBezTo>
                    <a:lnTo>
                      <a:pt x="1454" y="832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76"/>
              <p:cNvSpPr>
                <a:spLocks/>
              </p:cNvSpPr>
              <p:nvPr/>
            </p:nvSpPr>
            <p:spPr bwMode="auto">
              <a:xfrm>
                <a:off x="3658" y="2147"/>
                <a:ext cx="699" cy="404"/>
              </a:xfrm>
              <a:custGeom>
                <a:avLst/>
                <a:gdLst>
                  <a:gd name="T0" fmla="*/ 1454 w 1457"/>
                  <a:gd name="T1" fmla="*/ 832 h 842"/>
                  <a:gd name="T2" fmla="*/ 1454 w 1457"/>
                  <a:gd name="T3" fmla="*/ 840 h 842"/>
                  <a:gd name="T4" fmla="*/ 1441 w 1457"/>
                  <a:gd name="T5" fmla="*/ 840 h 842"/>
                  <a:gd name="T6" fmla="*/ 3 w 1457"/>
                  <a:gd name="T7" fmla="*/ 9 h 842"/>
                  <a:gd name="T8" fmla="*/ 3 w 1457"/>
                  <a:gd name="T9" fmla="*/ 2 h 842"/>
                  <a:gd name="T10" fmla="*/ 16 w 1457"/>
                  <a:gd name="T11" fmla="*/ 2 h 842"/>
                  <a:gd name="T12" fmla="*/ 1454 w 1457"/>
                  <a:gd name="T13" fmla="*/ 832 h 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7" h="842">
                    <a:moveTo>
                      <a:pt x="1454" y="832"/>
                    </a:moveTo>
                    <a:cubicBezTo>
                      <a:pt x="1457" y="834"/>
                      <a:pt x="1457" y="838"/>
                      <a:pt x="1454" y="840"/>
                    </a:cubicBezTo>
                    <a:cubicBezTo>
                      <a:pt x="1450" y="842"/>
                      <a:pt x="1445" y="842"/>
                      <a:pt x="1441" y="840"/>
                    </a:cubicBezTo>
                    <a:lnTo>
                      <a:pt x="3" y="9"/>
                    </a:lnTo>
                    <a:cubicBezTo>
                      <a:pt x="0" y="7"/>
                      <a:pt x="0" y="4"/>
                      <a:pt x="3" y="2"/>
                    </a:cubicBezTo>
                    <a:cubicBezTo>
                      <a:pt x="6" y="0"/>
                      <a:pt x="12" y="0"/>
                      <a:pt x="16" y="2"/>
                    </a:cubicBezTo>
                    <a:lnTo>
                      <a:pt x="1454" y="832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77"/>
              <p:cNvSpPr>
                <a:spLocks/>
              </p:cNvSpPr>
              <p:nvPr/>
            </p:nvSpPr>
            <p:spPr bwMode="auto">
              <a:xfrm>
                <a:off x="3635" y="2160"/>
                <a:ext cx="699" cy="404"/>
              </a:xfrm>
              <a:custGeom>
                <a:avLst/>
                <a:gdLst>
                  <a:gd name="T0" fmla="*/ 1454 w 1457"/>
                  <a:gd name="T1" fmla="*/ 833 h 842"/>
                  <a:gd name="T2" fmla="*/ 1454 w 1457"/>
                  <a:gd name="T3" fmla="*/ 840 h 842"/>
                  <a:gd name="T4" fmla="*/ 1441 w 1457"/>
                  <a:gd name="T5" fmla="*/ 840 h 842"/>
                  <a:gd name="T6" fmla="*/ 3 w 1457"/>
                  <a:gd name="T7" fmla="*/ 10 h 842"/>
                  <a:gd name="T8" fmla="*/ 3 w 1457"/>
                  <a:gd name="T9" fmla="*/ 2 h 842"/>
                  <a:gd name="T10" fmla="*/ 16 w 1457"/>
                  <a:gd name="T11" fmla="*/ 2 h 842"/>
                  <a:gd name="T12" fmla="*/ 1454 w 1457"/>
                  <a:gd name="T13" fmla="*/ 833 h 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7" h="842">
                    <a:moveTo>
                      <a:pt x="1454" y="833"/>
                    </a:moveTo>
                    <a:cubicBezTo>
                      <a:pt x="1457" y="835"/>
                      <a:pt x="1457" y="838"/>
                      <a:pt x="1454" y="840"/>
                    </a:cubicBezTo>
                    <a:cubicBezTo>
                      <a:pt x="1450" y="842"/>
                      <a:pt x="1445" y="842"/>
                      <a:pt x="1441" y="840"/>
                    </a:cubicBezTo>
                    <a:lnTo>
                      <a:pt x="3" y="10"/>
                    </a:lnTo>
                    <a:cubicBezTo>
                      <a:pt x="0" y="8"/>
                      <a:pt x="0" y="4"/>
                      <a:pt x="3" y="2"/>
                    </a:cubicBezTo>
                    <a:cubicBezTo>
                      <a:pt x="7" y="0"/>
                      <a:pt x="12" y="0"/>
                      <a:pt x="16" y="2"/>
                    </a:cubicBezTo>
                    <a:lnTo>
                      <a:pt x="1454" y="833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78"/>
              <p:cNvSpPr>
                <a:spLocks/>
              </p:cNvSpPr>
              <p:nvPr/>
            </p:nvSpPr>
            <p:spPr bwMode="auto">
              <a:xfrm>
                <a:off x="3612" y="2174"/>
                <a:ext cx="700" cy="403"/>
              </a:xfrm>
              <a:custGeom>
                <a:avLst/>
                <a:gdLst>
                  <a:gd name="T0" fmla="*/ 1454 w 1457"/>
                  <a:gd name="T1" fmla="*/ 832 h 841"/>
                  <a:gd name="T2" fmla="*/ 1454 w 1457"/>
                  <a:gd name="T3" fmla="*/ 839 h 841"/>
                  <a:gd name="T4" fmla="*/ 1441 w 1457"/>
                  <a:gd name="T5" fmla="*/ 839 h 841"/>
                  <a:gd name="T6" fmla="*/ 3 w 1457"/>
                  <a:gd name="T7" fmla="*/ 9 h 841"/>
                  <a:gd name="T8" fmla="*/ 3 w 1457"/>
                  <a:gd name="T9" fmla="*/ 2 h 841"/>
                  <a:gd name="T10" fmla="*/ 16 w 1457"/>
                  <a:gd name="T11" fmla="*/ 2 h 841"/>
                  <a:gd name="T12" fmla="*/ 1454 w 1457"/>
                  <a:gd name="T13" fmla="*/ 83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7" h="841">
                    <a:moveTo>
                      <a:pt x="1454" y="832"/>
                    </a:moveTo>
                    <a:cubicBezTo>
                      <a:pt x="1457" y="834"/>
                      <a:pt x="1457" y="837"/>
                      <a:pt x="1454" y="839"/>
                    </a:cubicBezTo>
                    <a:cubicBezTo>
                      <a:pt x="1450" y="841"/>
                      <a:pt x="1445" y="841"/>
                      <a:pt x="1441" y="839"/>
                    </a:cubicBezTo>
                    <a:lnTo>
                      <a:pt x="3" y="9"/>
                    </a:lnTo>
                    <a:cubicBezTo>
                      <a:pt x="0" y="7"/>
                      <a:pt x="0" y="4"/>
                      <a:pt x="3" y="2"/>
                    </a:cubicBezTo>
                    <a:cubicBezTo>
                      <a:pt x="7" y="0"/>
                      <a:pt x="12" y="0"/>
                      <a:pt x="16" y="2"/>
                    </a:cubicBezTo>
                    <a:lnTo>
                      <a:pt x="1454" y="832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79"/>
              <p:cNvSpPr>
                <a:spLocks/>
              </p:cNvSpPr>
              <p:nvPr/>
            </p:nvSpPr>
            <p:spPr bwMode="auto">
              <a:xfrm>
                <a:off x="3369" y="2090"/>
                <a:ext cx="935" cy="540"/>
              </a:xfrm>
              <a:custGeom>
                <a:avLst/>
                <a:gdLst>
                  <a:gd name="T0" fmla="*/ 1941 w 1947"/>
                  <a:gd name="T1" fmla="*/ 1110 h 1123"/>
                  <a:gd name="T2" fmla="*/ 1941 w 1947"/>
                  <a:gd name="T3" fmla="*/ 1120 h 1123"/>
                  <a:gd name="T4" fmla="*/ 1923 w 1947"/>
                  <a:gd name="T5" fmla="*/ 1120 h 1123"/>
                  <a:gd name="T6" fmla="*/ 6 w 1947"/>
                  <a:gd name="T7" fmla="*/ 14 h 1123"/>
                  <a:gd name="T8" fmla="*/ 6 w 1947"/>
                  <a:gd name="T9" fmla="*/ 3 h 1123"/>
                  <a:gd name="T10" fmla="*/ 24 w 1947"/>
                  <a:gd name="T11" fmla="*/ 3 h 1123"/>
                  <a:gd name="T12" fmla="*/ 1941 w 1947"/>
                  <a:gd name="T13" fmla="*/ 1110 h 1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47" h="1123">
                    <a:moveTo>
                      <a:pt x="1941" y="1110"/>
                    </a:moveTo>
                    <a:cubicBezTo>
                      <a:pt x="1946" y="1113"/>
                      <a:pt x="1947" y="1117"/>
                      <a:pt x="1941" y="1120"/>
                    </a:cubicBezTo>
                    <a:cubicBezTo>
                      <a:pt x="1936" y="1123"/>
                      <a:pt x="1928" y="1123"/>
                      <a:pt x="1923" y="1120"/>
                    </a:cubicBezTo>
                    <a:lnTo>
                      <a:pt x="6" y="14"/>
                    </a:lnTo>
                    <a:cubicBezTo>
                      <a:pt x="0" y="11"/>
                      <a:pt x="0" y="6"/>
                      <a:pt x="6" y="3"/>
                    </a:cubicBezTo>
                    <a:cubicBezTo>
                      <a:pt x="11" y="0"/>
                      <a:pt x="19" y="0"/>
                      <a:pt x="24" y="3"/>
                    </a:cubicBezTo>
                    <a:lnTo>
                      <a:pt x="1941" y="1110"/>
                    </a:lnTo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80"/>
              <p:cNvSpPr>
                <a:spLocks/>
              </p:cNvSpPr>
              <p:nvPr/>
            </p:nvSpPr>
            <p:spPr bwMode="auto">
              <a:xfrm>
                <a:off x="3500" y="2239"/>
                <a:ext cx="700" cy="404"/>
              </a:xfrm>
              <a:custGeom>
                <a:avLst/>
                <a:gdLst>
                  <a:gd name="T0" fmla="*/ 1454 w 1458"/>
                  <a:gd name="T1" fmla="*/ 832 h 841"/>
                  <a:gd name="T2" fmla="*/ 1454 w 1458"/>
                  <a:gd name="T3" fmla="*/ 839 h 841"/>
                  <a:gd name="T4" fmla="*/ 1442 w 1458"/>
                  <a:gd name="T5" fmla="*/ 839 h 841"/>
                  <a:gd name="T6" fmla="*/ 4 w 1458"/>
                  <a:gd name="T7" fmla="*/ 9 h 841"/>
                  <a:gd name="T8" fmla="*/ 4 w 1458"/>
                  <a:gd name="T9" fmla="*/ 2 h 841"/>
                  <a:gd name="T10" fmla="*/ 16 w 1458"/>
                  <a:gd name="T11" fmla="*/ 2 h 841"/>
                  <a:gd name="T12" fmla="*/ 1454 w 1458"/>
                  <a:gd name="T13" fmla="*/ 83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8" h="841">
                    <a:moveTo>
                      <a:pt x="1454" y="832"/>
                    </a:moveTo>
                    <a:cubicBezTo>
                      <a:pt x="1458" y="834"/>
                      <a:pt x="1458" y="837"/>
                      <a:pt x="1454" y="839"/>
                    </a:cubicBezTo>
                    <a:cubicBezTo>
                      <a:pt x="1451" y="841"/>
                      <a:pt x="1445" y="841"/>
                      <a:pt x="1442" y="839"/>
                    </a:cubicBezTo>
                    <a:lnTo>
                      <a:pt x="4" y="9"/>
                    </a:lnTo>
                    <a:cubicBezTo>
                      <a:pt x="0" y="7"/>
                      <a:pt x="0" y="4"/>
                      <a:pt x="4" y="2"/>
                    </a:cubicBezTo>
                    <a:cubicBezTo>
                      <a:pt x="7" y="0"/>
                      <a:pt x="13" y="0"/>
                      <a:pt x="16" y="2"/>
                    </a:cubicBezTo>
                    <a:lnTo>
                      <a:pt x="1454" y="832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81"/>
              <p:cNvSpPr>
                <a:spLocks/>
              </p:cNvSpPr>
              <p:nvPr/>
            </p:nvSpPr>
            <p:spPr bwMode="auto">
              <a:xfrm>
                <a:off x="3455" y="2265"/>
                <a:ext cx="699" cy="404"/>
              </a:xfrm>
              <a:custGeom>
                <a:avLst/>
                <a:gdLst>
                  <a:gd name="T0" fmla="*/ 1454 w 1458"/>
                  <a:gd name="T1" fmla="*/ 833 h 842"/>
                  <a:gd name="T2" fmla="*/ 1454 w 1458"/>
                  <a:gd name="T3" fmla="*/ 840 h 842"/>
                  <a:gd name="T4" fmla="*/ 1442 w 1458"/>
                  <a:gd name="T5" fmla="*/ 840 h 842"/>
                  <a:gd name="T6" fmla="*/ 4 w 1458"/>
                  <a:gd name="T7" fmla="*/ 10 h 842"/>
                  <a:gd name="T8" fmla="*/ 4 w 1458"/>
                  <a:gd name="T9" fmla="*/ 2 h 842"/>
                  <a:gd name="T10" fmla="*/ 16 w 1458"/>
                  <a:gd name="T11" fmla="*/ 2 h 842"/>
                  <a:gd name="T12" fmla="*/ 1454 w 1458"/>
                  <a:gd name="T13" fmla="*/ 833 h 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8" h="842">
                    <a:moveTo>
                      <a:pt x="1454" y="833"/>
                    </a:moveTo>
                    <a:cubicBezTo>
                      <a:pt x="1458" y="835"/>
                      <a:pt x="1458" y="838"/>
                      <a:pt x="1454" y="840"/>
                    </a:cubicBezTo>
                    <a:cubicBezTo>
                      <a:pt x="1451" y="842"/>
                      <a:pt x="1445" y="842"/>
                      <a:pt x="1442" y="840"/>
                    </a:cubicBezTo>
                    <a:lnTo>
                      <a:pt x="4" y="10"/>
                    </a:lnTo>
                    <a:cubicBezTo>
                      <a:pt x="0" y="8"/>
                      <a:pt x="0" y="4"/>
                      <a:pt x="4" y="2"/>
                    </a:cubicBezTo>
                    <a:cubicBezTo>
                      <a:pt x="7" y="0"/>
                      <a:pt x="13" y="0"/>
                      <a:pt x="16" y="2"/>
                    </a:cubicBezTo>
                    <a:lnTo>
                      <a:pt x="1454" y="833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82"/>
              <p:cNvSpPr>
                <a:spLocks/>
              </p:cNvSpPr>
              <p:nvPr/>
            </p:nvSpPr>
            <p:spPr bwMode="auto">
              <a:xfrm>
                <a:off x="3275" y="2369"/>
                <a:ext cx="699" cy="405"/>
              </a:xfrm>
              <a:custGeom>
                <a:avLst/>
                <a:gdLst>
                  <a:gd name="T0" fmla="*/ 1454 w 1458"/>
                  <a:gd name="T1" fmla="*/ 833 h 842"/>
                  <a:gd name="T2" fmla="*/ 1454 w 1458"/>
                  <a:gd name="T3" fmla="*/ 840 h 842"/>
                  <a:gd name="T4" fmla="*/ 1442 w 1458"/>
                  <a:gd name="T5" fmla="*/ 840 h 842"/>
                  <a:gd name="T6" fmla="*/ 4 w 1458"/>
                  <a:gd name="T7" fmla="*/ 10 h 842"/>
                  <a:gd name="T8" fmla="*/ 4 w 1458"/>
                  <a:gd name="T9" fmla="*/ 2 h 842"/>
                  <a:gd name="T10" fmla="*/ 16 w 1458"/>
                  <a:gd name="T11" fmla="*/ 2 h 842"/>
                  <a:gd name="T12" fmla="*/ 1454 w 1458"/>
                  <a:gd name="T13" fmla="*/ 833 h 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8" h="842">
                    <a:moveTo>
                      <a:pt x="1454" y="833"/>
                    </a:moveTo>
                    <a:cubicBezTo>
                      <a:pt x="1458" y="835"/>
                      <a:pt x="1458" y="838"/>
                      <a:pt x="1454" y="840"/>
                    </a:cubicBezTo>
                    <a:cubicBezTo>
                      <a:pt x="1451" y="842"/>
                      <a:pt x="1445" y="842"/>
                      <a:pt x="1442" y="840"/>
                    </a:cubicBezTo>
                    <a:lnTo>
                      <a:pt x="4" y="10"/>
                    </a:lnTo>
                    <a:cubicBezTo>
                      <a:pt x="0" y="8"/>
                      <a:pt x="0" y="4"/>
                      <a:pt x="4" y="2"/>
                    </a:cubicBezTo>
                    <a:cubicBezTo>
                      <a:pt x="7" y="0"/>
                      <a:pt x="13" y="0"/>
                      <a:pt x="16" y="2"/>
                    </a:cubicBezTo>
                    <a:lnTo>
                      <a:pt x="1454" y="833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83"/>
              <p:cNvSpPr>
                <a:spLocks/>
              </p:cNvSpPr>
              <p:nvPr/>
            </p:nvSpPr>
            <p:spPr bwMode="auto">
              <a:xfrm>
                <a:off x="3252" y="2383"/>
                <a:ext cx="700" cy="404"/>
              </a:xfrm>
              <a:custGeom>
                <a:avLst/>
                <a:gdLst>
                  <a:gd name="T0" fmla="*/ 1454 w 1458"/>
                  <a:gd name="T1" fmla="*/ 832 h 841"/>
                  <a:gd name="T2" fmla="*/ 1454 w 1458"/>
                  <a:gd name="T3" fmla="*/ 839 h 841"/>
                  <a:gd name="T4" fmla="*/ 1442 w 1458"/>
                  <a:gd name="T5" fmla="*/ 839 h 841"/>
                  <a:gd name="T6" fmla="*/ 4 w 1458"/>
                  <a:gd name="T7" fmla="*/ 9 h 841"/>
                  <a:gd name="T8" fmla="*/ 4 w 1458"/>
                  <a:gd name="T9" fmla="*/ 2 h 841"/>
                  <a:gd name="T10" fmla="*/ 16 w 1458"/>
                  <a:gd name="T11" fmla="*/ 2 h 841"/>
                  <a:gd name="T12" fmla="*/ 1454 w 1458"/>
                  <a:gd name="T13" fmla="*/ 83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8" h="841">
                    <a:moveTo>
                      <a:pt x="1454" y="832"/>
                    </a:moveTo>
                    <a:cubicBezTo>
                      <a:pt x="1458" y="834"/>
                      <a:pt x="1458" y="837"/>
                      <a:pt x="1454" y="839"/>
                    </a:cubicBezTo>
                    <a:cubicBezTo>
                      <a:pt x="1451" y="841"/>
                      <a:pt x="1445" y="841"/>
                      <a:pt x="1442" y="839"/>
                    </a:cubicBezTo>
                    <a:lnTo>
                      <a:pt x="4" y="9"/>
                    </a:lnTo>
                    <a:cubicBezTo>
                      <a:pt x="0" y="7"/>
                      <a:pt x="0" y="4"/>
                      <a:pt x="4" y="2"/>
                    </a:cubicBezTo>
                    <a:cubicBezTo>
                      <a:pt x="7" y="0"/>
                      <a:pt x="13" y="0"/>
                      <a:pt x="16" y="2"/>
                    </a:cubicBezTo>
                    <a:lnTo>
                      <a:pt x="1454" y="832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84"/>
              <p:cNvSpPr>
                <a:spLocks/>
              </p:cNvSpPr>
              <p:nvPr/>
            </p:nvSpPr>
            <p:spPr bwMode="auto">
              <a:xfrm>
                <a:off x="3229" y="2396"/>
                <a:ext cx="700" cy="404"/>
              </a:xfrm>
              <a:custGeom>
                <a:avLst/>
                <a:gdLst>
                  <a:gd name="T0" fmla="*/ 1454 w 1458"/>
                  <a:gd name="T1" fmla="*/ 832 h 841"/>
                  <a:gd name="T2" fmla="*/ 1454 w 1458"/>
                  <a:gd name="T3" fmla="*/ 839 h 841"/>
                  <a:gd name="T4" fmla="*/ 1442 w 1458"/>
                  <a:gd name="T5" fmla="*/ 839 h 841"/>
                  <a:gd name="T6" fmla="*/ 4 w 1458"/>
                  <a:gd name="T7" fmla="*/ 9 h 841"/>
                  <a:gd name="T8" fmla="*/ 4 w 1458"/>
                  <a:gd name="T9" fmla="*/ 2 h 841"/>
                  <a:gd name="T10" fmla="*/ 16 w 1458"/>
                  <a:gd name="T11" fmla="*/ 2 h 841"/>
                  <a:gd name="T12" fmla="*/ 1454 w 1458"/>
                  <a:gd name="T13" fmla="*/ 83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8" h="841">
                    <a:moveTo>
                      <a:pt x="1454" y="832"/>
                    </a:moveTo>
                    <a:cubicBezTo>
                      <a:pt x="1458" y="834"/>
                      <a:pt x="1458" y="837"/>
                      <a:pt x="1454" y="839"/>
                    </a:cubicBezTo>
                    <a:cubicBezTo>
                      <a:pt x="1451" y="841"/>
                      <a:pt x="1445" y="841"/>
                      <a:pt x="1442" y="839"/>
                    </a:cubicBezTo>
                    <a:lnTo>
                      <a:pt x="4" y="9"/>
                    </a:lnTo>
                    <a:cubicBezTo>
                      <a:pt x="0" y="7"/>
                      <a:pt x="0" y="4"/>
                      <a:pt x="4" y="2"/>
                    </a:cubicBezTo>
                    <a:cubicBezTo>
                      <a:pt x="7" y="0"/>
                      <a:pt x="13" y="0"/>
                      <a:pt x="16" y="2"/>
                    </a:cubicBezTo>
                    <a:lnTo>
                      <a:pt x="1454" y="832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85"/>
              <p:cNvSpPr>
                <a:spLocks/>
              </p:cNvSpPr>
              <p:nvPr/>
            </p:nvSpPr>
            <p:spPr bwMode="auto">
              <a:xfrm>
                <a:off x="3207" y="2409"/>
                <a:ext cx="700" cy="404"/>
              </a:xfrm>
              <a:custGeom>
                <a:avLst/>
                <a:gdLst>
                  <a:gd name="T0" fmla="*/ 1454 w 1458"/>
                  <a:gd name="T1" fmla="*/ 832 h 842"/>
                  <a:gd name="T2" fmla="*/ 1454 w 1458"/>
                  <a:gd name="T3" fmla="*/ 840 h 842"/>
                  <a:gd name="T4" fmla="*/ 1442 w 1458"/>
                  <a:gd name="T5" fmla="*/ 840 h 842"/>
                  <a:gd name="T6" fmla="*/ 4 w 1458"/>
                  <a:gd name="T7" fmla="*/ 10 h 842"/>
                  <a:gd name="T8" fmla="*/ 4 w 1458"/>
                  <a:gd name="T9" fmla="*/ 2 h 842"/>
                  <a:gd name="T10" fmla="*/ 16 w 1458"/>
                  <a:gd name="T11" fmla="*/ 2 h 842"/>
                  <a:gd name="T12" fmla="*/ 1454 w 1458"/>
                  <a:gd name="T13" fmla="*/ 832 h 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8" h="842">
                    <a:moveTo>
                      <a:pt x="1454" y="832"/>
                    </a:moveTo>
                    <a:cubicBezTo>
                      <a:pt x="1458" y="834"/>
                      <a:pt x="1458" y="838"/>
                      <a:pt x="1454" y="840"/>
                    </a:cubicBezTo>
                    <a:cubicBezTo>
                      <a:pt x="1451" y="842"/>
                      <a:pt x="1445" y="842"/>
                      <a:pt x="1442" y="840"/>
                    </a:cubicBezTo>
                    <a:lnTo>
                      <a:pt x="4" y="10"/>
                    </a:lnTo>
                    <a:cubicBezTo>
                      <a:pt x="0" y="8"/>
                      <a:pt x="0" y="4"/>
                      <a:pt x="4" y="2"/>
                    </a:cubicBezTo>
                    <a:cubicBezTo>
                      <a:pt x="7" y="0"/>
                      <a:pt x="13" y="0"/>
                      <a:pt x="16" y="2"/>
                    </a:cubicBezTo>
                    <a:lnTo>
                      <a:pt x="1454" y="832"/>
                    </a:ln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86"/>
              <p:cNvSpPr>
                <a:spLocks/>
              </p:cNvSpPr>
              <p:nvPr/>
            </p:nvSpPr>
            <p:spPr bwMode="auto">
              <a:xfrm>
                <a:off x="3049" y="2500"/>
                <a:ext cx="558" cy="319"/>
              </a:xfrm>
              <a:custGeom>
                <a:avLst/>
                <a:gdLst>
                  <a:gd name="T0" fmla="*/ 4 w 1161"/>
                  <a:gd name="T1" fmla="*/ 2 h 663"/>
                  <a:gd name="T2" fmla="*/ 16 w 1161"/>
                  <a:gd name="T3" fmla="*/ 2 h 663"/>
                  <a:gd name="T4" fmla="*/ 1161 w 1161"/>
                  <a:gd name="T5" fmla="*/ 663 h 663"/>
                  <a:gd name="T6" fmla="*/ 1136 w 1161"/>
                  <a:gd name="T7" fmla="*/ 663 h 663"/>
                  <a:gd name="T8" fmla="*/ 4 w 1161"/>
                  <a:gd name="T9" fmla="*/ 9 h 663"/>
                  <a:gd name="T10" fmla="*/ 4 w 1161"/>
                  <a:gd name="T11" fmla="*/ 2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1" h="663">
                    <a:moveTo>
                      <a:pt x="4" y="2"/>
                    </a:moveTo>
                    <a:cubicBezTo>
                      <a:pt x="7" y="0"/>
                      <a:pt x="13" y="0"/>
                      <a:pt x="16" y="2"/>
                    </a:cubicBezTo>
                    <a:lnTo>
                      <a:pt x="1161" y="663"/>
                    </a:lnTo>
                    <a:cubicBezTo>
                      <a:pt x="1153" y="663"/>
                      <a:pt x="1145" y="663"/>
                      <a:pt x="1136" y="663"/>
                    </a:cubicBezTo>
                    <a:lnTo>
                      <a:pt x="4" y="9"/>
                    </a:lnTo>
                    <a:cubicBezTo>
                      <a:pt x="0" y="7"/>
                      <a:pt x="0" y="4"/>
                      <a:pt x="4" y="2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87"/>
              <p:cNvSpPr>
                <a:spLocks/>
              </p:cNvSpPr>
              <p:nvPr/>
            </p:nvSpPr>
            <p:spPr bwMode="auto">
              <a:xfrm>
                <a:off x="3027" y="2513"/>
                <a:ext cx="539" cy="310"/>
              </a:xfrm>
              <a:custGeom>
                <a:avLst/>
                <a:gdLst>
                  <a:gd name="T0" fmla="*/ 4 w 1124"/>
                  <a:gd name="T1" fmla="*/ 2 h 645"/>
                  <a:gd name="T2" fmla="*/ 16 w 1124"/>
                  <a:gd name="T3" fmla="*/ 2 h 645"/>
                  <a:gd name="T4" fmla="*/ 1124 w 1124"/>
                  <a:gd name="T5" fmla="*/ 642 h 645"/>
                  <a:gd name="T6" fmla="*/ 1105 w 1124"/>
                  <a:gd name="T7" fmla="*/ 645 h 645"/>
                  <a:gd name="T8" fmla="*/ 4 w 1124"/>
                  <a:gd name="T9" fmla="*/ 10 h 645"/>
                  <a:gd name="T10" fmla="*/ 4 w 1124"/>
                  <a:gd name="T11" fmla="*/ 2 h 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24" h="645">
                    <a:moveTo>
                      <a:pt x="4" y="2"/>
                    </a:moveTo>
                    <a:cubicBezTo>
                      <a:pt x="7" y="0"/>
                      <a:pt x="13" y="0"/>
                      <a:pt x="16" y="2"/>
                    </a:cubicBezTo>
                    <a:lnTo>
                      <a:pt x="1124" y="642"/>
                    </a:lnTo>
                    <a:cubicBezTo>
                      <a:pt x="1118" y="643"/>
                      <a:pt x="1111" y="644"/>
                      <a:pt x="1105" y="645"/>
                    </a:cubicBezTo>
                    <a:lnTo>
                      <a:pt x="4" y="10"/>
                    </a:lnTo>
                    <a:cubicBezTo>
                      <a:pt x="0" y="8"/>
                      <a:pt x="0" y="4"/>
                      <a:pt x="4" y="2"/>
                    </a:cubicBez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88"/>
              <p:cNvSpPr>
                <a:spLocks/>
              </p:cNvSpPr>
              <p:nvPr/>
            </p:nvSpPr>
            <p:spPr bwMode="auto">
              <a:xfrm>
                <a:off x="3004" y="2527"/>
                <a:ext cx="531" cy="306"/>
              </a:xfrm>
              <a:custGeom>
                <a:avLst/>
                <a:gdLst>
                  <a:gd name="T0" fmla="*/ 4 w 1106"/>
                  <a:gd name="T1" fmla="*/ 2 h 637"/>
                  <a:gd name="T2" fmla="*/ 16 w 1106"/>
                  <a:gd name="T3" fmla="*/ 2 h 637"/>
                  <a:gd name="T4" fmla="*/ 1106 w 1106"/>
                  <a:gd name="T5" fmla="*/ 631 h 637"/>
                  <a:gd name="T6" fmla="*/ 1091 w 1106"/>
                  <a:gd name="T7" fmla="*/ 637 h 637"/>
                  <a:gd name="T8" fmla="*/ 4 w 1106"/>
                  <a:gd name="T9" fmla="*/ 9 h 637"/>
                  <a:gd name="T10" fmla="*/ 4 w 1106"/>
                  <a:gd name="T11" fmla="*/ 2 h 6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6" h="637">
                    <a:moveTo>
                      <a:pt x="4" y="2"/>
                    </a:moveTo>
                    <a:cubicBezTo>
                      <a:pt x="7" y="0"/>
                      <a:pt x="13" y="0"/>
                      <a:pt x="16" y="2"/>
                    </a:cubicBezTo>
                    <a:lnTo>
                      <a:pt x="1106" y="631"/>
                    </a:lnTo>
                    <a:cubicBezTo>
                      <a:pt x="1101" y="633"/>
                      <a:pt x="1096" y="635"/>
                      <a:pt x="1091" y="637"/>
                    </a:cubicBezTo>
                    <a:lnTo>
                      <a:pt x="4" y="9"/>
                    </a:lnTo>
                    <a:cubicBezTo>
                      <a:pt x="0" y="7"/>
                      <a:pt x="0" y="4"/>
                      <a:pt x="4" y="2"/>
                    </a:cubicBez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89"/>
              <p:cNvSpPr>
                <a:spLocks/>
              </p:cNvSpPr>
              <p:nvPr/>
            </p:nvSpPr>
            <p:spPr bwMode="auto">
              <a:xfrm>
                <a:off x="2964" y="2326"/>
                <a:ext cx="934" cy="539"/>
              </a:xfrm>
              <a:custGeom>
                <a:avLst/>
                <a:gdLst>
                  <a:gd name="T0" fmla="*/ 1941 w 1946"/>
                  <a:gd name="T1" fmla="*/ 1110 h 1124"/>
                  <a:gd name="T2" fmla="*/ 1941 w 1946"/>
                  <a:gd name="T3" fmla="*/ 1121 h 1124"/>
                  <a:gd name="T4" fmla="*/ 1922 w 1946"/>
                  <a:gd name="T5" fmla="*/ 1121 h 1124"/>
                  <a:gd name="T6" fmla="*/ 5 w 1946"/>
                  <a:gd name="T7" fmla="*/ 14 h 1124"/>
                  <a:gd name="T8" fmla="*/ 5 w 1946"/>
                  <a:gd name="T9" fmla="*/ 3 h 1124"/>
                  <a:gd name="T10" fmla="*/ 24 w 1946"/>
                  <a:gd name="T11" fmla="*/ 3 h 1124"/>
                  <a:gd name="T12" fmla="*/ 1941 w 1946"/>
                  <a:gd name="T13" fmla="*/ 1110 h 1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46" h="1124">
                    <a:moveTo>
                      <a:pt x="1941" y="1110"/>
                    </a:moveTo>
                    <a:cubicBezTo>
                      <a:pt x="1946" y="1113"/>
                      <a:pt x="1946" y="1118"/>
                      <a:pt x="1941" y="1121"/>
                    </a:cubicBezTo>
                    <a:cubicBezTo>
                      <a:pt x="1936" y="1124"/>
                      <a:pt x="1927" y="1124"/>
                      <a:pt x="1922" y="1121"/>
                    </a:cubicBezTo>
                    <a:lnTo>
                      <a:pt x="5" y="14"/>
                    </a:lnTo>
                    <a:cubicBezTo>
                      <a:pt x="0" y="11"/>
                      <a:pt x="0" y="6"/>
                      <a:pt x="5" y="3"/>
                    </a:cubicBezTo>
                    <a:cubicBezTo>
                      <a:pt x="11" y="0"/>
                      <a:pt x="19" y="0"/>
                      <a:pt x="24" y="3"/>
                    </a:cubicBezTo>
                    <a:lnTo>
                      <a:pt x="1941" y="1110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90"/>
              <p:cNvSpPr>
                <a:spLocks/>
              </p:cNvSpPr>
              <p:nvPr/>
            </p:nvSpPr>
            <p:spPr bwMode="auto">
              <a:xfrm>
                <a:off x="2761" y="2444"/>
                <a:ext cx="729" cy="423"/>
              </a:xfrm>
              <a:custGeom>
                <a:avLst/>
                <a:gdLst>
                  <a:gd name="T0" fmla="*/ 24 w 1518"/>
                  <a:gd name="T1" fmla="*/ 3 h 881"/>
                  <a:gd name="T2" fmla="*/ 1518 w 1518"/>
                  <a:gd name="T3" fmla="*/ 866 h 881"/>
                  <a:gd name="T4" fmla="*/ 1508 w 1518"/>
                  <a:gd name="T5" fmla="*/ 881 h 881"/>
                  <a:gd name="T6" fmla="*/ 5 w 1518"/>
                  <a:gd name="T7" fmla="*/ 14 h 881"/>
                  <a:gd name="T8" fmla="*/ 5 w 1518"/>
                  <a:gd name="T9" fmla="*/ 3 h 881"/>
                  <a:gd name="T10" fmla="*/ 24 w 1518"/>
                  <a:gd name="T11" fmla="*/ 3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18" h="881">
                    <a:moveTo>
                      <a:pt x="24" y="3"/>
                    </a:moveTo>
                    <a:lnTo>
                      <a:pt x="1518" y="866"/>
                    </a:lnTo>
                    <a:cubicBezTo>
                      <a:pt x="1514" y="871"/>
                      <a:pt x="1511" y="876"/>
                      <a:pt x="1508" y="881"/>
                    </a:cubicBezTo>
                    <a:lnTo>
                      <a:pt x="5" y="14"/>
                    </a:lnTo>
                    <a:cubicBezTo>
                      <a:pt x="0" y="11"/>
                      <a:pt x="0" y="6"/>
                      <a:pt x="5" y="3"/>
                    </a:cubicBezTo>
                    <a:cubicBezTo>
                      <a:pt x="10" y="0"/>
                      <a:pt x="19" y="0"/>
                      <a:pt x="24" y="3"/>
                    </a:cubicBezTo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91"/>
              <p:cNvSpPr>
                <a:spLocks/>
              </p:cNvSpPr>
              <p:nvPr/>
            </p:nvSpPr>
            <p:spPr bwMode="auto">
              <a:xfrm>
                <a:off x="3722" y="2885"/>
                <a:ext cx="27" cy="20"/>
              </a:xfrm>
              <a:custGeom>
                <a:avLst/>
                <a:gdLst>
                  <a:gd name="T0" fmla="*/ 53 w 57"/>
                  <a:gd name="T1" fmla="*/ 31 h 41"/>
                  <a:gd name="T2" fmla="*/ 53 w 57"/>
                  <a:gd name="T3" fmla="*/ 39 h 41"/>
                  <a:gd name="T4" fmla="*/ 41 w 57"/>
                  <a:gd name="T5" fmla="*/ 39 h 41"/>
                  <a:gd name="T6" fmla="*/ 0 w 57"/>
                  <a:gd name="T7" fmla="*/ 15 h 41"/>
                  <a:gd name="T8" fmla="*/ 0 w 57"/>
                  <a:gd name="T9" fmla="*/ 0 h 41"/>
                  <a:gd name="T10" fmla="*/ 53 w 57"/>
                  <a:gd name="T11" fmla="*/ 3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" h="41">
                    <a:moveTo>
                      <a:pt x="53" y="31"/>
                    </a:moveTo>
                    <a:cubicBezTo>
                      <a:pt x="57" y="33"/>
                      <a:pt x="57" y="37"/>
                      <a:pt x="53" y="39"/>
                    </a:cubicBezTo>
                    <a:cubicBezTo>
                      <a:pt x="50" y="41"/>
                      <a:pt x="44" y="41"/>
                      <a:pt x="41" y="39"/>
                    </a:cubicBezTo>
                    <a:lnTo>
                      <a:pt x="0" y="15"/>
                    </a:lnTo>
                    <a:cubicBezTo>
                      <a:pt x="0" y="10"/>
                      <a:pt x="0" y="5"/>
                      <a:pt x="0" y="0"/>
                    </a:cubicBezTo>
                    <a:lnTo>
                      <a:pt x="53" y="31"/>
                    </a:lnTo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92"/>
              <p:cNvSpPr>
                <a:spLocks/>
              </p:cNvSpPr>
              <p:nvPr/>
            </p:nvSpPr>
            <p:spPr bwMode="auto">
              <a:xfrm>
                <a:off x="3471" y="2819"/>
                <a:ext cx="251" cy="145"/>
              </a:xfrm>
              <a:custGeom>
                <a:avLst/>
                <a:gdLst>
                  <a:gd name="T0" fmla="*/ 447 w 522"/>
                  <a:gd name="T1" fmla="*/ 43 h 302"/>
                  <a:gd name="T2" fmla="*/ 498 w 522"/>
                  <a:gd name="T3" fmla="*/ 85 h 302"/>
                  <a:gd name="T4" fmla="*/ 522 w 522"/>
                  <a:gd name="T5" fmla="*/ 138 h 302"/>
                  <a:gd name="T6" fmla="*/ 522 w 522"/>
                  <a:gd name="T7" fmla="*/ 153 h 302"/>
                  <a:gd name="T8" fmla="*/ 512 w 522"/>
                  <a:gd name="T9" fmla="*/ 187 h 302"/>
                  <a:gd name="T10" fmla="*/ 506 w 522"/>
                  <a:gd name="T11" fmla="*/ 198 h 302"/>
                  <a:gd name="T12" fmla="*/ 483 w 522"/>
                  <a:gd name="T13" fmla="*/ 225 h 302"/>
                  <a:gd name="T14" fmla="*/ 474 w 522"/>
                  <a:gd name="T15" fmla="*/ 233 h 302"/>
                  <a:gd name="T16" fmla="*/ 449 w 522"/>
                  <a:gd name="T17" fmla="*/ 250 h 302"/>
                  <a:gd name="T18" fmla="*/ 377 w 522"/>
                  <a:gd name="T19" fmla="*/ 279 h 302"/>
                  <a:gd name="T20" fmla="*/ 350 w 522"/>
                  <a:gd name="T21" fmla="*/ 286 h 302"/>
                  <a:gd name="T22" fmla="*/ 91 w 522"/>
                  <a:gd name="T23" fmla="*/ 250 h 302"/>
                  <a:gd name="T24" fmla="*/ 29 w 522"/>
                  <a:gd name="T25" fmla="*/ 100 h 302"/>
                  <a:gd name="T26" fmla="*/ 39 w 522"/>
                  <a:gd name="T27" fmla="*/ 85 h 302"/>
                  <a:gd name="T28" fmla="*/ 90 w 522"/>
                  <a:gd name="T29" fmla="*/ 43 h 302"/>
                  <a:gd name="T30" fmla="*/ 118 w 522"/>
                  <a:gd name="T31" fmla="*/ 29 h 302"/>
                  <a:gd name="T32" fmla="*/ 133 w 522"/>
                  <a:gd name="T33" fmla="*/ 23 h 302"/>
                  <a:gd name="T34" fmla="*/ 179 w 522"/>
                  <a:gd name="T35" fmla="*/ 9 h 302"/>
                  <a:gd name="T36" fmla="*/ 198 w 522"/>
                  <a:gd name="T37" fmla="*/ 6 h 302"/>
                  <a:gd name="T38" fmla="*/ 257 w 522"/>
                  <a:gd name="T39" fmla="*/ 0 h 302"/>
                  <a:gd name="T40" fmla="*/ 282 w 522"/>
                  <a:gd name="T41" fmla="*/ 0 h 302"/>
                  <a:gd name="T42" fmla="*/ 374 w 522"/>
                  <a:gd name="T43" fmla="*/ 13 h 302"/>
                  <a:gd name="T44" fmla="*/ 447 w 522"/>
                  <a:gd name="T45" fmla="*/ 43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22" h="302">
                    <a:moveTo>
                      <a:pt x="447" y="43"/>
                    </a:moveTo>
                    <a:cubicBezTo>
                      <a:pt x="469" y="56"/>
                      <a:pt x="486" y="70"/>
                      <a:pt x="498" y="85"/>
                    </a:cubicBezTo>
                    <a:cubicBezTo>
                      <a:pt x="512" y="102"/>
                      <a:pt x="520" y="120"/>
                      <a:pt x="522" y="138"/>
                    </a:cubicBezTo>
                    <a:cubicBezTo>
                      <a:pt x="522" y="143"/>
                      <a:pt x="522" y="148"/>
                      <a:pt x="522" y="153"/>
                    </a:cubicBezTo>
                    <a:cubicBezTo>
                      <a:pt x="521" y="165"/>
                      <a:pt x="518" y="176"/>
                      <a:pt x="512" y="187"/>
                    </a:cubicBezTo>
                    <a:cubicBezTo>
                      <a:pt x="510" y="191"/>
                      <a:pt x="508" y="195"/>
                      <a:pt x="506" y="198"/>
                    </a:cubicBezTo>
                    <a:cubicBezTo>
                      <a:pt x="500" y="208"/>
                      <a:pt x="492" y="217"/>
                      <a:pt x="483" y="225"/>
                    </a:cubicBezTo>
                    <a:cubicBezTo>
                      <a:pt x="480" y="228"/>
                      <a:pt x="477" y="230"/>
                      <a:pt x="474" y="233"/>
                    </a:cubicBezTo>
                    <a:cubicBezTo>
                      <a:pt x="467" y="239"/>
                      <a:pt x="458" y="245"/>
                      <a:pt x="449" y="250"/>
                    </a:cubicBezTo>
                    <a:cubicBezTo>
                      <a:pt x="427" y="263"/>
                      <a:pt x="403" y="272"/>
                      <a:pt x="377" y="279"/>
                    </a:cubicBezTo>
                    <a:cubicBezTo>
                      <a:pt x="368" y="282"/>
                      <a:pt x="359" y="284"/>
                      <a:pt x="350" y="286"/>
                    </a:cubicBezTo>
                    <a:cubicBezTo>
                      <a:pt x="262" y="302"/>
                      <a:pt x="161" y="291"/>
                      <a:pt x="91" y="250"/>
                    </a:cubicBezTo>
                    <a:cubicBezTo>
                      <a:pt x="21" y="210"/>
                      <a:pt x="0" y="151"/>
                      <a:pt x="29" y="100"/>
                    </a:cubicBezTo>
                    <a:cubicBezTo>
                      <a:pt x="32" y="95"/>
                      <a:pt x="35" y="90"/>
                      <a:pt x="39" y="85"/>
                    </a:cubicBezTo>
                    <a:cubicBezTo>
                      <a:pt x="52" y="70"/>
                      <a:pt x="68" y="55"/>
                      <a:pt x="90" y="43"/>
                    </a:cubicBezTo>
                    <a:cubicBezTo>
                      <a:pt x="99" y="38"/>
                      <a:pt x="108" y="33"/>
                      <a:pt x="118" y="29"/>
                    </a:cubicBezTo>
                    <a:cubicBezTo>
                      <a:pt x="123" y="27"/>
                      <a:pt x="128" y="25"/>
                      <a:pt x="133" y="23"/>
                    </a:cubicBezTo>
                    <a:cubicBezTo>
                      <a:pt x="148" y="17"/>
                      <a:pt x="163" y="13"/>
                      <a:pt x="179" y="9"/>
                    </a:cubicBezTo>
                    <a:cubicBezTo>
                      <a:pt x="185" y="8"/>
                      <a:pt x="192" y="7"/>
                      <a:pt x="198" y="6"/>
                    </a:cubicBezTo>
                    <a:cubicBezTo>
                      <a:pt x="217" y="3"/>
                      <a:pt x="237" y="1"/>
                      <a:pt x="257" y="0"/>
                    </a:cubicBezTo>
                    <a:cubicBezTo>
                      <a:pt x="266" y="0"/>
                      <a:pt x="274" y="0"/>
                      <a:pt x="282" y="0"/>
                    </a:cubicBezTo>
                    <a:cubicBezTo>
                      <a:pt x="314" y="1"/>
                      <a:pt x="345" y="6"/>
                      <a:pt x="374" y="13"/>
                    </a:cubicBezTo>
                    <a:cubicBezTo>
                      <a:pt x="401" y="21"/>
                      <a:pt x="425" y="30"/>
                      <a:pt x="447" y="43"/>
                    </a:cubicBezTo>
                  </a:path>
                </a:pathLst>
              </a:custGeom>
              <a:solidFill>
                <a:srgbClr val="A136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93"/>
              <p:cNvSpPr>
                <a:spLocks/>
              </p:cNvSpPr>
              <p:nvPr/>
            </p:nvSpPr>
            <p:spPr bwMode="auto">
              <a:xfrm>
                <a:off x="2744" y="2951"/>
                <a:ext cx="221" cy="146"/>
              </a:xfrm>
              <a:custGeom>
                <a:avLst/>
                <a:gdLst>
                  <a:gd name="T0" fmla="*/ 462 w 462"/>
                  <a:gd name="T1" fmla="*/ 266 h 304"/>
                  <a:gd name="T2" fmla="*/ 462 w 462"/>
                  <a:gd name="T3" fmla="*/ 279 h 304"/>
                  <a:gd name="T4" fmla="*/ 433 w 462"/>
                  <a:gd name="T5" fmla="*/ 295 h 304"/>
                  <a:gd name="T6" fmla="*/ 29 w 462"/>
                  <a:gd name="T7" fmla="*/ 62 h 304"/>
                  <a:gd name="T8" fmla="*/ 0 w 462"/>
                  <a:gd name="T9" fmla="*/ 12 h 304"/>
                  <a:gd name="T10" fmla="*/ 0 w 462"/>
                  <a:gd name="T11" fmla="*/ 0 h 304"/>
                  <a:gd name="T12" fmla="*/ 29 w 462"/>
                  <a:gd name="T13" fmla="*/ 48 h 304"/>
                  <a:gd name="T14" fmla="*/ 433 w 462"/>
                  <a:gd name="T15" fmla="*/ 282 h 304"/>
                  <a:gd name="T16" fmla="*/ 462 w 462"/>
                  <a:gd name="T17" fmla="*/ 266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2" h="304">
                    <a:moveTo>
                      <a:pt x="462" y="266"/>
                    </a:moveTo>
                    <a:lnTo>
                      <a:pt x="462" y="279"/>
                    </a:lnTo>
                    <a:cubicBezTo>
                      <a:pt x="462" y="297"/>
                      <a:pt x="449" y="304"/>
                      <a:pt x="433" y="295"/>
                    </a:cubicBezTo>
                    <a:lnTo>
                      <a:pt x="29" y="62"/>
                    </a:lnTo>
                    <a:cubicBezTo>
                      <a:pt x="13" y="53"/>
                      <a:pt x="0" y="31"/>
                      <a:pt x="0" y="12"/>
                    </a:cubicBezTo>
                    <a:lnTo>
                      <a:pt x="0" y="0"/>
                    </a:lnTo>
                    <a:cubicBezTo>
                      <a:pt x="1" y="18"/>
                      <a:pt x="13" y="39"/>
                      <a:pt x="29" y="48"/>
                    </a:cubicBezTo>
                    <a:lnTo>
                      <a:pt x="433" y="282"/>
                    </a:lnTo>
                    <a:cubicBezTo>
                      <a:pt x="449" y="291"/>
                      <a:pt x="462" y="283"/>
                      <a:pt x="462" y="266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94"/>
              <p:cNvSpPr>
                <a:spLocks/>
              </p:cNvSpPr>
              <p:nvPr/>
            </p:nvSpPr>
            <p:spPr bwMode="auto">
              <a:xfrm>
                <a:off x="2744" y="2939"/>
                <a:ext cx="221" cy="151"/>
              </a:xfrm>
              <a:custGeom>
                <a:avLst/>
                <a:gdLst>
                  <a:gd name="T0" fmla="*/ 434 w 462"/>
                  <a:gd name="T1" fmla="*/ 242 h 316"/>
                  <a:gd name="T2" fmla="*/ 462 w 462"/>
                  <a:gd name="T3" fmla="*/ 292 h 316"/>
                  <a:gd name="T4" fmla="*/ 433 w 462"/>
                  <a:gd name="T5" fmla="*/ 307 h 316"/>
                  <a:gd name="T6" fmla="*/ 29 w 462"/>
                  <a:gd name="T7" fmla="*/ 73 h 316"/>
                  <a:gd name="T8" fmla="*/ 0 w 462"/>
                  <a:gd name="T9" fmla="*/ 25 h 316"/>
                  <a:gd name="T10" fmla="*/ 29 w 462"/>
                  <a:gd name="T11" fmla="*/ 9 h 316"/>
                  <a:gd name="T12" fmla="*/ 434 w 462"/>
                  <a:gd name="T13" fmla="*/ 242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2" h="316">
                    <a:moveTo>
                      <a:pt x="434" y="242"/>
                    </a:moveTo>
                    <a:cubicBezTo>
                      <a:pt x="449" y="251"/>
                      <a:pt x="462" y="273"/>
                      <a:pt x="462" y="292"/>
                    </a:cubicBezTo>
                    <a:cubicBezTo>
                      <a:pt x="462" y="308"/>
                      <a:pt x="449" y="316"/>
                      <a:pt x="433" y="307"/>
                    </a:cubicBezTo>
                    <a:lnTo>
                      <a:pt x="29" y="73"/>
                    </a:lnTo>
                    <a:cubicBezTo>
                      <a:pt x="13" y="64"/>
                      <a:pt x="1" y="43"/>
                      <a:pt x="0" y="25"/>
                    </a:cubicBezTo>
                    <a:cubicBezTo>
                      <a:pt x="1" y="7"/>
                      <a:pt x="13" y="0"/>
                      <a:pt x="29" y="9"/>
                    </a:cubicBezTo>
                    <a:lnTo>
                      <a:pt x="434" y="242"/>
                    </a:ln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95"/>
              <p:cNvSpPr>
                <a:spLocks/>
              </p:cNvSpPr>
              <p:nvPr/>
            </p:nvSpPr>
            <p:spPr bwMode="auto">
              <a:xfrm>
                <a:off x="2583" y="2840"/>
                <a:ext cx="41" cy="52"/>
              </a:xfrm>
              <a:custGeom>
                <a:avLst/>
                <a:gdLst>
                  <a:gd name="T0" fmla="*/ 42 w 84"/>
                  <a:gd name="T1" fmla="*/ 13 h 108"/>
                  <a:gd name="T2" fmla="*/ 84 w 84"/>
                  <a:gd name="T3" fmla="*/ 86 h 108"/>
                  <a:gd name="T4" fmla="*/ 83 w 84"/>
                  <a:gd name="T5" fmla="*/ 79 h 108"/>
                  <a:gd name="T6" fmla="*/ 42 w 84"/>
                  <a:gd name="T7" fmla="*/ 96 h 108"/>
                  <a:gd name="T8" fmla="*/ 1 w 84"/>
                  <a:gd name="T9" fmla="*/ 31 h 108"/>
                  <a:gd name="T10" fmla="*/ 0 w 84"/>
                  <a:gd name="T11" fmla="*/ 37 h 108"/>
                  <a:gd name="T12" fmla="*/ 42 w 84"/>
                  <a:gd name="T13" fmla="*/ 13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08">
                    <a:moveTo>
                      <a:pt x="42" y="13"/>
                    </a:moveTo>
                    <a:cubicBezTo>
                      <a:pt x="65" y="27"/>
                      <a:pt x="84" y="59"/>
                      <a:pt x="84" y="86"/>
                    </a:cubicBezTo>
                    <a:cubicBezTo>
                      <a:pt x="84" y="84"/>
                      <a:pt x="84" y="81"/>
                      <a:pt x="83" y="79"/>
                    </a:cubicBezTo>
                    <a:cubicBezTo>
                      <a:pt x="80" y="100"/>
                      <a:pt x="63" y="108"/>
                      <a:pt x="42" y="96"/>
                    </a:cubicBezTo>
                    <a:cubicBezTo>
                      <a:pt x="21" y="84"/>
                      <a:pt x="3" y="56"/>
                      <a:pt x="1" y="31"/>
                    </a:cubicBezTo>
                    <a:cubicBezTo>
                      <a:pt x="0" y="33"/>
                      <a:pt x="0" y="35"/>
                      <a:pt x="0" y="37"/>
                    </a:cubicBezTo>
                    <a:cubicBezTo>
                      <a:pt x="0" y="11"/>
                      <a:pt x="19" y="0"/>
                      <a:pt x="42" y="13"/>
                    </a:cubicBezTo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96"/>
              <p:cNvSpPr>
                <a:spLocks/>
              </p:cNvSpPr>
              <p:nvPr/>
            </p:nvSpPr>
            <p:spPr bwMode="auto">
              <a:xfrm>
                <a:off x="2583" y="2855"/>
                <a:ext cx="41" cy="44"/>
              </a:xfrm>
              <a:custGeom>
                <a:avLst/>
                <a:gdLst>
                  <a:gd name="T0" fmla="*/ 83 w 84"/>
                  <a:gd name="T1" fmla="*/ 48 h 92"/>
                  <a:gd name="T2" fmla="*/ 84 w 84"/>
                  <a:gd name="T3" fmla="*/ 55 h 92"/>
                  <a:gd name="T4" fmla="*/ 42 w 84"/>
                  <a:gd name="T5" fmla="*/ 79 h 92"/>
                  <a:gd name="T6" fmla="*/ 0 w 84"/>
                  <a:gd name="T7" fmla="*/ 6 h 92"/>
                  <a:gd name="T8" fmla="*/ 1 w 84"/>
                  <a:gd name="T9" fmla="*/ 0 h 92"/>
                  <a:gd name="T10" fmla="*/ 42 w 84"/>
                  <a:gd name="T11" fmla="*/ 65 h 92"/>
                  <a:gd name="T12" fmla="*/ 83 w 84"/>
                  <a:gd name="T13" fmla="*/ 4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92">
                    <a:moveTo>
                      <a:pt x="83" y="48"/>
                    </a:moveTo>
                    <a:cubicBezTo>
                      <a:pt x="84" y="50"/>
                      <a:pt x="84" y="53"/>
                      <a:pt x="84" y="55"/>
                    </a:cubicBezTo>
                    <a:cubicBezTo>
                      <a:pt x="84" y="82"/>
                      <a:pt x="65" y="92"/>
                      <a:pt x="42" y="79"/>
                    </a:cubicBezTo>
                    <a:cubicBezTo>
                      <a:pt x="19" y="65"/>
                      <a:pt x="0" y="33"/>
                      <a:pt x="0" y="6"/>
                    </a:cubicBezTo>
                    <a:cubicBezTo>
                      <a:pt x="0" y="4"/>
                      <a:pt x="0" y="2"/>
                      <a:pt x="1" y="0"/>
                    </a:cubicBezTo>
                    <a:cubicBezTo>
                      <a:pt x="3" y="25"/>
                      <a:pt x="21" y="53"/>
                      <a:pt x="42" y="65"/>
                    </a:cubicBezTo>
                    <a:cubicBezTo>
                      <a:pt x="63" y="77"/>
                      <a:pt x="80" y="69"/>
                      <a:pt x="83" y="48"/>
                    </a:cubicBezTo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97"/>
              <p:cNvSpPr>
                <a:spLocks/>
              </p:cNvSpPr>
              <p:nvPr/>
            </p:nvSpPr>
            <p:spPr bwMode="auto">
              <a:xfrm>
                <a:off x="3064" y="3130"/>
                <a:ext cx="19" cy="24"/>
              </a:xfrm>
              <a:custGeom>
                <a:avLst/>
                <a:gdLst>
                  <a:gd name="T0" fmla="*/ 20 w 39"/>
                  <a:gd name="T1" fmla="*/ 6 h 50"/>
                  <a:gd name="T2" fmla="*/ 39 w 39"/>
                  <a:gd name="T3" fmla="*/ 39 h 50"/>
                  <a:gd name="T4" fmla="*/ 39 w 39"/>
                  <a:gd name="T5" fmla="*/ 36 h 50"/>
                  <a:gd name="T6" fmla="*/ 19 w 39"/>
                  <a:gd name="T7" fmla="*/ 44 h 50"/>
                  <a:gd name="T8" fmla="*/ 0 w 39"/>
                  <a:gd name="T9" fmla="*/ 14 h 50"/>
                  <a:gd name="T10" fmla="*/ 0 w 39"/>
                  <a:gd name="T11" fmla="*/ 17 h 50"/>
                  <a:gd name="T12" fmla="*/ 20 w 39"/>
                  <a:gd name="T13" fmla="*/ 6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50">
                    <a:moveTo>
                      <a:pt x="20" y="6"/>
                    </a:moveTo>
                    <a:cubicBezTo>
                      <a:pt x="30" y="12"/>
                      <a:pt x="39" y="27"/>
                      <a:pt x="39" y="39"/>
                    </a:cubicBezTo>
                    <a:lnTo>
                      <a:pt x="39" y="36"/>
                    </a:lnTo>
                    <a:cubicBezTo>
                      <a:pt x="37" y="46"/>
                      <a:pt x="29" y="50"/>
                      <a:pt x="19" y="44"/>
                    </a:cubicBezTo>
                    <a:cubicBezTo>
                      <a:pt x="10" y="39"/>
                      <a:pt x="2" y="26"/>
                      <a:pt x="0" y="14"/>
                    </a:cubicBezTo>
                    <a:lnTo>
                      <a:pt x="0" y="17"/>
                    </a:lnTo>
                    <a:cubicBezTo>
                      <a:pt x="0" y="5"/>
                      <a:pt x="9" y="0"/>
                      <a:pt x="20" y="6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98"/>
              <p:cNvSpPr>
                <a:spLocks/>
              </p:cNvSpPr>
              <p:nvPr/>
            </p:nvSpPr>
            <p:spPr bwMode="auto">
              <a:xfrm>
                <a:off x="3064" y="3136"/>
                <a:ext cx="19" cy="21"/>
              </a:xfrm>
              <a:custGeom>
                <a:avLst/>
                <a:gdLst>
                  <a:gd name="T0" fmla="*/ 39 w 39"/>
                  <a:gd name="T1" fmla="*/ 22 h 43"/>
                  <a:gd name="T2" fmla="*/ 39 w 39"/>
                  <a:gd name="T3" fmla="*/ 25 h 43"/>
                  <a:gd name="T4" fmla="*/ 19 w 39"/>
                  <a:gd name="T5" fmla="*/ 37 h 43"/>
                  <a:gd name="T6" fmla="*/ 0 w 39"/>
                  <a:gd name="T7" fmla="*/ 3 h 43"/>
                  <a:gd name="T8" fmla="*/ 0 w 39"/>
                  <a:gd name="T9" fmla="*/ 0 h 43"/>
                  <a:gd name="T10" fmla="*/ 19 w 39"/>
                  <a:gd name="T11" fmla="*/ 30 h 43"/>
                  <a:gd name="T12" fmla="*/ 39 w 39"/>
                  <a:gd name="T13" fmla="*/ 2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43">
                    <a:moveTo>
                      <a:pt x="39" y="22"/>
                    </a:moveTo>
                    <a:lnTo>
                      <a:pt x="39" y="25"/>
                    </a:lnTo>
                    <a:cubicBezTo>
                      <a:pt x="39" y="38"/>
                      <a:pt x="30" y="43"/>
                      <a:pt x="19" y="37"/>
                    </a:cubicBezTo>
                    <a:cubicBezTo>
                      <a:pt x="9" y="30"/>
                      <a:pt x="0" y="15"/>
                      <a:pt x="0" y="3"/>
                    </a:cubicBezTo>
                    <a:lnTo>
                      <a:pt x="0" y="0"/>
                    </a:lnTo>
                    <a:cubicBezTo>
                      <a:pt x="2" y="12"/>
                      <a:pt x="10" y="25"/>
                      <a:pt x="19" y="30"/>
                    </a:cubicBezTo>
                    <a:cubicBezTo>
                      <a:pt x="29" y="36"/>
                      <a:pt x="37" y="32"/>
                      <a:pt x="39" y="22"/>
                    </a:cubicBezTo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99"/>
              <p:cNvSpPr>
                <a:spLocks/>
              </p:cNvSpPr>
              <p:nvPr/>
            </p:nvSpPr>
            <p:spPr bwMode="auto">
              <a:xfrm>
                <a:off x="3113" y="3158"/>
                <a:ext cx="18" cy="24"/>
              </a:xfrm>
              <a:custGeom>
                <a:avLst/>
                <a:gdLst>
                  <a:gd name="T0" fmla="*/ 20 w 39"/>
                  <a:gd name="T1" fmla="*/ 7 h 51"/>
                  <a:gd name="T2" fmla="*/ 39 w 39"/>
                  <a:gd name="T3" fmla="*/ 40 h 51"/>
                  <a:gd name="T4" fmla="*/ 39 w 39"/>
                  <a:gd name="T5" fmla="*/ 37 h 51"/>
                  <a:gd name="T6" fmla="*/ 19 w 39"/>
                  <a:gd name="T7" fmla="*/ 45 h 51"/>
                  <a:gd name="T8" fmla="*/ 0 w 39"/>
                  <a:gd name="T9" fmla="*/ 15 h 51"/>
                  <a:gd name="T10" fmla="*/ 0 w 39"/>
                  <a:gd name="T11" fmla="*/ 18 h 51"/>
                  <a:gd name="T12" fmla="*/ 20 w 39"/>
                  <a:gd name="T13" fmla="*/ 7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51">
                    <a:moveTo>
                      <a:pt x="20" y="7"/>
                    </a:moveTo>
                    <a:cubicBezTo>
                      <a:pt x="30" y="13"/>
                      <a:pt x="39" y="28"/>
                      <a:pt x="39" y="40"/>
                    </a:cubicBezTo>
                    <a:lnTo>
                      <a:pt x="39" y="37"/>
                    </a:lnTo>
                    <a:cubicBezTo>
                      <a:pt x="37" y="47"/>
                      <a:pt x="29" y="51"/>
                      <a:pt x="19" y="45"/>
                    </a:cubicBezTo>
                    <a:cubicBezTo>
                      <a:pt x="10" y="39"/>
                      <a:pt x="2" y="26"/>
                      <a:pt x="0" y="15"/>
                    </a:cubicBezTo>
                    <a:lnTo>
                      <a:pt x="0" y="18"/>
                    </a:lnTo>
                    <a:cubicBezTo>
                      <a:pt x="0" y="5"/>
                      <a:pt x="9" y="0"/>
                      <a:pt x="20" y="7"/>
                    </a:cubicBezTo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100"/>
              <p:cNvSpPr>
                <a:spLocks/>
              </p:cNvSpPr>
              <p:nvPr/>
            </p:nvSpPr>
            <p:spPr bwMode="auto">
              <a:xfrm>
                <a:off x="3113" y="3165"/>
                <a:ext cx="18" cy="20"/>
              </a:xfrm>
              <a:custGeom>
                <a:avLst/>
                <a:gdLst>
                  <a:gd name="T0" fmla="*/ 39 w 39"/>
                  <a:gd name="T1" fmla="*/ 22 h 43"/>
                  <a:gd name="T2" fmla="*/ 39 w 39"/>
                  <a:gd name="T3" fmla="*/ 25 h 43"/>
                  <a:gd name="T4" fmla="*/ 19 w 39"/>
                  <a:gd name="T5" fmla="*/ 37 h 43"/>
                  <a:gd name="T6" fmla="*/ 0 w 39"/>
                  <a:gd name="T7" fmla="*/ 3 h 43"/>
                  <a:gd name="T8" fmla="*/ 0 w 39"/>
                  <a:gd name="T9" fmla="*/ 0 h 43"/>
                  <a:gd name="T10" fmla="*/ 19 w 39"/>
                  <a:gd name="T11" fmla="*/ 30 h 43"/>
                  <a:gd name="T12" fmla="*/ 39 w 39"/>
                  <a:gd name="T13" fmla="*/ 2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43">
                    <a:moveTo>
                      <a:pt x="39" y="22"/>
                    </a:moveTo>
                    <a:lnTo>
                      <a:pt x="39" y="25"/>
                    </a:lnTo>
                    <a:cubicBezTo>
                      <a:pt x="39" y="38"/>
                      <a:pt x="30" y="43"/>
                      <a:pt x="19" y="37"/>
                    </a:cubicBezTo>
                    <a:cubicBezTo>
                      <a:pt x="9" y="30"/>
                      <a:pt x="0" y="15"/>
                      <a:pt x="0" y="3"/>
                    </a:cubicBezTo>
                    <a:lnTo>
                      <a:pt x="0" y="0"/>
                    </a:lnTo>
                    <a:cubicBezTo>
                      <a:pt x="2" y="11"/>
                      <a:pt x="10" y="24"/>
                      <a:pt x="19" y="30"/>
                    </a:cubicBezTo>
                    <a:cubicBezTo>
                      <a:pt x="29" y="36"/>
                      <a:pt x="37" y="32"/>
                      <a:pt x="39" y="22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101"/>
              <p:cNvSpPr>
                <a:spLocks/>
              </p:cNvSpPr>
              <p:nvPr/>
            </p:nvSpPr>
            <p:spPr bwMode="auto">
              <a:xfrm>
                <a:off x="3162" y="3186"/>
                <a:ext cx="18" cy="24"/>
              </a:xfrm>
              <a:custGeom>
                <a:avLst/>
                <a:gdLst>
                  <a:gd name="T0" fmla="*/ 19 w 39"/>
                  <a:gd name="T1" fmla="*/ 6 h 51"/>
                  <a:gd name="T2" fmla="*/ 39 w 39"/>
                  <a:gd name="T3" fmla="*/ 40 h 51"/>
                  <a:gd name="T4" fmla="*/ 39 w 39"/>
                  <a:gd name="T5" fmla="*/ 37 h 51"/>
                  <a:gd name="T6" fmla="*/ 19 w 39"/>
                  <a:gd name="T7" fmla="*/ 45 h 51"/>
                  <a:gd name="T8" fmla="*/ 0 w 39"/>
                  <a:gd name="T9" fmla="*/ 15 h 51"/>
                  <a:gd name="T10" fmla="*/ 0 w 39"/>
                  <a:gd name="T11" fmla="*/ 18 h 51"/>
                  <a:gd name="T12" fmla="*/ 19 w 39"/>
                  <a:gd name="T13" fmla="*/ 6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51">
                    <a:moveTo>
                      <a:pt x="19" y="6"/>
                    </a:moveTo>
                    <a:cubicBezTo>
                      <a:pt x="30" y="13"/>
                      <a:pt x="39" y="28"/>
                      <a:pt x="39" y="40"/>
                    </a:cubicBezTo>
                    <a:lnTo>
                      <a:pt x="39" y="37"/>
                    </a:lnTo>
                    <a:cubicBezTo>
                      <a:pt x="37" y="47"/>
                      <a:pt x="29" y="51"/>
                      <a:pt x="19" y="45"/>
                    </a:cubicBezTo>
                    <a:cubicBezTo>
                      <a:pt x="9" y="39"/>
                      <a:pt x="2" y="26"/>
                      <a:pt x="0" y="15"/>
                    </a:cubicBezTo>
                    <a:lnTo>
                      <a:pt x="0" y="18"/>
                    </a:lnTo>
                    <a:cubicBezTo>
                      <a:pt x="0" y="5"/>
                      <a:pt x="9" y="0"/>
                      <a:pt x="19" y="6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102"/>
              <p:cNvSpPr>
                <a:spLocks/>
              </p:cNvSpPr>
              <p:nvPr/>
            </p:nvSpPr>
            <p:spPr bwMode="auto">
              <a:xfrm>
                <a:off x="3162" y="3193"/>
                <a:ext cx="18" cy="21"/>
              </a:xfrm>
              <a:custGeom>
                <a:avLst/>
                <a:gdLst>
                  <a:gd name="T0" fmla="*/ 39 w 39"/>
                  <a:gd name="T1" fmla="*/ 22 h 43"/>
                  <a:gd name="T2" fmla="*/ 39 w 39"/>
                  <a:gd name="T3" fmla="*/ 25 h 43"/>
                  <a:gd name="T4" fmla="*/ 19 w 39"/>
                  <a:gd name="T5" fmla="*/ 36 h 43"/>
                  <a:gd name="T6" fmla="*/ 0 w 39"/>
                  <a:gd name="T7" fmla="*/ 3 h 43"/>
                  <a:gd name="T8" fmla="*/ 0 w 39"/>
                  <a:gd name="T9" fmla="*/ 0 h 43"/>
                  <a:gd name="T10" fmla="*/ 19 w 39"/>
                  <a:gd name="T11" fmla="*/ 30 h 43"/>
                  <a:gd name="T12" fmla="*/ 39 w 39"/>
                  <a:gd name="T13" fmla="*/ 2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43">
                    <a:moveTo>
                      <a:pt x="39" y="22"/>
                    </a:moveTo>
                    <a:lnTo>
                      <a:pt x="39" y="25"/>
                    </a:lnTo>
                    <a:cubicBezTo>
                      <a:pt x="39" y="38"/>
                      <a:pt x="30" y="43"/>
                      <a:pt x="19" y="36"/>
                    </a:cubicBezTo>
                    <a:cubicBezTo>
                      <a:pt x="9" y="30"/>
                      <a:pt x="0" y="15"/>
                      <a:pt x="0" y="3"/>
                    </a:cubicBezTo>
                    <a:lnTo>
                      <a:pt x="0" y="0"/>
                    </a:lnTo>
                    <a:cubicBezTo>
                      <a:pt x="2" y="11"/>
                      <a:pt x="9" y="24"/>
                      <a:pt x="19" y="30"/>
                    </a:cubicBezTo>
                    <a:cubicBezTo>
                      <a:pt x="29" y="36"/>
                      <a:pt x="37" y="32"/>
                      <a:pt x="39" y="22"/>
                    </a:cubicBezTo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103"/>
              <p:cNvSpPr>
                <a:spLocks/>
              </p:cNvSpPr>
              <p:nvPr/>
            </p:nvSpPr>
            <p:spPr bwMode="auto">
              <a:xfrm>
                <a:off x="4765" y="2323"/>
                <a:ext cx="325" cy="218"/>
              </a:xfrm>
              <a:custGeom>
                <a:avLst/>
                <a:gdLst>
                  <a:gd name="T0" fmla="*/ 54 w 676"/>
                  <a:gd name="T1" fmla="*/ 453 h 453"/>
                  <a:gd name="T2" fmla="*/ 39 w 676"/>
                  <a:gd name="T3" fmla="*/ 448 h 453"/>
                  <a:gd name="T4" fmla="*/ 42 w 676"/>
                  <a:gd name="T5" fmla="*/ 450 h 453"/>
                  <a:gd name="T6" fmla="*/ 14 w 676"/>
                  <a:gd name="T7" fmla="*/ 434 h 453"/>
                  <a:gd name="T8" fmla="*/ 1 w 676"/>
                  <a:gd name="T9" fmla="*/ 405 h 453"/>
                  <a:gd name="T10" fmla="*/ 14 w 676"/>
                  <a:gd name="T11" fmla="*/ 360 h 453"/>
                  <a:gd name="T12" fmla="*/ 45 w 676"/>
                  <a:gd name="T13" fmla="*/ 328 h 453"/>
                  <a:gd name="T14" fmla="*/ 84 w 676"/>
                  <a:gd name="T15" fmla="*/ 305 h 453"/>
                  <a:gd name="T16" fmla="*/ 602 w 676"/>
                  <a:gd name="T17" fmla="*/ 6 h 453"/>
                  <a:gd name="T18" fmla="*/ 617 w 676"/>
                  <a:gd name="T19" fmla="*/ 1 h 453"/>
                  <a:gd name="T20" fmla="*/ 622 w 676"/>
                  <a:gd name="T21" fmla="*/ 0 h 453"/>
                  <a:gd name="T22" fmla="*/ 634 w 676"/>
                  <a:gd name="T23" fmla="*/ 3 h 453"/>
                  <a:gd name="T24" fmla="*/ 641 w 676"/>
                  <a:gd name="T25" fmla="*/ 7 h 453"/>
                  <a:gd name="T26" fmla="*/ 662 w 676"/>
                  <a:gd name="T27" fmla="*/ 20 h 453"/>
                  <a:gd name="T28" fmla="*/ 668 w 676"/>
                  <a:gd name="T29" fmla="*/ 24 h 453"/>
                  <a:gd name="T30" fmla="*/ 676 w 676"/>
                  <a:gd name="T31" fmla="*/ 48 h 453"/>
                  <a:gd name="T32" fmla="*/ 675 w 676"/>
                  <a:gd name="T33" fmla="*/ 56 h 453"/>
                  <a:gd name="T34" fmla="*/ 675 w 676"/>
                  <a:gd name="T35" fmla="*/ 59 h 453"/>
                  <a:gd name="T36" fmla="*/ 631 w 676"/>
                  <a:gd name="T37" fmla="*/ 126 h 453"/>
                  <a:gd name="T38" fmla="*/ 74 w 676"/>
                  <a:gd name="T39" fmla="*/ 447 h 453"/>
                  <a:gd name="T40" fmla="*/ 54 w 676"/>
                  <a:gd name="T41" fmla="*/ 453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76" h="453">
                    <a:moveTo>
                      <a:pt x="54" y="453"/>
                    </a:moveTo>
                    <a:cubicBezTo>
                      <a:pt x="48" y="453"/>
                      <a:pt x="43" y="452"/>
                      <a:pt x="39" y="448"/>
                    </a:cubicBezTo>
                    <a:lnTo>
                      <a:pt x="42" y="450"/>
                    </a:lnTo>
                    <a:lnTo>
                      <a:pt x="14" y="434"/>
                    </a:lnTo>
                    <a:cubicBezTo>
                      <a:pt x="6" y="429"/>
                      <a:pt x="1" y="419"/>
                      <a:pt x="1" y="405"/>
                    </a:cubicBezTo>
                    <a:cubicBezTo>
                      <a:pt x="0" y="391"/>
                      <a:pt x="6" y="375"/>
                      <a:pt x="14" y="360"/>
                    </a:cubicBezTo>
                    <a:cubicBezTo>
                      <a:pt x="22" y="347"/>
                      <a:pt x="33" y="335"/>
                      <a:pt x="45" y="328"/>
                    </a:cubicBezTo>
                    <a:lnTo>
                      <a:pt x="84" y="305"/>
                    </a:lnTo>
                    <a:lnTo>
                      <a:pt x="602" y="6"/>
                    </a:lnTo>
                    <a:cubicBezTo>
                      <a:pt x="607" y="3"/>
                      <a:pt x="612" y="2"/>
                      <a:pt x="617" y="1"/>
                    </a:cubicBezTo>
                    <a:cubicBezTo>
                      <a:pt x="619" y="0"/>
                      <a:pt x="620" y="0"/>
                      <a:pt x="622" y="0"/>
                    </a:cubicBezTo>
                    <a:cubicBezTo>
                      <a:pt x="627" y="0"/>
                      <a:pt x="631" y="1"/>
                      <a:pt x="634" y="3"/>
                    </a:cubicBezTo>
                    <a:lnTo>
                      <a:pt x="641" y="7"/>
                    </a:lnTo>
                    <a:lnTo>
                      <a:pt x="662" y="20"/>
                    </a:lnTo>
                    <a:cubicBezTo>
                      <a:pt x="664" y="21"/>
                      <a:pt x="666" y="22"/>
                      <a:pt x="668" y="24"/>
                    </a:cubicBezTo>
                    <a:cubicBezTo>
                      <a:pt x="673" y="29"/>
                      <a:pt x="676" y="38"/>
                      <a:pt x="676" y="48"/>
                    </a:cubicBezTo>
                    <a:cubicBezTo>
                      <a:pt x="676" y="51"/>
                      <a:pt x="675" y="53"/>
                      <a:pt x="675" y="56"/>
                    </a:cubicBezTo>
                    <a:lnTo>
                      <a:pt x="675" y="59"/>
                    </a:lnTo>
                    <a:cubicBezTo>
                      <a:pt x="671" y="85"/>
                      <a:pt x="652" y="113"/>
                      <a:pt x="631" y="126"/>
                    </a:cubicBezTo>
                    <a:lnTo>
                      <a:pt x="74" y="447"/>
                    </a:lnTo>
                    <a:cubicBezTo>
                      <a:pt x="67" y="452"/>
                      <a:pt x="60" y="453"/>
                      <a:pt x="54" y="453"/>
                    </a:cubicBezTo>
                  </a:path>
                </a:pathLst>
              </a:custGeom>
              <a:solidFill>
                <a:srgbClr val="7777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104"/>
              <p:cNvSpPr>
                <a:spLocks/>
              </p:cNvSpPr>
              <p:nvPr/>
            </p:nvSpPr>
            <p:spPr bwMode="auto">
              <a:xfrm>
                <a:off x="5061" y="2305"/>
                <a:ext cx="29" cy="11"/>
              </a:xfrm>
              <a:custGeom>
                <a:avLst/>
                <a:gdLst>
                  <a:gd name="T0" fmla="*/ 32 w 60"/>
                  <a:gd name="T1" fmla="*/ 4 h 24"/>
                  <a:gd name="T2" fmla="*/ 60 w 60"/>
                  <a:gd name="T3" fmla="*/ 21 h 24"/>
                  <a:gd name="T4" fmla="*/ 28 w 60"/>
                  <a:gd name="T5" fmla="*/ 24 h 24"/>
                  <a:gd name="T6" fmla="*/ 0 w 60"/>
                  <a:gd name="T7" fmla="*/ 8 h 24"/>
                  <a:gd name="T8" fmla="*/ 32 w 60"/>
                  <a:gd name="T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24">
                    <a:moveTo>
                      <a:pt x="32" y="4"/>
                    </a:moveTo>
                    <a:lnTo>
                      <a:pt x="60" y="21"/>
                    </a:lnTo>
                    <a:cubicBezTo>
                      <a:pt x="52" y="16"/>
                      <a:pt x="40" y="17"/>
                      <a:pt x="28" y="24"/>
                    </a:cubicBezTo>
                    <a:lnTo>
                      <a:pt x="0" y="8"/>
                    </a:lnTo>
                    <a:cubicBezTo>
                      <a:pt x="12" y="0"/>
                      <a:pt x="23" y="0"/>
                      <a:pt x="32" y="4"/>
                    </a:cubicBezTo>
                    <a:close/>
                  </a:path>
                </a:pathLst>
              </a:custGeom>
              <a:solidFill>
                <a:srgbClr val="6D6C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105"/>
              <p:cNvSpPr>
                <a:spLocks/>
              </p:cNvSpPr>
              <p:nvPr/>
            </p:nvSpPr>
            <p:spPr bwMode="auto">
              <a:xfrm>
                <a:off x="4793" y="2308"/>
                <a:ext cx="281" cy="163"/>
              </a:xfrm>
              <a:custGeom>
                <a:avLst/>
                <a:gdLst>
                  <a:gd name="T0" fmla="*/ 14 w 281"/>
                  <a:gd name="T1" fmla="*/ 163 h 163"/>
                  <a:gd name="T2" fmla="*/ 0 w 281"/>
                  <a:gd name="T3" fmla="*/ 155 h 163"/>
                  <a:gd name="T4" fmla="*/ 268 w 281"/>
                  <a:gd name="T5" fmla="*/ 0 h 163"/>
                  <a:gd name="T6" fmla="*/ 281 w 281"/>
                  <a:gd name="T7" fmla="*/ 8 h 163"/>
                  <a:gd name="T8" fmla="*/ 14 w 281"/>
                  <a:gd name="T9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1" h="163">
                    <a:moveTo>
                      <a:pt x="14" y="163"/>
                    </a:moveTo>
                    <a:lnTo>
                      <a:pt x="0" y="155"/>
                    </a:lnTo>
                    <a:lnTo>
                      <a:pt x="268" y="0"/>
                    </a:lnTo>
                    <a:lnTo>
                      <a:pt x="281" y="8"/>
                    </a:lnTo>
                    <a:lnTo>
                      <a:pt x="14" y="163"/>
                    </a:lnTo>
                    <a:close/>
                  </a:path>
                </a:pathLst>
              </a:custGeom>
              <a:solidFill>
                <a:srgbClr val="5E5D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06"/>
              <p:cNvSpPr>
                <a:spLocks/>
              </p:cNvSpPr>
              <p:nvPr/>
            </p:nvSpPr>
            <p:spPr bwMode="auto">
              <a:xfrm>
                <a:off x="4772" y="2463"/>
                <a:ext cx="35" cy="59"/>
              </a:xfrm>
              <a:custGeom>
                <a:avLst/>
                <a:gdLst>
                  <a:gd name="T0" fmla="*/ 41 w 73"/>
                  <a:gd name="T1" fmla="*/ 123 h 123"/>
                  <a:gd name="T2" fmla="*/ 13 w 73"/>
                  <a:gd name="T3" fmla="*/ 106 h 123"/>
                  <a:gd name="T4" fmla="*/ 0 w 73"/>
                  <a:gd name="T5" fmla="*/ 78 h 123"/>
                  <a:gd name="T6" fmla="*/ 45 w 73"/>
                  <a:gd name="T7" fmla="*/ 0 h 123"/>
                  <a:gd name="T8" fmla="*/ 73 w 73"/>
                  <a:gd name="T9" fmla="*/ 17 h 123"/>
                  <a:gd name="T10" fmla="*/ 28 w 73"/>
                  <a:gd name="T11" fmla="*/ 94 h 123"/>
                  <a:gd name="T12" fmla="*/ 41 w 73"/>
                  <a:gd name="T13" fmla="*/ 12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123">
                    <a:moveTo>
                      <a:pt x="41" y="123"/>
                    </a:moveTo>
                    <a:lnTo>
                      <a:pt x="13" y="106"/>
                    </a:lnTo>
                    <a:cubicBezTo>
                      <a:pt x="5" y="102"/>
                      <a:pt x="0" y="92"/>
                      <a:pt x="0" y="78"/>
                    </a:cubicBezTo>
                    <a:cubicBezTo>
                      <a:pt x="0" y="49"/>
                      <a:pt x="20" y="14"/>
                      <a:pt x="45" y="0"/>
                    </a:cubicBezTo>
                    <a:lnTo>
                      <a:pt x="73" y="17"/>
                    </a:lnTo>
                    <a:cubicBezTo>
                      <a:pt x="48" y="31"/>
                      <a:pt x="28" y="66"/>
                      <a:pt x="28" y="94"/>
                    </a:cubicBezTo>
                    <a:cubicBezTo>
                      <a:pt x="28" y="108"/>
                      <a:pt x="33" y="118"/>
                      <a:pt x="41" y="123"/>
                    </a:cubicBezTo>
                  </a:path>
                </a:pathLst>
              </a:cu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107"/>
              <p:cNvSpPr>
                <a:spLocks/>
              </p:cNvSpPr>
              <p:nvPr/>
            </p:nvSpPr>
            <p:spPr bwMode="auto">
              <a:xfrm>
                <a:off x="4785" y="2309"/>
                <a:ext cx="311" cy="218"/>
              </a:xfrm>
              <a:custGeom>
                <a:avLst/>
                <a:gdLst>
                  <a:gd name="T0" fmla="*/ 602 w 647"/>
                  <a:gd name="T1" fmla="*/ 14 h 453"/>
                  <a:gd name="T2" fmla="*/ 647 w 647"/>
                  <a:gd name="T3" fmla="*/ 40 h 453"/>
                  <a:gd name="T4" fmla="*/ 602 w 647"/>
                  <a:gd name="T5" fmla="*/ 117 h 453"/>
                  <a:gd name="T6" fmla="*/ 45 w 647"/>
                  <a:gd name="T7" fmla="*/ 439 h 453"/>
                  <a:gd name="T8" fmla="*/ 0 w 647"/>
                  <a:gd name="T9" fmla="*/ 413 h 453"/>
                  <a:gd name="T10" fmla="*/ 45 w 647"/>
                  <a:gd name="T11" fmla="*/ 336 h 453"/>
                  <a:gd name="T12" fmla="*/ 602 w 647"/>
                  <a:gd name="T13" fmla="*/ 14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7" h="453">
                    <a:moveTo>
                      <a:pt x="602" y="14"/>
                    </a:moveTo>
                    <a:cubicBezTo>
                      <a:pt x="626" y="0"/>
                      <a:pt x="647" y="11"/>
                      <a:pt x="647" y="40"/>
                    </a:cubicBezTo>
                    <a:cubicBezTo>
                      <a:pt x="647" y="68"/>
                      <a:pt x="627" y="103"/>
                      <a:pt x="602" y="117"/>
                    </a:cubicBezTo>
                    <a:lnTo>
                      <a:pt x="45" y="439"/>
                    </a:lnTo>
                    <a:cubicBezTo>
                      <a:pt x="20" y="453"/>
                      <a:pt x="0" y="441"/>
                      <a:pt x="0" y="413"/>
                    </a:cubicBezTo>
                    <a:cubicBezTo>
                      <a:pt x="0" y="385"/>
                      <a:pt x="20" y="350"/>
                      <a:pt x="45" y="336"/>
                    </a:cubicBezTo>
                    <a:lnTo>
                      <a:pt x="602" y="14"/>
                    </a:lnTo>
                    <a:close/>
                  </a:path>
                </a:pathLst>
              </a:custGeom>
              <a:solidFill>
                <a:srgbClr val="9999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108"/>
              <p:cNvSpPr>
                <a:spLocks/>
              </p:cNvSpPr>
              <p:nvPr/>
            </p:nvSpPr>
            <p:spPr bwMode="auto">
              <a:xfrm>
                <a:off x="4785" y="2309"/>
                <a:ext cx="311" cy="203"/>
              </a:xfrm>
              <a:custGeom>
                <a:avLst/>
                <a:gdLst>
                  <a:gd name="T0" fmla="*/ 45 w 647"/>
                  <a:gd name="T1" fmla="*/ 356 h 422"/>
                  <a:gd name="T2" fmla="*/ 602 w 647"/>
                  <a:gd name="T3" fmla="*/ 34 h 422"/>
                  <a:gd name="T4" fmla="*/ 646 w 647"/>
                  <a:gd name="T5" fmla="*/ 50 h 422"/>
                  <a:gd name="T6" fmla="*/ 647 w 647"/>
                  <a:gd name="T7" fmla="*/ 40 h 422"/>
                  <a:gd name="T8" fmla="*/ 602 w 647"/>
                  <a:gd name="T9" fmla="*/ 14 h 422"/>
                  <a:gd name="T10" fmla="*/ 45 w 647"/>
                  <a:gd name="T11" fmla="*/ 336 h 422"/>
                  <a:gd name="T12" fmla="*/ 0 w 647"/>
                  <a:gd name="T13" fmla="*/ 413 h 422"/>
                  <a:gd name="T14" fmla="*/ 1 w 647"/>
                  <a:gd name="T15" fmla="*/ 422 h 422"/>
                  <a:gd name="T16" fmla="*/ 45 w 647"/>
                  <a:gd name="T17" fmla="*/ 356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47" h="422">
                    <a:moveTo>
                      <a:pt x="45" y="356"/>
                    </a:moveTo>
                    <a:lnTo>
                      <a:pt x="602" y="34"/>
                    </a:lnTo>
                    <a:cubicBezTo>
                      <a:pt x="624" y="21"/>
                      <a:pt x="642" y="29"/>
                      <a:pt x="646" y="50"/>
                    </a:cubicBezTo>
                    <a:cubicBezTo>
                      <a:pt x="647" y="47"/>
                      <a:pt x="647" y="43"/>
                      <a:pt x="647" y="40"/>
                    </a:cubicBezTo>
                    <a:cubicBezTo>
                      <a:pt x="647" y="11"/>
                      <a:pt x="626" y="0"/>
                      <a:pt x="602" y="14"/>
                    </a:cubicBezTo>
                    <a:lnTo>
                      <a:pt x="45" y="336"/>
                    </a:lnTo>
                    <a:cubicBezTo>
                      <a:pt x="20" y="350"/>
                      <a:pt x="0" y="385"/>
                      <a:pt x="0" y="413"/>
                    </a:cubicBezTo>
                    <a:cubicBezTo>
                      <a:pt x="0" y="416"/>
                      <a:pt x="0" y="419"/>
                      <a:pt x="1" y="422"/>
                    </a:cubicBezTo>
                    <a:cubicBezTo>
                      <a:pt x="5" y="396"/>
                      <a:pt x="23" y="368"/>
                      <a:pt x="45" y="356"/>
                    </a:cubicBez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09"/>
              <p:cNvSpPr>
                <a:spLocks noEditPoints="1"/>
              </p:cNvSpPr>
              <p:nvPr/>
            </p:nvSpPr>
            <p:spPr bwMode="auto">
              <a:xfrm>
                <a:off x="3356" y="1971"/>
                <a:ext cx="800" cy="461"/>
              </a:xfrm>
              <a:custGeom>
                <a:avLst/>
                <a:gdLst>
                  <a:gd name="T0" fmla="*/ 1407 w 1667"/>
                  <a:gd name="T1" fmla="*/ 918 h 960"/>
                  <a:gd name="T2" fmla="*/ 1479 w 1667"/>
                  <a:gd name="T3" fmla="*/ 960 h 960"/>
                  <a:gd name="T4" fmla="*/ 1560 w 1667"/>
                  <a:gd name="T5" fmla="*/ 913 h 960"/>
                  <a:gd name="T6" fmla="*/ 1560 w 1667"/>
                  <a:gd name="T7" fmla="*/ 913 h 960"/>
                  <a:gd name="T8" fmla="*/ 1573 w 1667"/>
                  <a:gd name="T9" fmla="*/ 906 h 960"/>
                  <a:gd name="T10" fmla="*/ 1573 w 1667"/>
                  <a:gd name="T11" fmla="*/ 906 h 960"/>
                  <a:gd name="T12" fmla="*/ 1667 w 1667"/>
                  <a:gd name="T13" fmla="*/ 851 h 960"/>
                  <a:gd name="T14" fmla="*/ 1667 w 1667"/>
                  <a:gd name="T15" fmla="*/ 851 h 960"/>
                  <a:gd name="T16" fmla="*/ 1216 w 1667"/>
                  <a:gd name="T17" fmla="*/ 768 h 960"/>
                  <a:gd name="T18" fmla="*/ 584 w 1667"/>
                  <a:gd name="T19" fmla="*/ 396 h 960"/>
                  <a:gd name="T20" fmla="*/ 597 w 1667"/>
                  <a:gd name="T21" fmla="*/ 396 h 960"/>
                  <a:gd name="T22" fmla="*/ 597 w 1667"/>
                  <a:gd name="T23" fmla="*/ 396 h 960"/>
                  <a:gd name="T24" fmla="*/ 584 w 1667"/>
                  <a:gd name="T25" fmla="*/ 396 h 960"/>
                  <a:gd name="T26" fmla="*/ 1216 w 1667"/>
                  <a:gd name="T27" fmla="*/ 768 h 960"/>
                  <a:gd name="T28" fmla="*/ 537 w 1667"/>
                  <a:gd name="T29" fmla="*/ 431 h 960"/>
                  <a:gd name="T30" fmla="*/ 537 w 1667"/>
                  <a:gd name="T31" fmla="*/ 431 h 960"/>
                  <a:gd name="T32" fmla="*/ 1170 w 1667"/>
                  <a:gd name="T33" fmla="*/ 633 h 960"/>
                  <a:gd name="T34" fmla="*/ 678 w 1667"/>
                  <a:gd name="T35" fmla="*/ 342 h 960"/>
                  <a:gd name="T36" fmla="*/ 690 w 1667"/>
                  <a:gd name="T37" fmla="*/ 342 h 960"/>
                  <a:gd name="T38" fmla="*/ 690 w 1667"/>
                  <a:gd name="T39" fmla="*/ 342 h 960"/>
                  <a:gd name="T40" fmla="*/ 678 w 1667"/>
                  <a:gd name="T41" fmla="*/ 342 h 960"/>
                  <a:gd name="T42" fmla="*/ 1170 w 1667"/>
                  <a:gd name="T43" fmla="*/ 633 h 960"/>
                  <a:gd name="T44" fmla="*/ 629 w 1667"/>
                  <a:gd name="T45" fmla="*/ 373 h 960"/>
                  <a:gd name="T46" fmla="*/ 628 w 1667"/>
                  <a:gd name="T47" fmla="*/ 373 h 960"/>
                  <a:gd name="T48" fmla="*/ 628 w 1667"/>
                  <a:gd name="T49" fmla="*/ 373 h 960"/>
                  <a:gd name="T50" fmla="*/ 423 w 1667"/>
                  <a:gd name="T51" fmla="*/ 366 h 960"/>
                  <a:gd name="T52" fmla="*/ 423 w 1667"/>
                  <a:gd name="T53" fmla="*/ 366 h 960"/>
                  <a:gd name="T54" fmla="*/ 572 w 1667"/>
                  <a:gd name="T55" fmla="*/ 335 h 960"/>
                  <a:gd name="T56" fmla="*/ 572 w 1667"/>
                  <a:gd name="T57" fmla="*/ 335 h 960"/>
                  <a:gd name="T58" fmla="*/ 61 w 1667"/>
                  <a:gd name="T59" fmla="*/ 157 h 960"/>
                  <a:gd name="T60" fmla="*/ 208 w 1667"/>
                  <a:gd name="T61" fmla="*/ 0 h 960"/>
                  <a:gd name="T62" fmla="*/ 61 w 1667"/>
                  <a:gd name="T63" fmla="*/ 157 h 960"/>
                  <a:gd name="T64" fmla="*/ 444 w 1667"/>
                  <a:gd name="T65" fmla="*/ 151 h 960"/>
                  <a:gd name="T66" fmla="*/ 471 w 1667"/>
                  <a:gd name="T67" fmla="*/ 152 h 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667" h="960">
                    <a:moveTo>
                      <a:pt x="1479" y="960"/>
                    </a:moveTo>
                    <a:lnTo>
                      <a:pt x="1407" y="918"/>
                    </a:lnTo>
                    <a:lnTo>
                      <a:pt x="1479" y="960"/>
                    </a:lnTo>
                    <a:lnTo>
                      <a:pt x="1479" y="960"/>
                    </a:lnTo>
                    <a:close/>
                    <a:moveTo>
                      <a:pt x="1560" y="913"/>
                    </a:moveTo>
                    <a:lnTo>
                      <a:pt x="1560" y="913"/>
                    </a:lnTo>
                    <a:lnTo>
                      <a:pt x="1049" y="618"/>
                    </a:lnTo>
                    <a:lnTo>
                      <a:pt x="1560" y="913"/>
                    </a:lnTo>
                    <a:lnTo>
                      <a:pt x="1560" y="913"/>
                    </a:lnTo>
                    <a:moveTo>
                      <a:pt x="1573" y="906"/>
                    </a:moveTo>
                    <a:lnTo>
                      <a:pt x="1399" y="805"/>
                    </a:lnTo>
                    <a:lnTo>
                      <a:pt x="1573" y="906"/>
                    </a:lnTo>
                    <a:lnTo>
                      <a:pt x="1573" y="906"/>
                    </a:lnTo>
                    <a:moveTo>
                      <a:pt x="1667" y="851"/>
                    </a:moveTo>
                    <a:lnTo>
                      <a:pt x="1354" y="670"/>
                    </a:lnTo>
                    <a:lnTo>
                      <a:pt x="1667" y="851"/>
                    </a:lnTo>
                    <a:lnTo>
                      <a:pt x="1667" y="851"/>
                    </a:lnTo>
                    <a:close/>
                    <a:moveTo>
                      <a:pt x="1216" y="768"/>
                    </a:moveTo>
                    <a:lnTo>
                      <a:pt x="584" y="404"/>
                    </a:lnTo>
                    <a:cubicBezTo>
                      <a:pt x="581" y="402"/>
                      <a:pt x="581" y="398"/>
                      <a:pt x="584" y="396"/>
                    </a:cubicBezTo>
                    <a:cubicBezTo>
                      <a:pt x="586" y="395"/>
                      <a:pt x="588" y="395"/>
                      <a:pt x="590" y="395"/>
                    </a:cubicBezTo>
                    <a:cubicBezTo>
                      <a:pt x="593" y="395"/>
                      <a:pt x="595" y="395"/>
                      <a:pt x="597" y="396"/>
                    </a:cubicBezTo>
                    <a:lnTo>
                      <a:pt x="913" y="579"/>
                    </a:lnTo>
                    <a:lnTo>
                      <a:pt x="597" y="396"/>
                    </a:lnTo>
                    <a:cubicBezTo>
                      <a:pt x="595" y="395"/>
                      <a:pt x="593" y="395"/>
                      <a:pt x="590" y="395"/>
                    </a:cubicBezTo>
                    <a:cubicBezTo>
                      <a:pt x="588" y="395"/>
                      <a:pt x="586" y="395"/>
                      <a:pt x="584" y="396"/>
                    </a:cubicBezTo>
                    <a:cubicBezTo>
                      <a:pt x="581" y="398"/>
                      <a:pt x="581" y="402"/>
                      <a:pt x="584" y="404"/>
                    </a:cubicBezTo>
                    <a:lnTo>
                      <a:pt x="1216" y="768"/>
                    </a:lnTo>
                    <a:moveTo>
                      <a:pt x="949" y="668"/>
                    </a:moveTo>
                    <a:lnTo>
                      <a:pt x="537" y="431"/>
                    </a:lnTo>
                    <a:cubicBezTo>
                      <a:pt x="536" y="430"/>
                      <a:pt x="536" y="430"/>
                      <a:pt x="535" y="429"/>
                    </a:cubicBezTo>
                    <a:cubicBezTo>
                      <a:pt x="536" y="430"/>
                      <a:pt x="536" y="430"/>
                      <a:pt x="537" y="431"/>
                    </a:cubicBezTo>
                    <a:lnTo>
                      <a:pt x="949" y="668"/>
                    </a:lnTo>
                    <a:moveTo>
                      <a:pt x="1170" y="633"/>
                    </a:moveTo>
                    <a:lnTo>
                      <a:pt x="678" y="349"/>
                    </a:lnTo>
                    <a:cubicBezTo>
                      <a:pt x="674" y="347"/>
                      <a:pt x="674" y="344"/>
                      <a:pt x="678" y="342"/>
                    </a:cubicBezTo>
                    <a:cubicBezTo>
                      <a:pt x="680" y="341"/>
                      <a:pt x="682" y="340"/>
                      <a:pt x="684" y="340"/>
                    </a:cubicBezTo>
                    <a:cubicBezTo>
                      <a:pt x="686" y="340"/>
                      <a:pt x="689" y="341"/>
                      <a:pt x="690" y="342"/>
                    </a:cubicBezTo>
                    <a:lnTo>
                      <a:pt x="1062" y="556"/>
                    </a:lnTo>
                    <a:lnTo>
                      <a:pt x="690" y="342"/>
                    </a:lnTo>
                    <a:cubicBezTo>
                      <a:pt x="689" y="341"/>
                      <a:pt x="686" y="340"/>
                      <a:pt x="684" y="340"/>
                    </a:cubicBezTo>
                    <a:cubicBezTo>
                      <a:pt x="682" y="340"/>
                      <a:pt x="680" y="341"/>
                      <a:pt x="678" y="342"/>
                    </a:cubicBezTo>
                    <a:cubicBezTo>
                      <a:pt x="674" y="344"/>
                      <a:pt x="674" y="347"/>
                      <a:pt x="678" y="349"/>
                    </a:cubicBezTo>
                    <a:lnTo>
                      <a:pt x="1170" y="633"/>
                    </a:lnTo>
                    <a:moveTo>
                      <a:pt x="629" y="373"/>
                    </a:moveTo>
                    <a:lnTo>
                      <a:pt x="629" y="373"/>
                    </a:lnTo>
                    <a:lnTo>
                      <a:pt x="629" y="373"/>
                    </a:lnTo>
                    <a:close/>
                    <a:moveTo>
                      <a:pt x="628" y="373"/>
                    </a:moveTo>
                    <a:cubicBezTo>
                      <a:pt x="628" y="373"/>
                      <a:pt x="628" y="373"/>
                      <a:pt x="628" y="373"/>
                    </a:cubicBezTo>
                    <a:cubicBezTo>
                      <a:pt x="628" y="373"/>
                      <a:pt x="628" y="373"/>
                      <a:pt x="628" y="373"/>
                    </a:cubicBezTo>
                    <a:close/>
                    <a:moveTo>
                      <a:pt x="440" y="366"/>
                    </a:moveTo>
                    <a:cubicBezTo>
                      <a:pt x="435" y="366"/>
                      <a:pt x="429" y="366"/>
                      <a:pt x="423" y="366"/>
                    </a:cubicBezTo>
                    <a:lnTo>
                      <a:pt x="423" y="366"/>
                    </a:lnTo>
                    <a:lnTo>
                      <a:pt x="423" y="366"/>
                    </a:lnTo>
                    <a:cubicBezTo>
                      <a:pt x="429" y="366"/>
                      <a:pt x="434" y="366"/>
                      <a:pt x="440" y="366"/>
                    </a:cubicBezTo>
                    <a:cubicBezTo>
                      <a:pt x="488" y="366"/>
                      <a:pt x="535" y="356"/>
                      <a:pt x="572" y="335"/>
                    </a:cubicBezTo>
                    <a:cubicBezTo>
                      <a:pt x="604" y="316"/>
                      <a:pt x="622" y="292"/>
                      <a:pt x="625" y="267"/>
                    </a:cubicBezTo>
                    <a:cubicBezTo>
                      <a:pt x="622" y="292"/>
                      <a:pt x="604" y="316"/>
                      <a:pt x="572" y="335"/>
                    </a:cubicBezTo>
                    <a:cubicBezTo>
                      <a:pt x="535" y="356"/>
                      <a:pt x="488" y="366"/>
                      <a:pt x="440" y="366"/>
                    </a:cubicBezTo>
                    <a:moveTo>
                      <a:pt x="61" y="157"/>
                    </a:moveTo>
                    <a:lnTo>
                      <a:pt x="0" y="121"/>
                    </a:lnTo>
                    <a:lnTo>
                      <a:pt x="208" y="0"/>
                    </a:lnTo>
                    <a:lnTo>
                      <a:pt x="269" y="36"/>
                    </a:lnTo>
                    <a:lnTo>
                      <a:pt x="61" y="157"/>
                    </a:lnTo>
                    <a:moveTo>
                      <a:pt x="471" y="152"/>
                    </a:moveTo>
                    <a:cubicBezTo>
                      <a:pt x="462" y="151"/>
                      <a:pt x="453" y="151"/>
                      <a:pt x="444" y="151"/>
                    </a:cubicBezTo>
                    <a:cubicBezTo>
                      <a:pt x="453" y="151"/>
                      <a:pt x="462" y="151"/>
                      <a:pt x="471" y="152"/>
                    </a:cubicBezTo>
                    <a:lnTo>
                      <a:pt x="471" y="152"/>
                    </a:lnTo>
                    <a:lnTo>
                      <a:pt x="471" y="152"/>
                    </a:lnTo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110"/>
              <p:cNvSpPr>
                <a:spLocks/>
              </p:cNvSpPr>
              <p:nvPr/>
            </p:nvSpPr>
            <p:spPr bwMode="auto">
              <a:xfrm>
                <a:off x="3476" y="2043"/>
                <a:ext cx="181" cy="104"/>
              </a:xfrm>
              <a:custGeom>
                <a:avLst/>
                <a:gdLst>
                  <a:gd name="T0" fmla="*/ 191 w 377"/>
                  <a:gd name="T1" fmla="*/ 216 h 216"/>
                  <a:gd name="T2" fmla="*/ 174 w 377"/>
                  <a:gd name="T3" fmla="*/ 216 h 216"/>
                  <a:gd name="T4" fmla="*/ 5 w 377"/>
                  <a:gd name="T5" fmla="*/ 118 h 216"/>
                  <a:gd name="T6" fmla="*/ 5 w 377"/>
                  <a:gd name="T7" fmla="*/ 118 h 216"/>
                  <a:gd name="T8" fmla="*/ 58 w 377"/>
                  <a:gd name="T9" fmla="*/ 32 h 216"/>
                  <a:gd name="T10" fmla="*/ 190 w 377"/>
                  <a:gd name="T11" fmla="*/ 0 h 216"/>
                  <a:gd name="T12" fmla="*/ 195 w 377"/>
                  <a:gd name="T13" fmla="*/ 1 h 216"/>
                  <a:gd name="T14" fmla="*/ 222 w 377"/>
                  <a:gd name="T15" fmla="*/ 2 h 216"/>
                  <a:gd name="T16" fmla="*/ 374 w 377"/>
                  <a:gd name="T17" fmla="*/ 90 h 216"/>
                  <a:gd name="T18" fmla="*/ 376 w 377"/>
                  <a:gd name="T19" fmla="*/ 117 h 216"/>
                  <a:gd name="T20" fmla="*/ 323 w 377"/>
                  <a:gd name="T21" fmla="*/ 185 h 216"/>
                  <a:gd name="T22" fmla="*/ 191 w 377"/>
                  <a:gd name="T23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7" h="216">
                    <a:moveTo>
                      <a:pt x="191" y="216"/>
                    </a:moveTo>
                    <a:cubicBezTo>
                      <a:pt x="185" y="216"/>
                      <a:pt x="180" y="216"/>
                      <a:pt x="174" y="216"/>
                    </a:cubicBezTo>
                    <a:lnTo>
                      <a:pt x="5" y="118"/>
                    </a:lnTo>
                    <a:lnTo>
                      <a:pt x="5" y="118"/>
                    </a:lnTo>
                    <a:cubicBezTo>
                      <a:pt x="0" y="87"/>
                      <a:pt x="18" y="56"/>
                      <a:pt x="58" y="32"/>
                    </a:cubicBezTo>
                    <a:cubicBezTo>
                      <a:pt x="95" y="11"/>
                      <a:pt x="142" y="0"/>
                      <a:pt x="190" y="0"/>
                    </a:cubicBezTo>
                    <a:cubicBezTo>
                      <a:pt x="192" y="0"/>
                      <a:pt x="193" y="0"/>
                      <a:pt x="195" y="1"/>
                    </a:cubicBezTo>
                    <a:cubicBezTo>
                      <a:pt x="204" y="1"/>
                      <a:pt x="213" y="1"/>
                      <a:pt x="222" y="2"/>
                    </a:cubicBezTo>
                    <a:lnTo>
                      <a:pt x="374" y="90"/>
                    </a:lnTo>
                    <a:cubicBezTo>
                      <a:pt x="377" y="99"/>
                      <a:pt x="377" y="108"/>
                      <a:pt x="376" y="117"/>
                    </a:cubicBezTo>
                    <a:cubicBezTo>
                      <a:pt x="373" y="142"/>
                      <a:pt x="355" y="166"/>
                      <a:pt x="323" y="185"/>
                    </a:cubicBezTo>
                    <a:cubicBezTo>
                      <a:pt x="286" y="206"/>
                      <a:pt x="239" y="216"/>
                      <a:pt x="191" y="216"/>
                    </a:cubicBezTo>
                  </a:path>
                </a:pathLst>
              </a:custGeom>
              <a:solidFill>
                <a:srgbClr val="A3A4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11"/>
              <p:cNvSpPr>
                <a:spLocks/>
              </p:cNvSpPr>
              <p:nvPr/>
            </p:nvSpPr>
            <p:spPr bwMode="auto">
              <a:xfrm>
                <a:off x="3702" y="2121"/>
                <a:ext cx="454" cy="262"/>
              </a:xfrm>
              <a:custGeom>
                <a:avLst/>
                <a:gdLst>
                  <a:gd name="T0" fmla="*/ 933 w 946"/>
                  <a:gd name="T1" fmla="*/ 545 h 545"/>
                  <a:gd name="T2" fmla="*/ 933 w 946"/>
                  <a:gd name="T3" fmla="*/ 545 h 545"/>
                  <a:gd name="T4" fmla="*/ 4 w 946"/>
                  <a:gd name="T5" fmla="*/ 9 h 545"/>
                  <a:gd name="T6" fmla="*/ 4 w 946"/>
                  <a:gd name="T7" fmla="*/ 2 h 545"/>
                  <a:gd name="T8" fmla="*/ 10 w 946"/>
                  <a:gd name="T9" fmla="*/ 0 h 545"/>
                  <a:gd name="T10" fmla="*/ 16 w 946"/>
                  <a:gd name="T11" fmla="*/ 2 h 545"/>
                  <a:gd name="T12" fmla="*/ 633 w 946"/>
                  <a:gd name="T13" fmla="*/ 357 h 545"/>
                  <a:gd name="T14" fmla="*/ 946 w 946"/>
                  <a:gd name="T15" fmla="*/ 538 h 545"/>
                  <a:gd name="T16" fmla="*/ 933 w 946"/>
                  <a:gd name="T17" fmla="*/ 545 h 5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46" h="545">
                    <a:moveTo>
                      <a:pt x="933" y="545"/>
                    </a:moveTo>
                    <a:lnTo>
                      <a:pt x="933" y="545"/>
                    </a:lnTo>
                    <a:lnTo>
                      <a:pt x="4" y="9"/>
                    </a:lnTo>
                    <a:cubicBezTo>
                      <a:pt x="0" y="7"/>
                      <a:pt x="0" y="4"/>
                      <a:pt x="4" y="2"/>
                    </a:cubicBezTo>
                    <a:cubicBezTo>
                      <a:pt x="6" y="1"/>
                      <a:pt x="8" y="0"/>
                      <a:pt x="10" y="0"/>
                    </a:cubicBezTo>
                    <a:cubicBezTo>
                      <a:pt x="12" y="0"/>
                      <a:pt x="15" y="1"/>
                      <a:pt x="16" y="2"/>
                    </a:cubicBezTo>
                    <a:lnTo>
                      <a:pt x="633" y="357"/>
                    </a:lnTo>
                    <a:lnTo>
                      <a:pt x="946" y="538"/>
                    </a:lnTo>
                    <a:lnTo>
                      <a:pt x="933" y="545"/>
                    </a:lnTo>
                  </a:path>
                </a:pathLst>
              </a:custGeom>
              <a:solidFill>
                <a:srgbClr val="B7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112"/>
              <p:cNvSpPr>
                <a:spLocks noEditPoints="1"/>
              </p:cNvSpPr>
              <p:nvPr/>
            </p:nvSpPr>
            <p:spPr bwMode="auto">
              <a:xfrm>
                <a:off x="3385" y="1988"/>
                <a:ext cx="775" cy="448"/>
              </a:xfrm>
              <a:custGeom>
                <a:avLst/>
                <a:gdLst>
                  <a:gd name="T0" fmla="*/ 1405 w 1613"/>
                  <a:gd name="T1" fmla="*/ 932 h 932"/>
                  <a:gd name="T2" fmla="*/ 362 w 1613"/>
                  <a:gd name="T3" fmla="*/ 330 h 932"/>
                  <a:gd name="T4" fmla="*/ 362 w 1613"/>
                  <a:gd name="T5" fmla="*/ 330 h 932"/>
                  <a:gd name="T6" fmla="*/ 379 w 1613"/>
                  <a:gd name="T7" fmla="*/ 330 h 932"/>
                  <a:gd name="T8" fmla="*/ 511 w 1613"/>
                  <a:gd name="T9" fmla="*/ 299 h 932"/>
                  <a:gd name="T10" fmla="*/ 564 w 1613"/>
                  <a:gd name="T11" fmla="*/ 231 h 932"/>
                  <a:gd name="T12" fmla="*/ 562 w 1613"/>
                  <a:gd name="T13" fmla="*/ 204 h 932"/>
                  <a:gd name="T14" fmla="*/ 1613 w 1613"/>
                  <a:gd name="T15" fmla="*/ 811 h 932"/>
                  <a:gd name="T16" fmla="*/ 1606 w 1613"/>
                  <a:gd name="T17" fmla="*/ 815 h 932"/>
                  <a:gd name="T18" fmla="*/ 1293 w 1613"/>
                  <a:gd name="T19" fmla="*/ 634 h 932"/>
                  <a:gd name="T20" fmla="*/ 676 w 1613"/>
                  <a:gd name="T21" fmla="*/ 279 h 932"/>
                  <a:gd name="T22" fmla="*/ 670 w 1613"/>
                  <a:gd name="T23" fmla="*/ 277 h 932"/>
                  <a:gd name="T24" fmla="*/ 664 w 1613"/>
                  <a:gd name="T25" fmla="*/ 279 h 932"/>
                  <a:gd name="T26" fmla="*/ 664 w 1613"/>
                  <a:gd name="T27" fmla="*/ 286 h 932"/>
                  <a:gd name="T28" fmla="*/ 1593 w 1613"/>
                  <a:gd name="T29" fmla="*/ 822 h 932"/>
                  <a:gd name="T30" fmla="*/ 1559 w 1613"/>
                  <a:gd name="T31" fmla="*/ 842 h 932"/>
                  <a:gd name="T32" fmla="*/ 1001 w 1613"/>
                  <a:gd name="T33" fmla="*/ 520 h 932"/>
                  <a:gd name="T34" fmla="*/ 629 w 1613"/>
                  <a:gd name="T35" fmla="*/ 306 h 932"/>
                  <a:gd name="T36" fmla="*/ 623 w 1613"/>
                  <a:gd name="T37" fmla="*/ 304 h 932"/>
                  <a:gd name="T38" fmla="*/ 617 w 1613"/>
                  <a:gd name="T39" fmla="*/ 306 h 932"/>
                  <a:gd name="T40" fmla="*/ 617 w 1613"/>
                  <a:gd name="T41" fmla="*/ 313 h 932"/>
                  <a:gd name="T42" fmla="*/ 1109 w 1613"/>
                  <a:gd name="T43" fmla="*/ 597 h 932"/>
                  <a:gd name="T44" fmla="*/ 1546 w 1613"/>
                  <a:gd name="T45" fmla="*/ 850 h 932"/>
                  <a:gd name="T46" fmla="*/ 1512 w 1613"/>
                  <a:gd name="T47" fmla="*/ 870 h 932"/>
                  <a:gd name="T48" fmla="*/ 1338 w 1613"/>
                  <a:gd name="T49" fmla="*/ 769 h 932"/>
                  <a:gd name="T50" fmla="*/ 583 w 1613"/>
                  <a:gd name="T51" fmla="*/ 333 h 932"/>
                  <a:gd name="T52" fmla="*/ 576 w 1613"/>
                  <a:gd name="T53" fmla="*/ 332 h 932"/>
                  <a:gd name="T54" fmla="*/ 570 w 1613"/>
                  <a:gd name="T55" fmla="*/ 333 h 932"/>
                  <a:gd name="T56" fmla="*/ 567 w 1613"/>
                  <a:gd name="T57" fmla="*/ 337 h 932"/>
                  <a:gd name="T58" fmla="*/ 567 w 1613"/>
                  <a:gd name="T59" fmla="*/ 337 h 932"/>
                  <a:gd name="T60" fmla="*/ 568 w 1613"/>
                  <a:gd name="T61" fmla="*/ 337 h 932"/>
                  <a:gd name="T62" fmla="*/ 568 w 1613"/>
                  <a:gd name="T63" fmla="*/ 337 h 932"/>
                  <a:gd name="T64" fmla="*/ 570 w 1613"/>
                  <a:gd name="T65" fmla="*/ 340 h 932"/>
                  <a:gd name="T66" fmla="*/ 988 w 1613"/>
                  <a:gd name="T67" fmla="*/ 582 h 932"/>
                  <a:gd name="T68" fmla="*/ 1499 w 1613"/>
                  <a:gd name="T69" fmla="*/ 877 h 932"/>
                  <a:gd name="T70" fmla="*/ 1465 w 1613"/>
                  <a:gd name="T71" fmla="*/ 897 h 932"/>
                  <a:gd name="T72" fmla="*/ 852 w 1613"/>
                  <a:gd name="T73" fmla="*/ 543 h 932"/>
                  <a:gd name="T74" fmla="*/ 536 w 1613"/>
                  <a:gd name="T75" fmla="*/ 360 h 932"/>
                  <a:gd name="T76" fmla="*/ 529 w 1613"/>
                  <a:gd name="T77" fmla="*/ 359 h 932"/>
                  <a:gd name="T78" fmla="*/ 523 w 1613"/>
                  <a:gd name="T79" fmla="*/ 360 h 932"/>
                  <a:gd name="T80" fmla="*/ 523 w 1613"/>
                  <a:gd name="T81" fmla="*/ 368 h 932"/>
                  <a:gd name="T82" fmla="*/ 1155 w 1613"/>
                  <a:gd name="T83" fmla="*/ 732 h 932"/>
                  <a:gd name="T84" fmla="*/ 1452 w 1613"/>
                  <a:gd name="T85" fmla="*/ 904 h 932"/>
                  <a:gd name="T86" fmla="*/ 1418 w 1613"/>
                  <a:gd name="T87" fmla="*/ 924 h 932"/>
                  <a:gd name="T88" fmla="*/ 1346 w 1613"/>
                  <a:gd name="T89" fmla="*/ 882 h 932"/>
                  <a:gd name="T90" fmla="*/ 489 w 1613"/>
                  <a:gd name="T91" fmla="*/ 388 h 932"/>
                  <a:gd name="T92" fmla="*/ 483 w 1613"/>
                  <a:gd name="T93" fmla="*/ 386 h 932"/>
                  <a:gd name="T94" fmla="*/ 476 w 1613"/>
                  <a:gd name="T95" fmla="*/ 388 h 932"/>
                  <a:gd name="T96" fmla="*/ 474 w 1613"/>
                  <a:gd name="T97" fmla="*/ 393 h 932"/>
                  <a:gd name="T98" fmla="*/ 476 w 1613"/>
                  <a:gd name="T99" fmla="*/ 395 h 932"/>
                  <a:gd name="T100" fmla="*/ 888 w 1613"/>
                  <a:gd name="T101" fmla="*/ 632 h 932"/>
                  <a:gd name="T102" fmla="*/ 1406 w 1613"/>
                  <a:gd name="T103" fmla="*/ 931 h 932"/>
                  <a:gd name="T104" fmla="*/ 1405 w 1613"/>
                  <a:gd name="T105" fmla="*/ 932 h 932"/>
                  <a:gd name="T106" fmla="*/ 193 w 1613"/>
                  <a:gd name="T107" fmla="*/ 232 h 932"/>
                  <a:gd name="T108" fmla="*/ 193 w 1613"/>
                  <a:gd name="T109" fmla="*/ 232 h 932"/>
                  <a:gd name="T110" fmla="*/ 0 w 1613"/>
                  <a:gd name="T111" fmla="*/ 121 h 932"/>
                  <a:gd name="T112" fmla="*/ 208 w 1613"/>
                  <a:gd name="T113" fmla="*/ 0 h 932"/>
                  <a:gd name="T114" fmla="*/ 410 w 1613"/>
                  <a:gd name="T115" fmla="*/ 116 h 932"/>
                  <a:gd name="T116" fmla="*/ 383 w 1613"/>
                  <a:gd name="T117" fmla="*/ 115 h 932"/>
                  <a:gd name="T118" fmla="*/ 378 w 1613"/>
                  <a:gd name="T119" fmla="*/ 114 h 932"/>
                  <a:gd name="T120" fmla="*/ 246 w 1613"/>
                  <a:gd name="T121" fmla="*/ 146 h 932"/>
                  <a:gd name="T122" fmla="*/ 193 w 1613"/>
                  <a:gd name="T123" fmla="*/ 232 h 932"/>
                  <a:gd name="T124" fmla="*/ 193 w 1613"/>
                  <a:gd name="T125" fmla="*/ 232 h 9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13" h="932">
                    <a:moveTo>
                      <a:pt x="1405" y="932"/>
                    </a:moveTo>
                    <a:lnTo>
                      <a:pt x="362" y="330"/>
                    </a:lnTo>
                    <a:lnTo>
                      <a:pt x="362" y="330"/>
                    </a:lnTo>
                    <a:cubicBezTo>
                      <a:pt x="368" y="330"/>
                      <a:pt x="374" y="330"/>
                      <a:pt x="379" y="330"/>
                    </a:cubicBezTo>
                    <a:cubicBezTo>
                      <a:pt x="427" y="330"/>
                      <a:pt x="474" y="320"/>
                      <a:pt x="511" y="299"/>
                    </a:cubicBezTo>
                    <a:cubicBezTo>
                      <a:pt x="543" y="280"/>
                      <a:pt x="561" y="256"/>
                      <a:pt x="564" y="231"/>
                    </a:cubicBezTo>
                    <a:cubicBezTo>
                      <a:pt x="565" y="222"/>
                      <a:pt x="565" y="213"/>
                      <a:pt x="562" y="204"/>
                    </a:cubicBezTo>
                    <a:lnTo>
                      <a:pt x="1613" y="811"/>
                    </a:lnTo>
                    <a:lnTo>
                      <a:pt x="1606" y="815"/>
                    </a:lnTo>
                    <a:lnTo>
                      <a:pt x="1293" y="634"/>
                    </a:lnTo>
                    <a:lnTo>
                      <a:pt x="676" y="279"/>
                    </a:lnTo>
                    <a:cubicBezTo>
                      <a:pt x="675" y="278"/>
                      <a:pt x="672" y="277"/>
                      <a:pt x="670" y="277"/>
                    </a:cubicBezTo>
                    <a:cubicBezTo>
                      <a:pt x="668" y="277"/>
                      <a:pt x="666" y="278"/>
                      <a:pt x="664" y="279"/>
                    </a:cubicBezTo>
                    <a:cubicBezTo>
                      <a:pt x="660" y="281"/>
                      <a:pt x="660" y="284"/>
                      <a:pt x="664" y="286"/>
                    </a:cubicBezTo>
                    <a:lnTo>
                      <a:pt x="1593" y="822"/>
                    </a:lnTo>
                    <a:lnTo>
                      <a:pt x="1559" y="842"/>
                    </a:lnTo>
                    <a:lnTo>
                      <a:pt x="1001" y="520"/>
                    </a:lnTo>
                    <a:lnTo>
                      <a:pt x="629" y="306"/>
                    </a:lnTo>
                    <a:cubicBezTo>
                      <a:pt x="628" y="305"/>
                      <a:pt x="625" y="304"/>
                      <a:pt x="623" y="304"/>
                    </a:cubicBezTo>
                    <a:cubicBezTo>
                      <a:pt x="621" y="304"/>
                      <a:pt x="619" y="305"/>
                      <a:pt x="617" y="306"/>
                    </a:cubicBezTo>
                    <a:cubicBezTo>
                      <a:pt x="613" y="308"/>
                      <a:pt x="613" y="311"/>
                      <a:pt x="617" y="313"/>
                    </a:cubicBezTo>
                    <a:lnTo>
                      <a:pt x="1109" y="597"/>
                    </a:lnTo>
                    <a:lnTo>
                      <a:pt x="1546" y="850"/>
                    </a:lnTo>
                    <a:lnTo>
                      <a:pt x="1512" y="870"/>
                    </a:lnTo>
                    <a:lnTo>
                      <a:pt x="1338" y="769"/>
                    </a:lnTo>
                    <a:lnTo>
                      <a:pt x="583" y="333"/>
                    </a:lnTo>
                    <a:cubicBezTo>
                      <a:pt x="581" y="332"/>
                      <a:pt x="579" y="332"/>
                      <a:pt x="576" y="332"/>
                    </a:cubicBezTo>
                    <a:cubicBezTo>
                      <a:pt x="574" y="332"/>
                      <a:pt x="572" y="332"/>
                      <a:pt x="570" y="333"/>
                    </a:cubicBezTo>
                    <a:cubicBezTo>
                      <a:pt x="568" y="334"/>
                      <a:pt x="567" y="335"/>
                      <a:pt x="567" y="337"/>
                    </a:cubicBezTo>
                    <a:cubicBezTo>
                      <a:pt x="567" y="337"/>
                      <a:pt x="567" y="337"/>
                      <a:pt x="567" y="337"/>
                    </a:cubicBezTo>
                    <a:cubicBezTo>
                      <a:pt x="567" y="337"/>
                      <a:pt x="567" y="337"/>
                      <a:pt x="568" y="337"/>
                    </a:cubicBezTo>
                    <a:lnTo>
                      <a:pt x="568" y="337"/>
                    </a:lnTo>
                    <a:cubicBezTo>
                      <a:pt x="568" y="338"/>
                      <a:pt x="569" y="339"/>
                      <a:pt x="570" y="340"/>
                    </a:cubicBezTo>
                    <a:lnTo>
                      <a:pt x="988" y="582"/>
                    </a:lnTo>
                    <a:lnTo>
                      <a:pt x="1499" y="877"/>
                    </a:lnTo>
                    <a:lnTo>
                      <a:pt x="1465" y="897"/>
                    </a:lnTo>
                    <a:lnTo>
                      <a:pt x="852" y="543"/>
                    </a:lnTo>
                    <a:lnTo>
                      <a:pt x="536" y="360"/>
                    </a:lnTo>
                    <a:cubicBezTo>
                      <a:pt x="534" y="359"/>
                      <a:pt x="532" y="359"/>
                      <a:pt x="529" y="359"/>
                    </a:cubicBezTo>
                    <a:cubicBezTo>
                      <a:pt x="527" y="359"/>
                      <a:pt x="525" y="359"/>
                      <a:pt x="523" y="360"/>
                    </a:cubicBezTo>
                    <a:cubicBezTo>
                      <a:pt x="520" y="362"/>
                      <a:pt x="520" y="366"/>
                      <a:pt x="523" y="368"/>
                    </a:cubicBezTo>
                    <a:lnTo>
                      <a:pt x="1155" y="732"/>
                    </a:lnTo>
                    <a:lnTo>
                      <a:pt x="1452" y="904"/>
                    </a:lnTo>
                    <a:lnTo>
                      <a:pt x="1418" y="924"/>
                    </a:lnTo>
                    <a:lnTo>
                      <a:pt x="1346" y="882"/>
                    </a:lnTo>
                    <a:lnTo>
                      <a:pt x="489" y="388"/>
                    </a:lnTo>
                    <a:cubicBezTo>
                      <a:pt x="487" y="387"/>
                      <a:pt x="485" y="386"/>
                      <a:pt x="483" y="386"/>
                    </a:cubicBezTo>
                    <a:cubicBezTo>
                      <a:pt x="480" y="386"/>
                      <a:pt x="478" y="387"/>
                      <a:pt x="476" y="388"/>
                    </a:cubicBezTo>
                    <a:cubicBezTo>
                      <a:pt x="474" y="389"/>
                      <a:pt x="473" y="391"/>
                      <a:pt x="474" y="393"/>
                    </a:cubicBezTo>
                    <a:cubicBezTo>
                      <a:pt x="475" y="394"/>
                      <a:pt x="475" y="394"/>
                      <a:pt x="476" y="395"/>
                    </a:cubicBezTo>
                    <a:lnTo>
                      <a:pt x="888" y="632"/>
                    </a:lnTo>
                    <a:lnTo>
                      <a:pt x="1406" y="931"/>
                    </a:lnTo>
                    <a:lnTo>
                      <a:pt x="1405" y="932"/>
                    </a:lnTo>
                    <a:close/>
                    <a:moveTo>
                      <a:pt x="193" y="232"/>
                    </a:moveTo>
                    <a:lnTo>
                      <a:pt x="193" y="232"/>
                    </a:lnTo>
                    <a:lnTo>
                      <a:pt x="0" y="121"/>
                    </a:lnTo>
                    <a:lnTo>
                      <a:pt x="208" y="0"/>
                    </a:lnTo>
                    <a:lnTo>
                      <a:pt x="410" y="116"/>
                    </a:lnTo>
                    <a:cubicBezTo>
                      <a:pt x="401" y="115"/>
                      <a:pt x="392" y="115"/>
                      <a:pt x="383" y="115"/>
                    </a:cubicBezTo>
                    <a:cubicBezTo>
                      <a:pt x="381" y="114"/>
                      <a:pt x="380" y="114"/>
                      <a:pt x="378" y="114"/>
                    </a:cubicBezTo>
                    <a:cubicBezTo>
                      <a:pt x="330" y="114"/>
                      <a:pt x="283" y="125"/>
                      <a:pt x="246" y="146"/>
                    </a:cubicBezTo>
                    <a:cubicBezTo>
                      <a:pt x="206" y="170"/>
                      <a:pt x="188" y="201"/>
                      <a:pt x="193" y="232"/>
                    </a:cubicBezTo>
                    <a:lnTo>
                      <a:pt x="193" y="232"/>
                    </a:lnTo>
                  </a:path>
                </a:pathLst>
              </a:custGeom>
              <a:solidFill>
                <a:srgbClr val="CB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113"/>
              <p:cNvSpPr>
                <a:spLocks/>
              </p:cNvSpPr>
              <p:nvPr/>
            </p:nvSpPr>
            <p:spPr bwMode="auto">
              <a:xfrm>
                <a:off x="3680" y="2134"/>
                <a:ext cx="454" cy="262"/>
              </a:xfrm>
              <a:custGeom>
                <a:avLst/>
                <a:gdLst>
                  <a:gd name="T0" fmla="*/ 933 w 946"/>
                  <a:gd name="T1" fmla="*/ 546 h 546"/>
                  <a:gd name="T2" fmla="*/ 496 w 946"/>
                  <a:gd name="T3" fmla="*/ 293 h 546"/>
                  <a:gd name="T4" fmla="*/ 4 w 946"/>
                  <a:gd name="T5" fmla="*/ 9 h 546"/>
                  <a:gd name="T6" fmla="*/ 4 w 946"/>
                  <a:gd name="T7" fmla="*/ 2 h 546"/>
                  <a:gd name="T8" fmla="*/ 10 w 946"/>
                  <a:gd name="T9" fmla="*/ 0 h 546"/>
                  <a:gd name="T10" fmla="*/ 16 w 946"/>
                  <a:gd name="T11" fmla="*/ 2 h 546"/>
                  <a:gd name="T12" fmla="*/ 388 w 946"/>
                  <a:gd name="T13" fmla="*/ 216 h 546"/>
                  <a:gd name="T14" fmla="*/ 946 w 946"/>
                  <a:gd name="T15" fmla="*/ 538 h 546"/>
                  <a:gd name="T16" fmla="*/ 946 w 946"/>
                  <a:gd name="T17" fmla="*/ 538 h 546"/>
                  <a:gd name="T18" fmla="*/ 933 w 946"/>
                  <a:gd name="T19" fmla="*/ 546 h 546"/>
                  <a:gd name="T20" fmla="*/ 933 w 946"/>
                  <a:gd name="T21" fmla="*/ 546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46" h="546">
                    <a:moveTo>
                      <a:pt x="933" y="546"/>
                    </a:moveTo>
                    <a:lnTo>
                      <a:pt x="496" y="293"/>
                    </a:lnTo>
                    <a:lnTo>
                      <a:pt x="4" y="9"/>
                    </a:lnTo>
                    <a:cubicBezTo>
                      <a:pt x="0" y="7"/>
                      <a:pt x="0" y="4"/>
                      <a:pt x="4" y="2"/>
                    </a:cubicBezTo>
                    <a:cubicBezTo>
                      <a:pt x="6" y="1"/>
                      <a:pt x="8" y="0"/>
                      <a:pt x="10" y="0"/>
                    </a:cubicBezTo>
                    <a:cubicBezTo>
                      <a:pt x="12" y="0"/>
                      <a:pt x="15" y="1"/>
                      <a:pt x="16" y="2"/>
                    </a:cubicBezTo>
                    <a:lnTo>
                      <a:pt x="388" y="216"/>
                    </a:lnTo>
                    <a:lnTo>
                      <a:pt x="946" y="538"/>
                    </a:lnTo>
                    <a:lnTo>
                      <a:pt x="946" y="538"/>
                    </a:lnTo>
                    <a:lnTo>
                      <a:pt x="933" y="546"/>
                    </a:lnTo>
                    <a:lnTo>
                      <a:pt x="933" y="546"/>
                    </a:lnTo>
                  </a:path>
                </a:pathLst>
              </a:custGeom>
              <a:solidFill>
                <a:srgbClr val="B7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114"/>
              <p:cNvSpPr>
                <a:spLocks/>
              </p:cNvSpPr>
              <p:nvPr/>
            </p:nvSpPr>
            <p:spPr bwMode="auto">
              <a:xfrm>
                <a:off x="3658" y="2148"/>
                <a:ext cx="453" cy="261"/>
              </a:xfrm>
              <a:custGeom>
                <a:avLst/>
                <a:gdLst>
                  <a:gd name="T0" fmla="*/ 932 w 945"/>
                  <a:gd name="T1" fmla="*/ 545 h 545"/>
                  <a:gd name="T2" fmla="*/ 421 w 945"/>
                  <a:gd name="T3" fmla="*/ 250 h 545"/>
                  <a:gd name="T4" fmla="*/ 3 w 945"/>
                  <a:gd name="T5" fmla="*/ 8 h 545"/>
                  <a:gd name="T6" fmla="*/ 1 w 945"/>
                  <a:gd name="T7" fmla="*/ 5 h 545"/>
                  <a:gd name="T8" fmla="*/ 1 w 945"/>
                  <a:gd name="T9" fmla="*/ 5 h 545"/>
                  <a:gd name="T10" fmla="*/ 0 w 945"/>
                  <a:gd name="T11" fmla="*/ 5 h 545"/>
                  <a:gd name="T12" fmla="*/ 0 w 945"/>
                  <a:gd name="T13" fmla="*/ 5 h 545"/>
                  <a:gd name="T14" fmla="*/ 3 w 945"/>
                  <a:gd name="T15" fmla="*/ 1 h 545"/>
                  <a:gd name="T16" fmla="*/ 9 w 945"/>
                  <a:gd name="T17" fmla="*/ 0 h 545"/>
                  <a:gd name="T18" fmla="*/ 16 w 945"/>
                  <a:gd name="T19" fmla="*/ 1 h 545"/>
                  <a:gd name="T20" fmla="*/ 771 w 945"/>
                  <a:gd name="T21" fmla="*/ 437 h 545"/>
                  <a:gd name="T22" fmla="*/ 945 w 945"/>
                  <a:gd name="T23" fmla="*/ 538 h 545"/>
                  <a:gd name="T24" fmla="*/ 932 w 945"/>
                  <a:gd name="T25" fmla="*/ 545 h 5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45" h="545">
                    <a:moveTo>
                      <a:pt x="932" y="545"/>
                    </a:moveTo>
                    <a:lnTo>
                      <a:pt x="421" y="250"/>
                    </a:lnTo>
                    <a:lnTo>
                      <a:pt x="3" y="8"/>
                    </a:lnTo>
                    <a:cubicBezTo>
                      <a:pt x="2" y="7"/>
                      <a:pt x="1" y="6"/>
                      <a:pt x="1" y="5"/>
                    </a:cubicBezTo>
                    <a:lnTo>
                      <a:pt x="1" y="5"/>
                    </a:ln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5" y="0"/>
                      <a:pt x="7" y="0"/>
                      <a:pt x="9" y="0"/>
                    </a:cubicBezTo>
                    <a:cubicBezTo>
                      <a:pt x="12" y="0"/>
                      <a:pt x="14" y="0"/>
                      <a:pt x="16" y="1"/>
                    </a:cubicBezTo>
                    <a:lnTo>
                      <a:pt x="771" y="437"/>
                    </a:lnTo>
                    <a:lnTo>
                      <a:pt x="945" y="538"/>
                    </a:lnTo>
                    <a:lnTo>
                      <a:pt x="932" y="545"/>
                    </a:lnTo>
                  </a:path>
                </a:pathLst>
              </a:custGeom>
              <a:solidFill>
                <a:srgbClr val="B7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115"/>
              <p:cNvSpPr>
                <a:spLocks/>
              </p:cNvSpPr>
              <p:nvPr/>
            </p:nvSpPr>
            <p:spPr bwMode="auto">
              <a:xfrm>
                <a:off x="3635" y="2161"/>
                <a:ext cx="454" cy="261"/>
              </a:xfrm>
              <a:custGeom>
                <a:avLst/>
                <a:gdLst>
                  <a:gd name="T0" fmla="*/ 932 w 945"/>
                  <a:gd name="T1" fmla="*/ 545 h 545"/>
                  <a:gd name="T2" fmla="*/ 635 w 945"/>
                  <a:gd name="T3" fmla="*/ 373 h 545"/>
                  <a:gd name="T4" fmla="*/ 3 w 945"/>
                  <a:gd name="T5" fmla="*/ 9 h 545"/>
                  <a:gd name="T6" fmla="*/ 3 w 945"/>
                  <a:gd name="T7" fmla="*/ 1 h 545"/>
                  <a:gd name="T8" fmla="*/ 9 w 945"/>
                  <a:gd name="T9" fmla="*/ 0 h 545"/>
                  <a:gd name="T10" fmla="*/ 16 w 945"/>
                  <a:gd name="T11" fmla="*/ 1 h 545"/>
                  <a:gd name="T12" fmla="*/ 332 w 945"/>
                  <a:gd name="T13" fmla="*/ 184 h 545"/>
                  <a:gd name="T14" fmla="*/ 945 w 945"/>
                  <a:gd name="T15" fmla="*/ 538 h 545"/>
                  <a:gd name="T16" fmla="*/ 945 w 945"/>
                  <a:gd name="T17" fmla="*/ 538 h 545"/>
                  <a:gd name="T18" fmla="*/ 932 w 945"/>
                  <a:gd name="T19" fmla="*/ 545 h 545"/>
                  <a:gd name="T20" fmla="*/ 932 w 945"/>
                  <a:gd name="T21" fmla="*/ 545 h 5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45" h="545">
                    <a:moveTo>
                      <a:pt x="932" y="545"/>
                    </a:moveTo>
                    <a:lnTo>
                      <a:pt x="635" y="373"/>
                    </a:lnTo>
                    <a:lnTo>
                      <a:pt x="3" y="9"/>
                    </a:lnTo>
                    <a:cubicBezTo>
                      <a:pt x="0" y="7"/>
                      <a:pt x="0" y="3"/>
                      <a:pt x="3" y="1"/>
                    </a:cubicBezTo>
                    <a:cubicBezTo>
                      <a:pt x="5" y="0"/>
                      <a:pt x="7" y="0"/>
                      <a:pt x="9" y="0"/>
                    </a:cubicBezTo>
                    <a:cubicBezTo>
                      <a:pt x="12" y="0"/>
                      <a:pt x="14" y="0"/>
                      <a:pt x="16" y="1"/>
                    </a:cubicBezTo>
                    <a:lnTo>
                      <a:pt x="332" y="184"/>
                    </a:lnTo>
                    <a:lnTo>
                      <a:pt x="945" y="538"/>
                    </a:lnTo>
                    <a:lnTo>
                      <a:pt x="945" y="538"/>
                    </a:lnTo>
                    <a:lnTo>
                      <a:pt x="932" y="545"/>
                    </a:lnTo>
                    <a:lnTo>
                      <a:pt x="932" y="545"/>
                    </a:lnTo>
                    <a:close/>
                  </a:path>
                </a:pathLst>
              </a:custGeom>
              <a:solidFill>
                <a:srgbClr val="B7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116"/>
              <p:cNvSpPr>
                <a:spLocks/>
              </p:cNvSpPr>
              <p:nvPr/>
            </p:nvSpPr>
            <p:spPr bwMode="auto">
              <a:xfrm>
                <a:off x="3612" y="2174"/>
                <a:ext cx="454" cy="261"/>
              </a:xfrm>
              <a:custGeom>
                <a:avLst/>
                <a:gdLst>
                  <a:gd name="T0" fmla="*/ 933 w 945"/>
                  <a:gd name="T1" fmla="*/ 545 h 545"/>
                  <a:gd name="T2" fmla="*/ 415 w 945"/>
                  <a:gd name="T3" fmla="*/ 246 h 545"/>
                  <a:gd name="T4" fmla="*/ 3 w 945"/>
                  <a:gd name="T5" fmla="*/ 9 h 545"/>
                  <a:gd name="T6" fmla="*/ 1 w 945"/>
                  <a:gd name="T7" fmla="*/ 7 h 545"/>
                  <a:gd name="T8" fmla="*/ 3 w 945"/>
                  <a:gd name="T9" fmla="*/ 2 h 545"/>
                  <a:gd name="T10" fmla="*/ 10 w 945"/>
                  <a:gd name="T11" fmla="*/ 0 h 545"/>
                  <a:gd name="T12" fmla="*/ 16 w 945"/>
                  <a:gd name="T13" fmla="*/ 2 h 545"/>
                  <a:gd name="T14" fmla="*/ 873 w 945"/>
                  <a:gd name="T15" fmla="*/ 496 h 545"/>
                  <a:gd name="T16" fmla="*/ 945 w 945"/>
                  <a:gd name="T17" fmla="*/ 538 h 545"/>
                  <a:gd name="T18" fmla="*/ 933 w 945"/>
                  <a:gd name="T19" fmla="*/ 545 h 545"/>
                  <a:gd name="T20" fmla="*/ 933 w 945"/>
                  <a:gd name="T21" fmla="*/ 545 h 5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45" h="545">
                    <a:moveTo>
                      <a:pt x="933" y="545"/>
                    </a:moveTo>
                    <a:lnTo>
                      <a:pt x="415" y="246"/>
                    </a:lnTo>
                    <a:lnTo>
                      <a:pt x="3" y="9"/>
                    </a:lnTo>
                    <a:cubicBezTo>
                      <a:pt x="2" y="8"/>
                      <a:pt x="2" y="8"/>
                      <a:pt x="1" y="7"/>
                    </a:cubicBezTo>
                    <a:cubicBezTo>
                      <a:pt x="0" y="5"/>
                      <a:pt x="1" y="3"/>
                      <a:pt x="3" y="2"/>
                    </a:cubicBezTo>
                    <a:cubicBezTo>
                      <a:pt x="5" y="1"/>
                      <a:pt x="7" y="0"/>
                      <a:pt x="10" y="0"/>
                    </a:cubicBezTo>
                    <a:cubicBezTo>
                      <a:pt x="12" y="0"/>
                      <a:pt x="14" y="1"/>
                      <a:pt x="16" y="2"/>
                    </a:cubicBezTo>
                    <a:lnTo>
                      <a:pt x="873" y="496"/>
                    </a:lnTo>
                    <a:lnTo>
                      <a:pt x="945" y="538"/>
                    </a:lnTo>
                    <a:lnTo>
                      <a:pt x="933" y="545"/>
                    </a:lnTo>
                    <a:lnTo>
                      <a:pt x="933" y="545"/>
                    </a:lnTo>
                  </a:path>
                </a:pathLst>
              </a:custGeom>
              <a:solidFill>
                <a:srgbClr val="B7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117"/>
              <p:cNvSpPr>
                <a:spLocks/>
              </p:cNvSpPr>
              <p:nvPr/>
            </p:nvSpPr>
            <p:spPr bwMode="auto">
              <a:xfrm>
                <a:off x="3260" y="1780"/>
                <a:ext cx="40" cy="23"/>
              </a:xfrm>
              <a:custGeom>
                <a:avLst/>
                <a:gdLst>
                  <a:gd name="T0" fmla="*/ 0 w 84"/>
                  <a:gd name="T1" fmla="*/ 49 h 49"/>
                  <a:gd name="T2" fmla="*/ 0 w 84"/>
                  <a:gd name="T3" fmla="*/ 49 h 49"/>
                  <a:gd name="T4" fmla="*/ 84 w 84"/>
                  <a:gd name="T5" fmla="*/ 0 h 49"/>
                  <a:gd name="T6" fmla="*/ 84 w 84"/>
                  <a:gd name="T7" fmla="*/ 0 h 49"/>
                  <a:gd name="T8" fmla="*/ 0 w 84"/>
                  <a:gd name="T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49">
                    <a:moveTo>
                      <a:pt x="0" y="49"/>
                    </a:moveTo>
                    <a:lnTo>
                      <a:pt x="0" y="49"/>
                    </a:lnTo>
                    <a:cubicBezTo>
                      <a:pt x="28" y="33"/>
                      <a:pt x="56" y="16"/>
                      <a:pt x="84" y="0"/>
                    </a:cubicBezTo>
                    <a:lnTo>
                      <a:pt x="84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118"/>
              <p:cNvSpPr>
                <a:spLocks/>
              </p:cNvSpPr>
              <p:nvPr/>
            </p:nvSpPr>
            <p:spPr bwMode="auto">
              <a:xfrm>
                <a:off x="3260" y="1780"/>
                <a:ext cx="40" cy="23"/>
              </a:xfrm>
              <a:custGeom>
                <a:avLst/>
                <a:gdLst>
                  <a:gd name="T0" fmla="*/ 0 w 84"/>
                  <a:gd name="T1" fmla="*/ 49 h 49"/>
                  <a:gd name="T2" fmla="*/ 0 w 84"/>
                  <a:gd name="T3" fmla="*/ 49 h 49"/>
                  <a:gd name="T4" fmla="*/ 0 w 84"/>
                  <a:gd name="T5" fmla="*/ 49 h 49"/>
                  <a:gd name="T6" fmla="*/ 84 w 84"/>
                  <a:gd name="T7" fmla="*/ 0 h 49"/>
                  <a:gd name="T8" fmla="*/ 84 w 84"/>
                  <a:gd name="T9" fmla="*/ 0 h 49"/>
                  <a:gd name="T10" fmla="*/ 0 w 84"/>
                  <a:gd name="T1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" h="49">
                    <a:moveTo>
                      <a:pt x="0" y="49"/>
                    </a:moveTo>
                    <a:lnTo>
                      <a:pt x="0" y="49"/>
                    </a:lnTo>
                    <a:lnTo>
                      <a:pt x="0" y="49"/>
                    </a:lnTo>
                    <a:lnTo>
                      <a:pt x="84" y="0"/>
                    </a:lnTo>
                    <a:lnTo>
                      <a:pt x="84" y="0"/>
                    </a:lnTo>
                    <a:cubicBezTo>
                      <a:pt x="56" y="16"/>
                      <a:pt x="28" y="33"/>
                      <a:pt x="0" y="49"/>
                    </a:cubicBezTo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119"/>
              <p:cNvSpPr>
                <a:spLocks/>
              </p:cNvSpPr>
              <p:nvPr/>
            </p:nvSpPr>
            <p:spPr bwMode="auto">
              <a:xfrm>
                <a:off x="3260" y="1780"/>
                <a:ext cx="42" cy="27"/>
              </a:xfrm>
              <a:custGeom>
                <a:avLst/>
                <a:gdLst>
                  <a:gd name="T0" fmla="*/ 0 w 89"/>
                  <a:gd name="T1" fmla="*/ 49 h 57"/>
                  <a:gd name="T2" fmla="*/ 5 w 89"/>
                  <a:gd name="T3" fmla="*/ 57 h 57"/>
                  <a:gd name="T4" fmla="*/ 89 w 89"/>
                  <a:gd name="T5" fmla="*/ 8 h 57"/>
                  <a:gd name="T6" fmla="*/ 84 w 89"/>
                  <a:gd name="T7" fmla="*/ 0 h 57"/>
                  <a:gd name="T8" fmla="*/ 0 w 89"/>
                  <a:gd name="T9" fmla="*/ 4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57">
                    <a:moveTo>
                      <a:pt x="0" y="49"/>
                    </a:moveTo>
                    <a:cubicBezTo>
                      <a:pt x="2" y="52"/>
                      <a:pt x="3" y="54"/>
                      <a:pt x="5" y="57"/>
                    </a:cubicBezTo>
                    <a:lnTo>
                      <a:pt x="89" y="8"/>
                    </a:lnTo>
                    <a:cubicBezTo>
                      <a:pt x="88" y="5"/>
                      <a:pt x="86" y="3"/>
                      <a:pt x="84" y="0"/>
                    </a:cubicBezTo>
                    <a:lnTo>
                      <a:pt x="0" y="49"/>
                    </a:lnTo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120"/>
              <p:cNvSpPr>
                <a:spLocks/>
              </p:cNvSpPr>
              <p:nvPr/>
            </p:nvSpPr>
            <p:spPr bwMode="auto">
              <a:xfrm>
                <a:off x="3262" y="1784"/>
                <a:ext cx="41" cy="23"/>
              </a:xfrm>
              <a:custGeom>
                <a:avLst/>
                <a:gdLst>
                  <a:gd name="T0" fmla="*/ 0 w 41"/>
                  <a:gd name="T1" fmla="*/ 23 h 23"/>
                  <a:gd name="T2" fmla="*/ 0 w 41"/>
                  <a:gd name="T3" fmla="*/ 23 h 23"/>
                  <a:gd name="T4" fmla="*/ 0 w 41"/>
                  <a:gd name="T5" fmla="*/ 23 h 23"/>
                  <a:gd name="T6" fmla="*/ 0 w 41"/>
                  <a:gd name="T7" fmla="*/ 23 h 23"/>
                  <a:gd name="T8" fmla="*/ 41 w 41"/>
                  <a:gd name="T9" fmla="*/ 0 h 23"/>
                  <a:gd name="T10" fmla="*/ 40 w 41"/>
                  <a:gd name="T11" fmla="*/ 0 h 23"/>
                  <a:gd name="T12" fmla="*/ 0 w 41"/>
                  <a:gd name="T1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23">
                    <a:moveTo>
                      <a:pt x="0" y="23"/>
                    </a:moveTo>
                    <a:lnTo>
                      <a:pt x="0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41" y="0"/>
                    </a:lnTo>
                    <a:lnTo>
                      <a:pt x="40" y="0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121"/>
              <p:cNvSpPr>
                <a:spLocks/>
              </p:cNvSpPr>
              <p:nvPr/>
            </p:nvSpPr>
            <p:spPr bwMode="auto">
              <a:xfrm>
                <a:off x="3255" y="1772"/>
                <a:ext cx="45" cy="31"/>
              </a:xfrm>
              <a:custGeom>
                <a:avLst/>
                <a:gdLst>
                  <a:gd name="T0" fmla="*/ 0 w 93"/>
                  <a:gd name="T1" fmla="*/ 49 h 65"/>
                  <a:gd name="T2" fmla="*/ 4 w 93"/>
                  <a:gd name="T3" fmla="*/ 57 h 65"/>
                  <a:gd name="T4" fmla="*/ 5 w 93"/>
                  <a:gd name="T5" fmla="*/ 59 h 65"/>
                  <a:gd name="T6" fmla="*/ 9 w 93"/>
                  <a:gd name="T7" fmla="*/ 65 h 65"/>
                  <a:gd name="T8" fmla="*/ 93 w 93"/>
                  <a:gd name="T9" fmla="*/ 16 h 65"/>
                  <a:gd name="T10" fmla="*/ 84 w 93"/>
                  <a:gd name="T11" fmla="*/ 0 h 65"/>
                  <a:gd name="T12" fmla="*/ 74 w 93"/>
                  <a:gd name="T13" fmla="*/ 5 h 65"/>
                  <a:gd name="T14" fmla="*/ 42 w 93"/>
                  <a:gd name="T15" fmla="*/ 24 h 65"/>
                  <a:gd name="T16" fmla="*/ 0 w 93"/>
                  <a:gd name="T17" fmla="*/ 4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65">
                    <a:moveTo>
                      <a:pt x="0" y="49"/>
                    </a:moveTo>
                    <a:cubicBezTo>
                      <a:pt x="1" y="52"/>
                      <a:pt x="3" y="55"/>
                      <a:pt x="4" y="57"/>
                    </a:cubicBezTo>
                    <a:lnTo>
                      <a:pt x="5" y="59"/>
                    </a:lnTo>
                    <a:cubicBezTo>
                      <a:pt x="6" y="61"/>
                      <a:pt x="7" y="63"/>
                      <a:pt x="9" y="65"/>
                    </a:cubicBezTo>
                    <a:lnTo>
                      <a:pt x="93" y="16"/>
                    </a:lnTo>
                    <a:cubicBezTo>
                      <a:pt x="90" y="10"/>
                      <a:pt x="87" y="5"/>
                      <a:pt x="84" y="0"/>
                    </a:cubicBezTo>
                    <a:lnTo>
                      <a:pt x="74" y="5"/>
                    </a:lnTo>
                    <a:lnTo>
                      <a:pt x="42" y="24"/>
                    </a:lnTo>
                    <a:lnTo>
                      <a:pt x="0" y="49"/>
                    </a:lnTo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122"/>
              <p:cNvSpPr>
                <a:spLocks/>
              </p:cNvSpPr>
              <p:nvPr/>
            </p:nvSpPr>
            <p:spPr bwMode="auto">
              <a:xfrm>
                <a:off x="3291" y="1772"/>
                <a:ext cx="5" cy="3"/>
              </a:xfrm>
              <a:custGeom>
                <a:avLst/>
                <a:gdLst>
                  <a:gd name="T0" fmla="*/ 10 w 10"/>
                  <a:gd name="T1" fmla="*/ 0 h 6"/>
                  <a:gd name="T2" fmla="*/ 0 w 10"/>
                  <a:gd name="T3" fmla="*/ 6 h 6"/>
                  <a:gd name="T4" fmla="*/ 10 w 10"/>
                  <a:gd name="T5" fmla="*/ 1 h 6"/>
                  <a:gd name="T6" fmla="*/ 10 w 10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6">
                    <a:moveTo>
                      <a:pt x="10" y="0"/>
                    </a:moveTo>
                    <a:cubicBezTo>
                      <a:pt x="7" y="2"/>
                      <a:pt x="4" y="4"/>
                      <a:pt x="0" y="6"/>
                    </a:cubicBezTo>
                    <a:lnTo>
                      <a:pt x="10" y="1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123"/>
              <p:cNvSpPr>
                <a:spLocks/>
              </p:cNvSpPr>
              <p:nvPr/>
            </p:nvSpPr>
            <p:spPr bwMode="auto">
              <a:xfrm>
                <a:off x="3275" y="1775"/>
                <a:ext cx="16" cy="9"/>
              </a:xfrm>
              <a:custGeom>
                <a:avLst/>
                <a:gdLst>
                  <a:gd name="T0" fmla="*/ 32 w 32"/>
                  <a:gd name="T1" fmla="*/ 0 h 19"/>
                  <a:gd name="T2" fmla="*/ 0 w 32"/>
                  <a:gd name="T3" fmla="*/ 19 h 19"/>
                  <a:gd name="T4" fmla="*/ 32 w 32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2" h="19">
                    <a:moveTo>
                      <a:pt x="32" y="0"/>
                    </a:moveTo>
                    <a:cubicBezTo>
                      <a:pt x="22" y="6"/>
                      <a:pt x="11" y="13"/>
                      <a:pt x="0" y="19"/>
                    </a:cubicBez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124"/>
              <p:cNvSpPr>
                <a:spLocks/>
              </p:cNvSpPr>
              <p:nvPr/>
            </p:nvSpPr>
            <p:spPr bwMode="auto">
              <a:xfrm>
                <a:off x="3255" y="1784"/>
                <a:ext cx="20" cy="12"/>
              </a:xfrm>
              <a:custGeom>
                <a:avLst/>
                <a:gdLst>
                  <a:gd name="T0" fmla="*/ 0 w 42"/>
                  <a:gd name="T1" fmla="*/ 25 h 25"/>
                  <a:gd name="T2" fmla="*/ 0 w 42"/>
                  <a:gd name="T3" fmla="*/ 25 h 25"/>
                  <a:gd name="T4" fmla="*/ 42 w 42"/>
                  <a:gd name="T5" fmla="*/ 0 h 25"/>
                  <a:gd name="T6" fmla="*/ 0 w 42"/>
                  <a:gd name="T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25">
                    <a:moveTo>
                      <a:pt x="0" y="25"/>
                    </a:moveTo>
                    <a:lnTo>
                      <a:pt x="0" y="25"/>
                    </a:lnTo>
                    <a:lnTo>
                      <a:pt x="42" y="0"/>
                    </a:lnTo>
                    <a:cubicBezTo>
                      <a:pt x="27" y="9"/>
                      <a:pt x="13" y="17"/>
                      <a:pt x="0" y="25"/>
                    </a:cubicBezTo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125"/>
              <p:cNvSpPr>
                <a:spLocks/>
              </p:cNvSpPr>
              <p:nvPr/>
            </p:nvSpPr>
            <p:spPr bwMode="auto">
              <a:xfrm>
                <a:off x="3262" y="1784"/>
                <a:ext cx="43" cy="27"/>
              </a:xfrm>
              <a:custGeom>
                <a:avLst/>
                <a:gdLst>
                  <a:gd name="T0" fmla="*/ 0 w 89"/>
                  <a:gd name="T1" fmla="*/ 49 h 56"/>
                  <a:gd name="T2" fmla="*/ 3 w 89"/>
                  <a:gd name="T3" fmla="*/ 53 h 56"/>
                  <a:gd name="T4" fmla="*/ 5 w 89"/>
                  <a:gd name="T5" fmla="*/ 56 h 56"/>
                  <a:gd name="T6" fmla="*/ 89 w 89"/>
                  <a:gd name="T7" fmla="*/ 7 h 56"/>
                  <a:gd name="T8" fmla="*/ 85 w 89"/>
                  <a:gd name="T9" fmla="*/ 0 h 56"/>
                  <a:gd name="T10" fmla="*/ 0 w 89"/>
                  <a:gd name="T11" fmla="*/ 49 h 56"/>
                  <a:gd name="T12" fmla="*/ 0 w 89"/>
                  <a:gd name="T13" fmla="*/ 4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9" h="56">
                    <a:moveTo>
                      <a:pt x="0" y="49"/>
                    </a:moveTo>
                    <a:lnTo>
                      <a:pt x="3" y="53"/>
                    </a:lnTo>
                    <a:lnTo>
                      <a:pt x="5" y="56"/>
                    </a:lnTo>
                    <a:lnTo>
                      <a:pt x="89" y="7"/>
                    </a:lnTo>
                    <a:cubicBezTo>
                      <a:pt x="88" y="5"/>
                      <a:pt x="86" y="3"/>
                      <a:pt x="85" y="0"/>
                    </a:cubicBezTo>
                    <a:lnTo>
                      <a:pt x="0" y="49"/>
                    </a:lnTo>
                    <a:lnTo>
                      <a:pt x="0" y="49"/>
                    </a:lnTo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126"/>
              <p:cNvSpPr>
                <a:spLocks/>
              </p:cNvSpPr>
              <p:nvPr/>
            </p:nvSpPr>
            <p:spPr bwMode="auto">
              <a:xfrm>
                <a:off x="3264" y="1787"/>
                <a:ext cx="41" cy="24"/>
              </a:xfrm>
              <a:custGeom>
                <a:avLst/>
                <a:gdLst>
                  <a:gd name="T0" fmla="*/ 0 w 41"/>
                  <a:gd name="T1" fmla="*/ 24 h 24"/>
                  <a:gd name="T2" fmla="*/ 0 w 41"/>
                  <a:gd name="T3" fmla="*/ 24 h 24"/>
                  <a:gd name="T4" fmla="*/ 41 w 41"/>
                  <a:gd name="T5" fmla="*/ 1 h 24"/>
                  <a:gd name="T6" fmla="*/ 41 w 41"/>
                  <a:gd name="T7" fmla="*/ 0 h 24"/>
                  <a:gd name="T8" fmla="*/ 0 w 41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24">
                    <a:moveTo>
                      <a:pt x="0" y="24"/>
                    </a:moveTo>
                    <a:lnTo>
                      <a:pt x="0" y="24"/>
                    </a:lnTo>
                    <a:lnTo>
                      <a:pt x="41" y="1"/>
                    </a:lnTo>
                    <a:lnTo>
                      <a:pt x="41" y="0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127"/>
              <p:cNvSpPr>
                <a:spLocks/>
              </p:cNvSpPr>
              <p:nvPr/>
            </p:nvSpPr>
            <p:spPr bwMode="auto">
              <a:xfrm>
                <a:off x="3264" y="1788"/>
                <a:ext cx="42" cy="24"/>
              </a:xfrm>
              <a:custGeom>
                <a:avLst/>
                <a:gdLst>
                  <a:gd name="T0" fmla="*/ 0 w 87"/>
                  <a:gd name="T1" fmla="*/ 49 h 51"/>
                  <a:gd name="T2" fmla="*/ 2 w 87"/>
                  <a:gd name="T3" fmla="*/ 51 h 51"/>
                  <a:gd name="T4" fmla="*/ 87 w 87"/>
                  <a:gd name="T5" fmla="*/ 2 h 51"/>
                  <a:gd name="T6" fmla="*/ 85 w 87"/>
                  <a:gd name="T7" fmla="*/ 0 h 51"/>
                  <a:gd name="T8" fmla="*/ 0 w 87"/>
                  <a:gd name="T9" fmla="*/ 4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51">
                    <a:moveTo>
                      <a:pt x="0" y="49"/>
                    </a:moveTo>
                    <a:lnTo>
                      <a:pt x="2" y="51"/>
                    </a:lnTo>
                    <a:cubicBezTo>
                      <a:pt x="30" y="35"/>
                      <a:pt x="58" y="18"/>
                      <a:pt x="87" y="2"/>
                    </a:cubicBezTo>
                    <a:lnTo>
                      <a:pt x="85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128"/>
              <p:cNvSpPr>
                <a:spLocks/>
              </p:cNvSpPr>
              <p:nvPr/>
            </p:nvSpPr>
            <p:spPr bwMode="auto">
              <a:xfrm>
                <a:off x="3265" y="1789"/>
                <a:ext cx="41" cy="23"/>
              </a:xfrm>
              <a:custGeom>
                <a:avLst/>
                <a:gdLst>
                  <a:gd name="T0" fmla="*/ 0 w 85"/>
                  <a:gd name="T1" fmla="*/ 49 h 49"/>
                  <a:gd name="T2" fmla="*/ 0 w 85"/>
                  <a:gd name="T3" fmla="*/ 49 h 49"/>
                  <a:gd name="T4" fmla="*/ 0 w 85"/>
                  <a:gd name="T5" fmla="*/ 49 h 49"/>
                  <a:gd name="T6" fmla="*/ 84 w 85"/>
                  <a:gd name="T7" fmla="*/ 0 h 49"/>
                  <a:gd name="T8" fmla="*/ 85 w 85"/>
                  <a:gd name="T9" fmla="*/ 0 h 49"/>
                  <a:gd name="T10" fmla="*/ 85 w 85"/>
                  <a:gd name="T11" fmla="*/ 0 h 49"/>
                  <a:gd name="T12" fmla="*/ 0 w 85"/>
                  <a:gd name="T1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" h="49">
                    <a:moveTo>
                      <a:pt x="0" y="49"/>
                    </a:moveTo>
                    <a:lnTo>
                      <a:pt x="0" y="49"/>
                    </a:lnTo>
                    <a:lnTo>
                      <a:pt x="0" y="49"/>
                    </a:lnTo>
                    <a:cubicBezTo>
                      <a:pt x="29" y="33"/>
                      <a:pt x="56" y="17"/>
                      <a:pt x="84" y="0"/>
                    </a:cubicBezTo>
                    <a:lnTo>
                      <a:pt x="85" y="0"/>
                    </a:lnTo>
                    <a:lnTo>
                      <a:pt x="85" y="0"/>
                    </a:lnTo>
                    <a:cubicBezTo>
                      <a:pt x="56" y="16"/>
                      <a:pt x="28" y="33"/>
                      <a:pt x="0" y="49"/>
                    </a:cubicBezTo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129"/>
              <p:cNvSpPr>
                <a:spLocks/>
              </p:cNvSpPr>
              <p:nvPr/>
            </p:nvSpPr>
            <p:spPr bwMode="auto">
              <a:xfrm>
                <a:off x="3265" y="1789"/>
                <a:ext cx="41" cy="24"/>
              </a:xfrm>
              <a:custGeom>
                <a:avLst/>
                <a:gdLst>
                  <a:gd name="T0" fmla="*/ 0 w 85"/>
                  <a:gd name="T1" fmla="*/ 49 h 50"/>
                  <a:gd name="T2" fmla="*/ 1 w 85"/>
                  <a:gd name="T3" fmla="*/ 49 h 50"/>
                  <a:gd name="T4" fmla="*/ 1 w 85"/>
                  <a:gd name="T5" fmla="*/ 50 h 50"/>
                  <a:gd name="T6" fmla="*/ 1 w 85"/>
                  <a:gd name="T7" fmla="*/ 50 h 50"/>
                  <a:gd name="T8" fmla="*/ 1 w 85"/>
                  <a:gd name="T9" fmla="*/ 49 h 50"/>
                  <a:gd name="T10" fmla="*/ 85 w 85"/>
                  <a:gd name="T11" fmla="*/ 0 h 50"/>
                  <a:gd name="T12" fmla="*/ 85 w 85"/>
                  <a:gd name="T13" fmla="*/ 0 h 50"/>
                  <a:gd name="T14" fmla="*/ 84 w 85"/>
                  <a:gd name="T15" fmla="*/ 0 h 50"/>
                  <a:gd name="T16" fmla="*/ 0 w 85"/>
                  <a:gd name="T17" fmla="*/ 49 h 50"/>
                  <a:gd name="T18" fmla="*/ 0 w 85"/>
                  <a:gd name="T19" fmla="*/ 49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5" h="50">
                    <a:moveTo>
                      <a:pt x="0" y="49"/>
                    </a:moveTo>
                    <a:lnTo>
                      <a:pt x="1" y="49"/>
                    </a:lnTo>
                    <a:lnTo>
                      <a:pt x="1" y="50"/>
                    </a:lnTo>
                    <a:lnTo>
                      <a:pt x="1" y="50"/>
                    </a:lnTo>
                    <a:lnTo>
                      <a:pt x="1" y="49"/>
                    </a:lnTo>
                    <a:cubicBezTo>
                      <a:pt x="29" y="33"/>
                      <a:pt x="57" y="17"/>
                      <a:pt x="85" y="0"/>
                    </a:cubicBezTo>
                    <a:lnTo>
                      <a:pt x="85" y="0"/>
                    </a:lnTo>
                    <a:lnTo>
                      <a:pt x="84" y="0"/>
                    </a:lnTo>
                    <a:cubicBezTo>
                      <a:pt x="56" y="17"/>
                      <a:pt x="29" y="33"/>
                      <a:pt x="0" y="49"/>
                    </a:cubicBezTo>
                    <a:lnTo>
                      <a:pt x="0" y="49"/>
                    </a:lnTo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130"/>
              <p:cNvSpPr>
                <a:spLocks/>
              </p:cNvSpPr>
              <p:nvPr/>
            </p:nvSpPr>
            <p:spPr bwMode="auto">
              <a:xfrm>
                <a:off x="3266" y="1789"/>
                <a:ext cx="40" cy="24"/>
              </a:xfrm>
              <a:custGeom>
                <a:avLst/>
                <a:gdLst>
                  <a:gd name="T0" fmla="*/ 0 w 84"/>
                  <a:gd name="T1" fmla="*/ 50 h 50"/>
                  <a:gd name="T2" fmla="*/ 0 w 84"/>
                  <a:gd name="T3" fmla="*/ 50 h 50"/>
                  <a:gd name="T4" fmla="*/ 0 w 84"/>
                  <a:gd name="T5" fmla="*/ 50 h 50"/>
                  <a:gd name="T6" fmla="*/ 84 w 84"/>
                  <a:gd name="T7" fmla="*/ 1 h 50"/>
                  <a:gd name="T8" fmla="*/ 84 w 84"/>
                  <a:gd name="T9" fmla="*/ 1 h 50"/>
                  <a:gd name="T10" fmla="*/ 84 w 84"/>
                  <a:gd name="T11" fmla="*/ 0 h 50"/>
                  <a:gd name="T12" fmla="*/ 0 w 84"/>
                  <a:gd name="T13" fmla="*/ 49 h 50"/>
                  <a:gd name="T14" fmla="*/ 0 w 84"/>
                  <a:gd name="T15" fmla="*/ 50 h 50"/>
                  <a:gd name="T16" fmla="*/ 0 w 84"/>
                  <a:gd name="T17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4" h="50">
                    <a:moveTo>
                      <a:pt x="0" y="50"/>
                    </a:moveTo>
                    <a:lnTo>
                      <a:pt x="0" y="50"/>
                    </a:lnTo>
                    <a:lnTo>
                      <a:pt x="0" y="50"/>
                    </a:lnTo>
                    <a:cubicBezTo>
                      <a:pt x="28" y="34"/>
                      <a:pt x="56" y="17"/>
                      <a:pt x="84" y="1"/>
                    </a:cubicBezTo>
                    <a:lnTo>
                      <a:pt x="84" y="1"/>
                    </a:lnTo>
                    <a:lnTo>
                      <a:pt x="84" y="0"/>
                    </a:lnTo>
                    <a:cubicBezTo>
                      <a:pt x="56" y="17"/>
                      <a:pt x="28" y="33"/>
                      <a:pt x="0" y="49"/>
                    </a:cubicBez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131"/>
              <p:cNvSpPr>
                <a:spLocks/>
              </p:cNvSpPr>
              <p:nvPr/>
            </p:nvSpPr>
            <p:spPr bwMode="auto">
              <a:xfrm>
                <a:off x="3266" y="1789"/>
                <a:ext cx="42" cy="25"/>
              </a:xfrm>
              <a:custGeom>
                <a:avLst/>
                <a:gdLst>
                  <a:gd name="T0" fmla="*/ 0 w 87"/>
                  <a:gd name="T1" fmla="*/ 49 h 52"/>
                  <a:gd name="T2" fmla="*/ 0 w 87"/>
                  <a:gd name="T3" fmla="*/ 49 h 52"/>
                  <a:gd name="T4" fmla="*/ 3 w 87"/>
                  <a:gd name="T5" fmla="*/ 52 h 52"/>
                  <a:gd name="T6" fmla="*/ 3 w 87"/>
                  <a:gd name="T7" fmla="*/ 52 h 52"/>
                  <a:gd name="T8" fmla="*/ 87 w 87"/>
                  <a:gd name="T9" fmla="*/ 3 h 52"/>
                  <a:gd name="T10" fmla="*/ 84 w 87"/>
                  <a:gd name="T11" fmla="*/ 0 h 52"/>
                  <a:gd name="T12" fmla="*/ 84 w 87"/>
                  <a:gd name="T13" fmla="*/ 0 h 52"/>
                  <a:gd name="T14" fmla="*/ 0 w 87"/>
                  <a:gd name="T15" fmla="*/ 49 h 52"/>
                  <a:gd name="T16" fmla="*/ 0 w 87"/>
                  <a:gd name="T17" fmla="*/ 49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52">
                    <a:moveTo>
                      <a:pt x="0" y="49"/>
                    </a:moveTo>
                    <a:lnTo>
                      <a:pt x="0" y="49"/>
                    </a:lnTo>
                    <a:lnTo>
                      <a:pt x="3" y="52"/>
                    </a:lnTo>
                    <a:lnTo>
                      <a:pt x="3" y="52"/>
                    </a:lnTo>
                    <a:lnTo>
                      <a:pt x="87" y="3"/>
                    </a:lnTo>
                    <a:lnTo>
                      <a:pt x="84" y="0"/>
                    </a:lnTo>
                    <a:lnTo>
                      <a:pt x="84" y="0"/>
                    </a:lnTo>
                    <a:cubicBezTo>
                      <a:pt x="56" y="16"/>
                      <a:pt x="28" y="33"/>
                      <a:pt x="0" y="49"/>
                    </a:cubicBez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132"/>
              <p:cNvSpPr>
                <a:spLocks/>
              </p:cNvSpPr>
              <p:nvPr/>
            </p:nvSpPr>
            <p:spPr bwMode="auto">
              <a:xfrm>
                <a:off x="3267" y="1790"/>
                <a:ext cx="41" cy="24"/>
              </a:xfrm>
              <a:custGeom>
                <a:avLst/>
                <a:gdLst>
                  <a:gd name="T0" fmla="*/ 0 w 41"/>
                  <a:gd name="T1" fmla="*/ 24 h 24"/>
                  <a:gd name="T2" fmla="*/ 0 w 41"/>
                  <a:gd name="T3" fmla="*/ 24 h 24"/>
                  <a:gd name="T4" fmla="*/ 1 w 41"/>
                  <a:gd name="T5" fmla="*/ 24 h 24"/>
                  <a:gd name="T6" fmla="*/ 1 w 41"/>
                  <a:gd name="T7" fmla="*/ 24 h 24"/>
                  <a:gd name="T8" fmla="*/ 41 w 41"/>
                  <a:gd name="T9" fmla="*/ 1 h 24"/>
                  <a:gd name="T10" fmla="*/ 41 w 41"/>
                  <a:gd name="T11" fmla="*/ 0 h 24"/>
                  <a:gd name="T12" fmla="*/ 0 w 41"/>
                  <a:gd name="T13" fmla="*/ 24 h 24"/>
                  <a:gd name="T14" fmla="*/ 0 w 41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24">
                    <a:moveTo>
                      <a:pt x="0" y="24"/>
                    </a:moveTo>
                    <a:lnTo>
                      <a:pt x="0" y="24"/>
                    </a:lnTo>
                    <a:lnTo>
                      <a:pt x="1" y="24"/>
                    </a:lnTo>
                    <a:lnTo>
                      <a:pt x="1" y="24"/>
                    </a:lnTo>
                    <a:lnTo>
                      <a:pt x="41" y="1"/>
                    </a:lnTo>
                    <a:lnTo>
                      <a:pt x="41" y="0"/>
                    </a:lnTo>
                    <a:lnTo>
                      <a:pt x="0" y="2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133"/>
              <p:cNvSpPr>
                <a:spLocks/>
              </p:cNvSpPr>
              <p:nvPr/>
            </p:nvSpPr>
            <p:spPr bwMode="auto">
              <a:xfrm>
                <a:off x="3252" y="1764"/>
                <a:ext cx="44" cy="32"/>
              </a:xfrm>
              <a:custGeom>
                <a:avLst/>
                <a:gdLst>
                  <a:gd name="T0" fmla="*/ 1 w 91"/>
                  <a:gd name="T1" fmla="*/ 51 h 66"/>
                  <a:gd name="T2" fmla="*/ 3 w 91"/>
                  <a:gd name="T3" fmla="*/ 57 h 66"/>
                  <a:gd name="T4" fmla="*/ 4 w 91"/>
                  <a:gd name="T5" fmla="*/ 60 h 66"/>
                  <a:gd name="T6" fmla="*/ 6 w 91"/>
                  <a:gd name="T7" fmla="*/ 64 h 66"/>
                  <a:gd name="T8" fmla="*/ 49 w 91"/>
                  <a:gd name="T9" fmla="*/ 41 h 66"/>
                  <a:gd name="T10" fmla="*/ 91 w 91"/>
                  <a:gd name="T11" fmla="*/ 16 h 66"/>
                  <a:gd name="T12" fmla="*/ 84 w 91"/>
                  <a:gd name="T13" fmla="*/ 0 h 66"/>
                  <a:gd name="T14" fmla="*/ 84 w 91"/>
                  <a:gd name="T15" fmla="*/ 0 h 66"/>
                  <a:gd name="T16" fmla="*/ 82 w 91"/>
                  <a:gd name="T17" fmla="*/ 1 h 66"/>
                  <a:gd name="T18" fmla="*/ 78 w 91"/>
                  <a:gd name="T19" fmla="*/ 3 h 66"/>
                  <a:gd name="T20" fmla="*/ 77 w 91"/>
                  <a:gd name="T21" fmla="*/ 4 h 66"/>
                  <a:gd name="T22" fmla="*/ 77 w 91"/>
                  <a:gd name="T23" fmla="*/ 4 h 66"/>
                  <a:gd name="T24" fmla="*/ 74 w 91"/>
                  <a:gd name="T25" fmla="*/ 5 h 66"/>
                  <a:gd name="T26" fmla="*/ 73 w 91"/>
                  <a:gd name="T27" fmla="*/ 6 h 66"/>
                  <a:gd name="T28" fmla="*/ 72 w 91"/>
                  <a:gd name="T29" fmla="*/ 7 h 66"/>
                  <a:gd name="T30" fmla="*/ 71 w 91"/>
                  <a:gd name="T31" fmla="*/ 7 h 66"/>
                  <a:gd name="T32" fmla="*/ 67 w 91"/>
                  <a:gd name="T33" fmla="*/ 10 h 66"/>
                  <a:gd name="T34" fmla="*/ 66 w 91"/>
                  <a:gd name="T35" fmla="*/ 10 h 66"/>
                  <a:gd name="T36" fmla="*/ 59 w 91"/>
                  <a:gd name="T37" fmla="*/ 14 h 66"/>
                  <a:gd name="T38" fmla="*/ 55 w 91"/>
                  <a:gd name="T39" fmla="*/ 16 h 66"/>
                  <a:gd name="T40" fmla="*/ 53 w 91"/>
                  <a:gd name="T41" fmla="*/ 18 h 66"/>
                  <a:gd name="T42" fmla="*/ 42 w 91"/>
                  <a:gd name="T43" fmla="*/ 24 h 66"/>
                  <a:gd name="T44" fmla="*/ 41 w 91"/>
                  <a:gd name="T45" fmla="*/ 25 h 66"/>
                  <a:gd name="T46" fmla="*/ 38 w 91"/>
                  <a:gd name="T47" fmla="*/ 26 h 66"/>
                  <a:gd name="T48" fmla="*/ 38 w 91"/>
                  <a:gd name="T49" fmla="*/ 26 h 66"/>
                  <a:gd name="T50" fmla="*/ 36 w 91"/>
                  <a:gd name="T51" fmla="*/ 27 h 66"/>
                  <a:gd name="T52" fmla="*/ 36 w 91"/>
                  <a:gd name="T53" fmla="*/ 28 h 66"/>
                  <a:gd name="T54" fmla="*/ 35 w 91"/>
                  <a:gd name="T55" fmla="*/ 28 h 66"/>
                  <a:gd name="T56" fmla="*/ 30 w 91"/>
                  <a:gd name="T57" fmla="*/ 31 h 66"/>
                  <a:gd name="T58" fmla="*/ 28 w 91"/>
                  <a:gd name="T59" fmla="*/ 32 h 66"/>
                  <a:gd name="T60" fmla="*/ 24 w 91"/>
                  <a:gd name="T61" fmla="*/ 35 h 66"/>
                  <a:gd name="T62" fmla="*/ 23 w 91"/>
                  <a:gd name="T63" fmla="*/ 35 h 66"/>
                  <a:gd name="T64" fmla="*/ 20 w 91"/>
                  <a:gd name="T65" fmla="*/ 37 h 66"/>
                  <a:gd name="T66" fmla="*/ 17 w 91"/>
                  <a:gd name="T67" fmla="*/ 38 h 66"/>
                  <a:gd name="T68" fmla="*/ 17 w 91"/>
                  <a:gd name="T69" fmla="*/ 39 h 66"/>
                  <a:gd name="T70" fmla="*/ 15 w 91"/>
                  <a:gd name="T71" fmla="*/ 40 h 66"/>
                  <a:gd name="T72" fmla="*/ 15 w 91"/>
                  <a:gd name="T73" fmla="*/ 40 h 66"/>
                  <a:gd name="T74" fmla="*/ 12 w 91"/>
                  <a:gd name="T75" fmla="*/ 41 h 66"/>
                  <a:gd name="T76" fmla="*/ 12 w 91"/>
                  <a:gd name="T77" fmla="*/ 42 h 66"/>
                  <a:gd name="T78" fmla="*/ 11 w 91"/>
                  <a:gd name="T79" fmla="*/ 42 h 66"/>
                  <a:gd name="T80" fmla="*/ 10 w 91"/>
                  <a:gd name="T81" fmla="*/ 43 h 66"/>
                  <a:gd name="T82" fmla="*/ 7 w 91"/>
                  <a:gd name="T83" fmla="*/ 44 h 66"/>
                  <a:gd name="T84" fmla="*/ 2 w 91"/>
                  <a:gd name="T85" fmla="*/ 47 h 66"/>
                  <a:gd name="T86" fmla="*/ 0 w 91"/>
                  <a:gd name="T87" fmla="*/ 4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1" h="66">
                    <a:moveTo>
                      <a:pt x="0" y="49"/>
                    </a:moveTo>
                    <a:lnTo>
                      <a:pt x="1" y="51"/>
                    </a:lnTo>
                    <a:lnTo>
                      <a:pt x="1" y="53"/>
                    </a:lnTo>
                    <a:lnTo>
                      <a:pt x="3" y="57"/>
                    </a:lnTo>
                    <a:lnTo>
                      <a:pt x="4" y="59"/>
                    </a:lnTo>
                    <a:lnTo>
                      <a:pt x="4" y="60"/>
                    </a:lnTo>
                    <a:lnTo>
                      <a:pt x="6" y="64"/>
                    </a:lnTo>
                    <a:lnTo>
                      <a:pt x="6" y="64"/>
                    </a:lnTo>
                    <a:lnTo>
                      <a:pt x="7" y="66"/>
                    </a:lnTo>
                    <a:cubicBezTo>
                      <a:pt x="20" y="58"/>
                      <a:pt x="34" y="50"/>
                      <a:pt x="49" y="41"/>
                    </a:cubicBezTo>
                    <a:cubicBezTo>
                      <a:pt x="60" y="35"/>
                      <a:pt x="71" y="28"/>
                      <a:pt x="81" y="22"/>
                    </a:cubicBezTo>
                    <a:cubicBezTo>
                      <a:pt x="85" y="20"/>
                      <a:pt x="88" y="18"/>
                      <a:pt x="91" y="16"/>
                    </a:cubicBezTo>
                    <a:cubicBezTo>
                      <a:pt x="90" y="14"/>
                      <a:pt x="89" y="11"/>
                      <a:pt x="88" y="9"/>
                    </a:cubicBezTo>
                    <a:cubicBezTo>
                      <a:pt x="87" y="6"/>
                      <a:pt x="86" y="3"/>
                      <a:pt x="84" y="0"/>
                    </a:cubicBezTo>
                    <a:lnTo>
                      <a:pt x="84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2" y="1"/>
                    </a:lnTo>
                    <a:lnTo>
                      <a:pt x="79" y="2"/>
                    </a:lnTo>
                    <a:lnTo>
                      <a:pt x="78" y="3"/>
                    </a:lnTo>
                    <a:lnTo>
                      <a:pt x="78" y="3"/>
                    </a:lnTo>
                    <a:lnTo>
                      <a:pt x="77" y="4"/>
                    </a:lnTo>
                    <a:lnTo>
                      <a:pt x="77" y="4"/>
                    </a:lnTo>
                    <a:lnTo>
                      <a:pt x="77" y="4"/>
                    </a:lnTo>
                    <a:lnTo>
                      <a:pt x="76" y="4"/>
                    </a:lnTo>
                    <a:lnTo>
                      <a:pt x="74" y="5"/>
                    </a:lnTo>
                    <a:lnTo>
                      <a:pt x="74" y="6"/>
                    </a:lnTo>
                    <a:lnTo>
                      <a:pt x="73" y="6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1" y="7"/>
                    </a:lnTo>
                    <a:lnTo>
                      <a:pt x="71" y="7"/>
                    </a:lnTo>
                    <a:lnTo>
                      <a:pt x="67" y="9"/>
                    </a:lnTo>
                    <a:lnTo>
                      <a:pt x="67" y="10"/>
                    </a:lnTo>
                    <a:lnTo>
                      <a:pt x="67" y="10"/>
                    </a:lnTo>
                    <a:lnTo>
                      <a:pt x="66" y="10"/>
                    </a:lnTo>
                    <a:lnTo>
                      <a:pt x="62" y="12"/>
                    </a:lnTo>
                    <a:lnTo>
                      <a:pt x="59" y="14"/>
                    </a:lnTo>
                    <a:lnTo>
                      <a:pt x="57" y="15"/>
                    </a:lnTo>
                    <a:lnTo>
                      <a:pt x="55" y="16"/>
                    </a:lnTo>
                    <a:lnTo>
                      <a:pt x="53" y="18"/>
                    </a:lnTo>
                    <a:lnTo>
                      <a:pt x="53" y="18"/>
                    </a:lnTo>
                    <a:lnTo>
                      <a:pt x="53" y="18"/>
                    </a:lnTo>
                    <a:lnTo>
                      <a:pt x="42" y="24"/>
                    </a:lnTo>
                    <a:lnTo>
                      <a:pt x="41" y="25"/>
                    </a:lnTo>
                    <a:lnTo>
                      <a:pt x="41" y="25"/>
                    </a:lnTo>
                    <a:lnTo>
                      <a:pt x="39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7" y="27"/>
                    </a:lnTo>
                    <a:lnTo>
                      <a:pt x="36" y="27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5" y="28"/>
                    </a:lnTo>
                    <a:lnTo>
                      <a:pt x="35" y="28"/>
                    </a:lnTo>
                    <a:lnTo>
                      <a:pt x="32" y="30"/>
                    </a:lnTo>
                    <a:lnTo>
                      <a:pt x="30" y="31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7" y="33"/>
                    </a:lnTo>
                    <a:lnTo>
                      <a:pt x="24" y="35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2" y="36"/>
                    </a:lnTo>
                    <a:lnTo>
                      <a:pt x="20" y="37"/>
                    </a:lnTo>
                    <a:lnTo>
                      <a:pt x="20" y="37"/>
                    </a:lnTo>
                    <a:lnTo>
                      <a:pt x="17" y="38"/>
                    </a:lnTo>
                    <a:lnTo>
                      <a:pt x="17" y="39"/>
                    </a:lnTo>
                    <a:lnTo>
                      <a:pt x="17" y="39"/>
                    </a:lnTo>
                    <a:lnTo>
                      <a:pt x="15" y="39"/>
                    </a:lnTo>
                    <a:lnTo>
                      <a:pt x="15" y="40"/>
                    </a:lnTo>
                    <a:lnTo>
                      <a:pt x="15" y="40"/>
                    </a:lnTo>
                    <a:lnTo>
                      <a:pt x="15" y="40"/>
                    </a:lnTo>
                    <a:lnTo>
                      <a:pt x="14" y="41"/>
                    </a:lnTo>
                    <a:lnTo>
                      <a:pt x="12" y="41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1" y="42"/>
                    </a:lnTo>
                    <a:lnTo>
                      <a:pt x="11" y="42"/>
                    </a:lnTo>
                    <a:lnTo>
                      <a:pt x="11" y="42"/>
                    </a:lnTo>
                    <a:lnTo>
                      <a:pt x="10" y="43"/>
                    </a:lnTo>
                    <a:lnTo>
                      <a:pt x="8" y="44"/>
                    </a:lnTo>
                    <a:lnTo>
                      <a:pt x="7" y="44"/>
                    </a:lnTo>
                    <a:lnTo>
                      <a:pt x="7" y="44"/>
                    </a:lnTo>
                    <a:cubicBezTo>
                      <a:pt x="5" y="45"/>
                      <a:pt x="4" y="46"/>
                      <a:pt x="2" y="47"/>
                    </a:cubicBezTo>
                    <a:lnTo>
                      <a:pt x="0" y="49"/>
                    </a:lnTo>
                    <a:lnTo>
                      <a:pt x="0" y="49"/>
                    </a:lnTo>
                    <a:lnTo>
                      <a:pt x="0" y="49"/>
                    </a:lnTo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134"/>
              <p:cNvSpPr>
                <a:spLocks/>
              </p:cNvSpPr>
              <p:nvPr/>
            </p:nvSpPr>
            <p:spPr bwMode="auto">
              <a:xfrm>
                <a:off x="3252" y="1764"/>
                <a:ext cx="40" cy="24"/>
              </a:xfrm>
              <a:custGeom>
                <a:avLst/>
                <a:gdLst>
                  <a:gd name="T0" fmla="*/ 42 w 84"/>
                  <a:gd name="T1" fmla="*/ 24 h 49"/>
                  <a:gd name="T2" fmla="*/ 23 w 84"/>
                  <a:gd name="T3" fmla="*/ 35 h 49"/>
                  <a:gd name="T4" fmla="*/ 15 w 84"/>
                  <a:gd name="T5" fmla="*/ 40 h 49"/>
                  <a:gd name="T6" fmla="*/ 12 w 84"/>
                  <a:gd name="T7" fmla="*/ 41 h 49"/>
                  <a:gd name="T8" fmla="*/ 0 w 84"/>
                  <a:gd name="T9" fmla="*/ 49 h 49"/>
                  <a:gd name="T10" fmla="*/ 0 w 84"/>
                  <a:gd name="T11" fmla="*/ 49 h 49"/>
                  <a:gd name="T12" fmla="*/ 84 w 84"/>
                  <a:gd name="T13" fmla="*/ 0 h 49"/>
                  <a:gd name="T14" fmla="*/ 84 w 84"/>
                  <a:gd name="T15" fmla="*/ 0 h 49"/>
                  <a:gd name="T16" fmla="*/ 42 w 84"/>
                  <a:gd name="T17" fmla="*/ 2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4" h="49">
                    <a:moveTo>
                      <a:pt x="42" y="24"/>
                    </a:moveTo>
                    <a:cubicBezTo>
                      <a:pt x="36" y="28"/>
                      <a:pt x="29" y="31"/>
                      <a:pt x="23" y="35"/>
                    </a:cubicBezTo>
                    <a:cubicBezTo>
                      <a:pt x="20" y="37"/>
                      <a:pt x="17" y="38"/>
                      <a:pt x="15" y="40"/>
                    </a:cubicBezTo>
                    <a:lnTo>
                      <a:pt x="12" y="41"/>
                    </a:lnTo>
                    <a:cubicBezTo>
                      <a:pt x="8" y="44"/>
                      <a:pt x="4" y="46"/>
                      <a:pt x="0" y="49"/>
                    </a:cubicBezTo>
                    <a:lnTo>
                      <a:pt x="0" y="49"/>
                    </a:lnTo>
                    <a:cubicBezTo>
                      <a:pt x="28" y="32"/>
                      <a:pt x="56" y="16"/>
                      <a:pt x="84" y="0"/>
                    </a:cubicBezTo>
                    <a:lnTo>
                      <a:pt x="84" y="0"/>
                    </a:lnTo>
                    <a:cubicBezTo>
                      <a:pt x="70" y="8"/>
                      <a:pt x="56" y="16"/>
                      <a:pt x="42" y="24"/>
                    </a:cubicBezTo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135"/>
              <p:cNvSpPr>
                <a:spLocks/>
              </p:cNvSpPr>
              <p:nvPr/>
            </p:nvSpPr>
            <p:spPr bwMode="auto">
              <a:xfrm>
                <a:off x="3268" y="1791"/>
                <a:ext cx="43" cy="27"/>
              </a:xfrm>
              <a:custGeom>
                <a:avLst/>
                <a:gdLst>
                  <a:gd name="T0" fmla="*/ 0 w 89"/>
                  <a:gd name="T1" fmla="*/ 49 h 56"/>
                  <a:gd name="T2" fmla="*/ 0 w 89"/>
                  <a:gd name="T3" fmla="*/ 50 h 56"/>
                  <a:gd name="T4" fmla="*/ 5 w 89"/>
                  <a:gd name="T5" fmla="*/ 56 h 56"/>
                  <a:gd name="T6" fmla="*/ 16 w 89"/>
                  <a:gd name="T7" fmla="*/ 49 h 56"/>
                  <a:gd name="T8" fmla="*/ 32 w 89"/>
                  <a:gd name="T9" fmla="*/ 40 h 56"/>
                  <a:gd name="T10" fmla="*/ 36 w 89"/>
                  <a:gd name="T11" fmla="*/ 38 h 56"/>
                  <a:gd name="T12" fmla="*/ 57 w 89"/>
                  <a:gd name="T13" fmla="*/ 25 h 56"/>
                  <a:gd name="T14" fmla="*/ 60 w 89"/>
                  <a:gd name="T15" fmla="*/ 24 h 56"/>
                  <a:gd name="T16" fmla="*/ 69 w 89"/>
                  <a:gd name="T17" fmla="*/ 18 h 56"/>
                  <a:gd name="T18" fmla="*/ 80 w 89"/>
                  <a:gd name="T19" fmla="*/ 12 h 56"/>
                  <a:gd name="T20" fmla="*/ 89 w 89"/>
                  <a:gd name="T21" fmla="*/ 7 h 56"/>
                  <a:gd name="T22" fmla="*/ 85 w 89"/>
                  <a:gd name="T23" fmla="*/ 1 h 56"/>
                  <a:gd name="T24" fmla="*/ 84 w 89"/>
                  <a:gd name="T25" fmla="*/ 0 h 56"/>
                  <a:gd name="T26" fmla="*/ 0 w 89"/>
                  <a:gd name="T27" fmla="*/ 49 h 56"/>
                  <a:gd name="T28" fmla="*/ 0 w 89"/>
                  <a:gd name="T29" fmla="*/ 4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9" h="56">
                    <a:moveTo>
                      <a:pt x="0" y="49"/>
                    </a:moveTo>
                    <a:lnTo>
                      <a:pt x="0" y="50"/>
                    </a:lnTo>
                    <a:cubicBezTo>
                      <a:pt x="2" y="52"/>
                      <a:pt x="3" y="54"/>
                      <a:pt x="5" y="56"/>
                    </a:cubicBezTo>
                    <a:lnTo>
                      <a:pt x="16" y="49"/>
                    </a:lnTo>
                    <a:cubicBezTo>
                      <a:pt x="22" y="46"/>
                      <a:pt x="27" y="43"/>
                      <a:pt x="32" y="40"/>
                    </a:cubicBezTo>
                    <a:lnTo>
                      <a:pt x="36" y="38"/>
                    </a:lnTo>
                    <a:cubicBezTo>
                      <a:pt x="43" y="34"/>
                      <a:pt x="50" y="30"/>
                      <a:pt x="57" y="25"/>
                    </a:cubicBezTo>
                    <a:lnTo>
                      <a:pt x="60" y="24"/>
                    </a:lnTo>
                    <a:cubicBezTo>
                      <a:pt x="63" y="22"/>
                      <a:pt x="66" y="20"/>
                      <a:pt x="69" y="18"/>
                    </a:cubicBezTo>
                    <a:cubicBezTo>
                      <a:pt x="73" y="16"/>
                      <a:pt x="76" y="14"/>
                      <a:pt x="80" y="12"/>
                    </a:cubicBezTo>
                    <a:lnTo>
                      <a:pt x="89" y="7"/>
                    </a:lnTo>
                    <a:cubicBezTo>
                      <a:pt x="88" y="5"/>
                      <a:pt x="86" y="3"/>
                      <a:pt x="85" y="1"/>
                    </a:cubicBezTo>
                    <a:lnTo>
                      <a:pt x="84" y="0"/>
                    </a:lnTo>
                    <a:lnTo>
                      <a:pt x="0" y="49"/>
                    </a:lnTo>
                    <a:lnTo>
                      <a:pt x="0" y="49"/>
                    </a:lnTo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136"/>
              <p:cNvSpPr>
                <a:spLocks/>
              </p:cNvSpPr>
              <p:nvPr/>
            </p:nvSpPr>
            <p:spPr bwMode="auto">
              <a:xfrm>
                <a:off x="3252" y="1764"/>
                <a:ext cx="74" cy="66"/>
              </a:xfrm>
              <a:custGeom>
                <a:avLst/>
                <a:gdLst>
                  <a:gd name="T0" fmla="*/ 0 w 155"/>
                  <a:gd name="T1" fmla="*/ 49 h 138"/>
                  <a:gd name="T2" fmla="*/ 2 w 155"/>
                  <a:gd name="T3" fmla="*/ 55 h 138"/>
                  <a:gd name="T4" fmla="*/ 6 w 155"/>
                  <a:gd name="T5" fmla="*/ 64 h 138"/>
                  <a:gd name="T6" fmla="*/ 7 w 155"/>
                  <a:gd name="T7" fmla="*/ 66 h 138"/>
                  <a:gd name="T8" fmla="*/ 16 w 155"/>
                  <a:gd name="T9" fmla="*/ 82 h 138"/>
                  <a:gd name="T10" fmla="*/ 16 w 155"/>
                  <a:gd name="T11" fmla="*/ 82 h 138"/>
                  <a:gd name="T12" fmla="*/ 21 w 155"/>
                  <a:gd name="T13" fmla="*/ 90 h 138"/>
                  <a:gd name="T14" fmla="*/ 26 w 155"/>
                  <a:gd name="T15" fmla="*/ 97 h 138"/>
                  <a:gd name="T16" fmla="*/ 28 w 155"/>
                  <a:gd name="T17" fmla="*/ 100 h 138"/>
                  <a:gd name="T18" fmla="*/ 29 w 155"/>
                  <a:gd name="T19" fmla="*/ 101 h 138"/>
                  <a:gd name="T20" fmla="*/ 29 w 155"/>
                  <a:gd name="T21" fmla="*/ 101 h 138"/>
                  <a:gd name="T22" fmla="*/ 32 w 155"/>
                  <a:gd name="T23" fmla="*/ 104 h 138"/>
                  <a:gd name="T24" fmla="*/ 33 w 155"/>
                  <a:gd name="T25" fmla="*/ 106 h 138"/>
                  <a:gd name="T26" fmla="*/ 77 w 155"/>
                  <a:gd name="T27" fmla="*/ 134 h 138"/>
                  <a:gd name="T28" fmla="*/ 118 w 155"/>
                  <a:gd name="T29" fmla="*/ 57 h 138"/>
                  <a:gd name="T30" fmla="*/ 111 w 155"/>
                  <a:gd name="T31" fmla="*/ 49 h 138"/>
                  <a:gd name="T32" fmla="*/ 105 w 155"/>
                  <a:gd name="T33" fmla="*/ 41 h 138"/>
                  <a:gd name="T34" fmla="*/ 100 w 155"/>
                  <a:gd name="T35" fmla="*/ 33 h 138"/>
                  <a:gd name="T36" fmla="*/ 88 w 155"/>
                  <a:gd name="T37" fmla="*/ 9 h 138"/>
                  <a:gd name="T38" fmla="*/ 84 w 155"/>
                  <a:gd name="T39" fmla="*/ 0 h 138"/>
                  <a:gd name="T40" fmla="*/ 79 w 155"/>
                  <a:gd name="T41" fmla="*/ 2 h 138"/>
                  <a:gd name="T42" fmla="*/ 77 w 155"/>
                  <a:gd name="T43" fmla="*/ 4 h 138"/>
                  <a:gd name="T44" fmla="*/ 76 w 155"/>
                  <a:gd name="T45" fmla="*/ 4 h 138"/>
                  <a:gd name="T46" fmla="*/ 73 w 155"/>
                  <a:gd name="T47" fmla="*/ 6 h 138"/>
                  <a:gd name="T48" fmla="*/ 71 w 155"/>
                  <a:gd name="T49" fmla="*/ 7 h 138"/>
                  <a:gd name="T50" fmla="*/ 67 w 155"/>
                  <a:gd name="T51" fmla="*/ 10 h 138"/>
                  <a:gd name="T52" fmla="*/ 62 w 155"/>
                  <a:gd name="T53" fmla="*/ 12 h 138"/>
                  <a:gd name="T54" fmla="*/ 58 w 155"/>
                  <a:gd name="T55" fmla="*/ 15 h 138"/>
                  <a:gd name="T56" fmla="*/ 53 w 155"/>
                  <a:gd name="T57" fmla="*/ 18 h 138"/>
                  <a:gd name="T58" fmla="*/ 42 w 155"/>
                  <a:gd name="T59" fmla="*/ 24 h 138"/>
                  <a:gd name="T60" fmla="*/ 41 w 155"/>
                  <a:gd name="T61" fmla="*/ 25 h 138"/>
                  <a:gd name="T62" fmla="*/ 38 w 155"/>
                  <a:gd name="T63" fmla="*/ 26 h 138"/>
                  <a:gd name="T64" fmla="*/ 36 w 155"/>
                  <a:gd name="T65" fmla="*/ 27 h 138"/>
                  <a:gd name="T66" fmla="*/ 35 w 155"/>
                  <a:gd name="T67" fmla="*/ 28 h 138"/>
                  <a:gd name="T68" fmla="*/ 32 w 155"/>
                  <a:gd name="T69" fmla="*/ 30 h 138"/>
                  <a:gd name="T70" fmla="*/ 30 w 155"/>
                  <a:gd name="T71" fmla="*/ 31 h 138"/>
                  <a:gd name="T72" fmla="*/ 27 w 155"/>
                  <a:gd name="T73" fmla="*/ 32 h 138"/>
                  <a:gd name="T74" fmla="*/ 23 w 155"/>
                  <a:gd name="T75" fmla="*/ 35 h 138"/>
                  <a:gd name="T76" fmla="*/ 17 w 155"/>
                  <a:gd name="T77" fmla="*/ 39 h 138"/>
                  <a:gd name="T78" fmla="*/ 15 w 155"/>
                  <a:gd name="T79" fmla="*/ 40 h 138"/>
                  <a:gd name="T80" fmla="*/ 14 w 155"/>
                  <a:gd name="T81" fmla="*/ 41 h 138"/>
                  <a:gd name="T82" fmla="*/ 11 w 155"/>
                  <a:gd name="T83" fmla="*/ 42 h 138"/>
                  <a:gd name="T84" fmla="*/ 10 w 155"/>
                  <a:gd name="T85" fmla="*/ 43 h 138"/>
                  <a:gd name="T86" fmla="*/ 7 w 155"/>
                  <a:gd name="T87" fmla="*/ 44 h 138"/>
                  <a:gd name="T88" fmla="*/ 0 w 155"/>
                  <a:gd name="T89" fmla="*/ 49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55" h="138">
                    <a:moveTo>
                      <a:pt x="0" y="49"/>
                    </a:moveTo>
                    <a:lnTo>
                      <a:pt x="0" y="49"/>
                    </a:lnTo>
                    <a:lnTo>
                      <a:pt x="0" y="49"/>
                    </a:lnTo>
                    <a:lnTo>
                      <a:pt x="1" y="51"/>
                    </a:lnTo>
                    <a:lnTo>
                      <a:pt x="1" y="53"/>
                    </a:lnTo>
                    <a:lnTo>
                      <a:pt x="2" y="55"/>
                    </a:lnTo>
                    <a:lnTo>
                      <a:pt x="4" y="59"/>
                    </a:lnTo>
                    <a:lnTo>
                      <a:pt x="4" y="60"/>
                    </a:lnTo>
                    <a:lnTo>
                      <a:pt x="6" y="64"/>
                    </a:lnTo>
                    <a:lnTo>
                      <a:pt x="6" y="64"/>
                    </a:lnTo>
                    <a:lnTo>
                      <a:pt x="7" y="66"/>
                    </a:lnTo>
                    <a:lnTo>
                      <a:pt x="7" y="66"/>
                    </a:lnTo>
                    <a:cubicBezTo>
                      <a:pt x="8" y="69"/>
                      <a:pt x="10" y="72"/>
                      <a:pt x="11" y="74"/>
                    </a:cubicBezTo>
                    <a:lnTo>
                      <a:pt x="12" y="76"/>
                    </a:lnTo>
                    <a:cubicBezTo>
                      <a:pt x="13" y="78"/>
                      <a:pt x="14" y="80"/>
                      <a:pt x="16" y="82"/>
                    </a:cubicBez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cubicBezTo>
                      <a:pt x="18" y="85"/>
                      <a:pt x="19" y="87"/>
                      <a:pt x="21" y="90"/>
                    </a:cubicBezTo>
                    <a:lnTo>
                      <a:pt x="21" y="90"/>
                    </a:lnTo>
                    <a:lnTo>
                      <a:pt x="21" y="90"/>
                    </a:lnTo>
                    <a:lnTo>
                      <a:pt x="21" y="90"/>
                    </a:lnTo>
                    <a:lnTo>
                      <a:pt x="24" y="94"/>
                    </a:lnTo>
                    <a:lnTo>
                      <a:pt x="26" y="97"/>
                    </a:lnTo>
                    <a:lnTo>
                      <a:pt x="26" y="98"/>
                    </a:lnTo>
                    <a:lnTo>
                      <a:pt x="28" y="100"/>
                    </a:lnTo>
                    <a:lnTo>
                      <a:pt x="28" y="100"/>
                    </a:lnTo>
                    <a:lnTo>
                      <a:pt x="28" y="100"/>
                    </a:lnTo>
                    <a:lnTo>
                      <a:pt x="29" y="100"/>
                    </a:lnTo>
                    <a:lnTo>
                      <a:pt x="29" y="101"/>
                    </a:lnTo>
                    <a:lnTo>
                      <a:pt x="29" y="101"/>
                    </a:lnTo>
                    <a:lnTo>
                      <a:pt x="29" y="101"/>
                    </a:lnTo>
                    <a:lnTo>
                      <a:pt x="29" y="101"/>
                    </a:lnTo>
                    <a:lnTo>
                      <a:pt x="29" y="101"/>
                    </a:lnTo>
                    <a:lnTo>
                      <a:pt x="32" y="104"/>
                    </a:lnTo>
                    <a:lnTo>
                      <a:pt x="32" y="104"/>
                    </a:lnTo>
                    <a:lnTo>
                      <a:pt x="32" y="105"/>
                    </a:lnTo>
                    <a:lnTo>
                      <a:pt x="33" y="105"/>
                    </a:lnTo>
                    <a:lnTo>
                      <a:pt x="33" y="106"/>
                    </a:lnTo>
                    <a:cubicBezTo>
                      <a:pt x="35" y="108"/>
                      <a:pt x="36" y="110"/>
                      <a:pt x="38" y="112"/>
                    </a:cubicBezTo>
                    <a:cubicBezTo>
                      <a:pt x="48" y="122"/>
                      <a:pt x="59" y="131"/>
                      <a:pt x="70" y="138"/>
                    </a:cubicBezTo>
                    <a:lnTo>
                      <a:pt x="77" y="134"/>
                    </a:lnTo>
                    <a:lnTo>
                      <a:pt x="155" y="89"/>
                    </a:lnTo>
                    <a:cubicBezTo>
                      <a:pt x="143" y="82"/>
                      <a:pt x="132" y="73"/>
                      <a:pt x="122" y="63"/>
                    </a:cubicBezTo>
                    <a:cubicBezTo>
                      <a:pt x="121" y="61"/>
                      <a:pt x="119" y="59"/>
                      <a:pt x="118" y="57"/>
                    </a:cubicBezTo>
                    <a:cubicBezTo>
                      <a:pt x="116" y="55"/>
                      <a:pt x="115" y="54"/>
                      <a:pt x="113" y="52"/>
                    </a:cubicBezTo>
                    <a:lnTo>
                      <a:pt x="113" y="51"/>
                    </a:lnTo>
                    <a:lnTo>
                      <a:pt x="111" y="49"/>
                    </a:lnTo>
                    <a:lnTo>
                      <a:pt x="110" y="48"/>
                    </a:lnTo>
                    <a:cubicBezTo>
                      <a:pt x="109" y="46"/>
                      <a:pt x="107" y="44"/>
                      <a:pt x="106" y="41"/>
                    </a:cubicBezTo>
                    <a:lnTo>
                      <a:pt x="105" y="41"/>
                    </a:lnTo>
                    <a:cubicBezTo>
                      <a:pt x="104" y="38"/>
                      <a:pt x="102" y="36"/>
                      <a:pt x="100" y="33"/>
                    </a:cubicBezTo>
                    <a:lnTo>
                      <a:pt x="100" y="33"/>
                    </a:lnTo>
                    <a:lnTo>
                      <a:pt x="100" y="33"/>
                    </a:lnTo>
                    <a:cubicBezTo>
                      <a:pt x="97" y="27"/>
                      <a:pt x="94" y="22"/>
                      <a:pt x="91" y="17"/>
                    </a:cubicBezTo>
                    <a:lnTo>
                      <a:pt x="91" y="16"/>
                    </a:lnTo>
                    <a:cubicBezTo>
                      <a:pt x="90" y="14"/>
                      <a:pt x="89" y="11"/>
                      <a:pt x="88" y="9"/>
                    </a:cubicBezTo>
                    <a:cubicBezTo>
                      <a:pt x="87" y="6"/>
                      <a:pt x="86" y="3"/>
                      <a:pt x="84" y="0"/>
                    </a:cubicBezTo>
                    <a:lnTo>
                      <a:pt x="84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2" y="1"/>
                    </a:lnTo>
                    <a:lnTo>
                      <a:pt x="79" y="2"/>
                    </a:lnTo>
                    <a:lnTo>
                      <a:pt x="78" y="3"/>
                    </a:lnTo>
                    <a:lnTo>
                      <a:pt x="78" y="3"/>
                    </a:lnTo>
                    <a:lnTo>
                      <a:pt x="77" y="4"/>
                    </a:lnTo>
                    <a:lnTo>
                      <a:pt x="77" y="4"/>
                    </a:lnTo>
                    <a:lnTo>
                      <a:pt x="77" y="4"/>
                    </a:lnTo>
                    <a:lnTo>
                      <a:pt x="76" y="4"/>
                    </a:lnTo>
                    <a:lnTo>
                      <a:pt x="74" y="5"/>
                    </a:lnTo>
                    <a:lnTo>
                      <a:pt x="74" y="6"/>
                    </a:lnTo>
                    <a:lnTo>
                      <a:pt x="73" y="6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1" y="7"/>
                    </a:lnTo>
                    <a:lnTo>
                      <a:pt x="71" y="7"/>
                    </a:lnTo>
                    <a:lnTo>
                      <a:pt x="67" y="9"/>
                    </a:lnTo>
                    <a:lnTo>
                      <a:pt x="67" y="10"/>
                    </a:lnTo>
                    <a:lnTo>
                      <a:pt x="67" y="10"/>
                    </a:lnTo>
                    <a:lnTo>
                      <a:pt x="66" y="10"/>
                    </a:lnTo>
                    <a:lnTo>
                      <a:pt x="62" y="12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58" y="15"/>
                    </a:lnTo>
                    <a:lnTo>
                      <a:pt x="57" y="15"/>
                    </a:lnTo>
                    <a:lnTo>
                      <a:pt x="55" y="16"/>
                    </a:lnTo>
                    <a:lnTo>
                      <a:pt x="53" y="18"/>
                    </a:lnTo>
                    <a:lnTo>
                      <a:pt x="53" y="18"/>
                    </a:lnTo>
                    <a:lnTo>
                      <a:pt x="53" y="18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1" y="25"/>
                    </a:lnTo>
                    <a:lnTo>
                      <a:pt x="41" y="25"/>
                    </a:lnTo>
                    <a:lnTo>
                      <a:pt x="39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7" y="27"/>
                    </a:lnTo>
                    <a:lnTo>
                      <a:pt x="36" y="27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5" y="28"/>
                    </a:lnTo>
                    <a:lnTo>
                      <a:pt x="35" y="28"/>
                    </a:lnTo>
                    <a:lnTo>
                      <a:pt x="33" y="29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1" y="30"/>
                    </a:lnTo>
                    <a:lnTo>
                      <a:pt x="30" y="31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7" y="32"/>
                    </a:lnTo>
                    <a:lnTo>
                      <a:pt x="27" y="33"/>
                    </a:lnTo>
                    <a:lnTo>
                      <a:pt x="24" y="35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0" y="37"/>
                    </a:lnTo>
                    <a:lnTo>
                      <a:pt x="17" y="39"/>
                    </a:lnTo>
                    <a:lnTo>
                      <a:pt x="17" y="39"/>
                    </a:lnTo>
                    <a:lnTo>
                      <a:pt x="15" y="39"/>
                    </a:lnTo>
                    <a:lnTo>
                      <a:pt x="15" y="40"/>
                    </a:lnTo>
                    <a:lnTo>
                      <a:pt x="15" y="40"/>
                    </a:lnTo>
                    <a:lnTo>
                      <a:pt x="15" y="40"/>
                    </a:lnTo>
                    <a:lnTo>
                      <a:pt x="14" y="41"/>
                    </a:lnTo>
                    <a:lnTo>
                      <a:pt x="12" y="41"/>
                    </a:lnTo>
                    <a:lnTo>
                      <a:pt x="12" y="42"/>
                    </a:lnTo>
                    <a:lnTo>
                      <a:pt x="11" y="42"/>
                    </a:lnTo>
                    <a:lnTo>
                      <a:pt x="11" y="42"/>
                    </a:lnTo>
                    <a:lnTo>
                      <a:pt x="11" y="42"/>
                    </a:lnTo>
                    <a:lnTo>
                      <a:pt x="10" y="43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7" y="44"/>
                    </a:lnTo>
                    <a:lnTo>
                      <a:pt x="7" y="44"/>
                    </a:lnTo>
                    <a:lnTo>
                      <a:pt x="4" y="46"/>
                    </a:lnTo>
                    <a:lnTo>
                      <a:pt x="0" y="49"/>
                    </a:lnTo>
                    <a:lnTo>
                      <a:pt x="0" y="49"/>
                    </a:lnTo>
                  </a:path>
                </a:pathLst>
              </a:custGeom>
              <a:solidFill>
                <a:srgbClr val="CA8A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Freeform 137"/>
              <p:cNvSpPr>
                <a:spLocks/>
              </p:cNvSpPr>
              <p:nvPr/>
            </p:nvSpPr>
            <p:spPr bwMode="auto">
              <a:xfrm>
                <a:off x="3252" y="1595"/>
                <a:ext cx="337" cy="193"/>
              </a:xfrm>
              <a:custGeom>
                <a:avLst/>
                <a:gdLst>
                  <a:gd name="T0" fmla="*/ 84 w 702"/>
                  <a:gd name="T1" fmla="*/ 352 h 401"/>
                  <a:gd name="T2" fmla="*/ 84 w 702"/>
                  <a:gd name="T3" fmla="*/ 352 h 401"/>
                  <a:gd name="T4" fmla="*/ 42 w 702"/>
                  <a:gd name="T5" fmla="*/ 376 h 401"/>
                  <a:gd name="T6" fmla="*/ 23 w 702"/>
                  <a:gd name="T7" fmla="*/ 387 h 401"/>
                  <a:gd name="T8" fmla="*/ 15 w 702"/>
                  <a:gd name="T9" fmla="*/ 392 h 401"/>
                  <a:gd name="T10" fmla="*/ 12 w 702"/>
                  <a:gd name="T11" fmla="*/ 393 h 401"/>
                  <a:gd name="T12" fmla="*/ 0 w 702"/>
                  <a:gd name="T13" fmla="*/ 401 h 401"/>
                  <a:gd name="T14" fmla="*/ 0 w 702"/>
                  <a:gd name="T15" fmla="*/ 401 h 401"/>
                  <a:gd name="T16" fmla="*/ 84 w 702"/>
                  <a:gd name="T17" fmla="*/ 352 h 401"/>
                  <a:gd name="T18" fmla="*/ 702 w 702"/>
                  <a:gd name="T19" fmla="*/ 0 h 401"/>
                  <a:gd name="T20" fmla="*/ 617 w 702"/>
                  <a:gd name="T21" fmla="*/ 49 h 401"/>
                  <a:gd name="T22" fmla="*/ 2 w 702"/>
                  <a:gd name="T23" fmla="*/ 399 h 401"/>
                  <a:gd name="T24" fmla="*/ 84 w 702"/>
                  <a:gd name="T25" fmla="*/ 352 h 4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02" h="401">
                    <a:moveTo>
                      <a:pt x="84" y="352"/>
                    </a:moveTo>
                    <a:lnTo>
                      <a:pt x="84" y="352"/>
                    </a:lnTo>
                    <a:cubicBezTo>
                      <a:pt x="70" y="360"/>
                      <a:pt x="56" y="368"/>
                      <a:pt x="42" y="376"/>
                    </a:cubicBezTo>
                    <a:cubicBezTo>
                      <a:pt x="36" y="380"/>
                      <a:pt x="29" y="383"/>
                      <a:pt x="23" y="387"/>
                    </a:cubicBezTo>
                    <a:cubicBezTo>
                      <a:pt x="20" y="389"/>
                      <a:pt x="17" y="390"/>
                      <a:pt x="15" y="392"/>
                    </a:cubicBezTo>
                    <a:lnTo>
                      <a:pt x="12" y="393"/>
                    </a:lnTo>
                    <a:cubicBezTo>
                      <a:pt x="8" y="396"/>
                      <a:pt x="4" y="398"/>
                      <a:pt x="0" y="401"/>
                    </a:cubicBezTo>
                    <a:lnTo>
                      <a:pt x="0" y="401"/>
                    </a:lnTo>
                    <a:lnTo>
                      <a:pt x="84" y="352"/>
                    </a:lnTo>
                    <a:lnTo>
                      <a:pt x="702" y="0"/>
                    </a:lnTo>
                    <a:lnTo>
                      <a:pt x="617" y="49"/>
                    </a:lnTo>
                    <a:lnTo>
                      <a:pt x="2" y="399"/>
                    </a:lnTo>
                    <a:cubicBezTo>
                      <a:pt x="30" y="383"/>
                      <a:pt x="57" y="367"/>
                      <a:pt x="84" y="352"/>
                    </a:cubicBezTo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138"/>
              <p:cNvSpPr>
                <a:spLocks/>
              </p:cNvSpPr>
              <p:nvPr/>
            </p:nvSpPr>
            <p:spPr bwMode="auto">
              <a:xfrm>
                <a:off x="3252" y="1764"/>
                <a:ext cx="40" cy="24"/>
              </a:xfrm>
              <a:custGeom>
                <a:avLst/>
                <a:gdLst>
                  <a:gd name="T0" fmla="*/ 42 w 84"/>
                  <a:gd name="T1" fmla="*/ 24 h 49"/>
                  <a:gd name="T2" fmla="*/ 67 w 84"/>
                  <a:gd name="T3" fmla="*/ 10 h 49"/>
                  <a:gd name="T4" fmla="*/ 72 w 84"/>
                  <a:gd name="T5" fmla="*/ 7 h 49"/>
                  <a:gd name="T6" fmla="*/ 77 w 84"/>
                  <a:gd name="T7" fmla="*/ 4 h 49"/>
                  <a:gd name="T8" fmla="*/ 82 w 84"/>
                  <a:gd name="T9" fmla="*/ 1 h 49"/>
                  <a:gd name="T10" fmla="*/ 84 w 84"/>
                  <a:gd name="T11" fmla="*/ 0 h 49"/>
                  <a:gd name="T12" fmla="*/ 0 w 84"/>
                  <a:gd name="T13" fmla="*/ 49 h 49"/>
                  <a:gd name="T14" fmla="*/ 42 w 84"/>
                  <a:gd name="T15" fmla="*/ 2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" h="49">
                    <a:moveTo>
                      <a:pt x="42" y="24"/>
                    </a:moveTo>
                    <a:cubicBezTo>
                      <a:pt x="50" y="19"/>
                      <a:pt x="58" y="15"/>
                      <a:pt x="67" y="10"/>
                    </a:cubicBezTo>
                    <a:cubicBezTo>
                      <a:pt x="68" y="9"/>
                      <a:pt x="70" y="8"/>
                      <a:pt x="72" y="7"/>
                    </a:cubicBezTo>
                    <a:cubicBezTo>
                      <a:pt x="73" y="6"/>
                      <a:pt x="75" y="5"/>
                      <a:pt x="77" y="4"/>
                    </a:cubicBezTo>
                    <a:lnTo>
                      <a:pt x="82" y="1"/>
                    </a:lnTo>
                    <a:lnTo>
                      <a:pt x="84" y="0"/>
                    </a:lnTo>
                    <a:cubicBezTo>
                      <a:pt x="59" y="14"/>
                      <a:pt x="25" y="34"/>
                      <a:pt x="0" y="49"/>
                    </a:cubicBezTo>
                    <a:cubicBezTo>
                      <a:pt x="22" y="36"/>
                      <a:pt x="22" y="36"/>
                      <a:pt x="42" y="24"/>
                    </a:cubicBez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139"/>
              <p:cNvSpPr>
                <a:spLocks/>
              </p:cNvSpPr>
              <p:nvPr/>
            </p:nvSpPr>
            <p:spPr bwMode="auto">
              <a:xfrm>
                <a:off x="3251" y="1760"/>
                <a:ext cx="41" cy="28"/>
              </a:xfrm>
              <a:custGeom>
                <a:avLst/>
                <a:gdLst>
                  <a:gd name="T0" fmla="*/ 1 w 87"/>
                  <a:gd name="T1" fmla="*/ 51 h 58"/>
                  <a:gd name="T2" fmla="*/ 3 w 87"/>
                  <a:gd name="T3" fmla="*/ 58 h 58"/>
                  <a:gd name="T4" fmla="*/ 10 w 87"/>
                  <a:gd name="T5" fmla="*/ 53 h 58"/>
                  <a:gd name="T6" fmla="*/ 11 w 87"/>
                  <a:gd name="T7" fmla="*/ 53 h 58"/>
                  <a:gd name="T8" fmla="*/ 13 w 87"/>
                  <a:gd name="T9" fmla="*/ 52 h 58"/>
                  <a:gd name="T10" fmla="*/ 14 w 87"/>
                  <a:gd name="T11" fmla="*/ 51 h 58"/>
                  <a:gd name="T12" fmla="*/ 15 w 87"/>
                  <a:gd name="T13" fmla="*/ 51 h 58"/>
                  <a:gd name="T14" fmla="*/ 17 w 87"/>
                  <a:gd name="T15" fmla="*/ 50 h 58"/>
                  <a:gd name="T16" fmla="*/ 18 w 87"/>
                  <a:gd name="T17" fmla="*/ 49 h 58"/>
                  <a:gd name="T18" fmla="*/ 18 w 87"/>
                  <a:gd name="T19" fmla="*/ 48 h 58"/>
                  <a:gd name="T20" fmla="*/ 20 w 87"/>
                  <a:gd name="T21" fmla="*/ 48 h 58"/>
                  <a:gd name="T22" fmla="*/ 23 w 87"/>
                  <a:gd name="T23" fmla="*/ 46 h 58"/>
                  <a:gd name="T24" fmla="*/ 25 w 87"/>
                  <a:gd name="T25" fmla="*/ 45 h 58"/>
                  <a:gd name="T26" fmla="*/ 26 w 87"/>
                  <a:gd name="T27" fmla="*/ 44 h 58"/>
                  <a:gd name="T28" fmla="*/ 30 w 87"/>
                  <a:gd name="T29" fmla="*/ 42 h 58"/>
                  <a:gd name="T30" fmla="*/ 31 w 87"/>
                  <a:gd name="T31" fmla="*/ 41 h 58"/>
                  <a:gd name="T32" fmla="*/ 34 w 87"/>
                  <a:gd name="T33" fmla="*/ 39 h 58"/>
                  <a:gd name="T34" fmla="*/ 36 w 87"/>
                  <a:gd name="T35" fmla="*/ 38 h 58"/>
                  <a:gd name="T36" fmla="*/ 38 w 87"/>
                  <a:gd name="T37" fmla="*/ 37 h 58"/>
                  <a:gd name="T38" fmla="*/ 39 w 87"/>
                  <a:gd name="T39" fmla="*/ 37 h 58"/>
                  <a:gd name="T40" fmla="*/ 40 w 87"/>
                  <a:gd name="T41" fmla="*/ 36 h 58"/>
                  <a:gd name="T42" fmla="*/ 41 w 87"/>
                  <a:gd name="T43" fmla="*/ 35 h 58"/>
                  <a:gd name="T44" fmla="*/ 42 w 87"/>
                  <a:gd name="T45" fmla="*/ 35 h 58"/>
                  <a:gd name="T46" fmla="*/ 44 w 87"/>
                  <a:gd name="T47" fmla="*/ 34 h 58"/>
                  <a:gd name="T48" fmla="*/ 45 w 87"/>
                  <a:gd name="T49" fmla="*/ 33 h 58"/>
                  <a:gd name="T50" fmla="*/ 56 w 87"/>
                  <a:gd name="T51" fmla="*/ 27 h 58"/>
                  <a:gd name="T52" fmla="*/ 58 w 87"/>
                  <a:gd name="T53" fmla="*/ 25 h 58"/>
                  <a:gd name="T54" fmla="*/ 61 w 87"/>
                  <a:gd name="T55" fmla="*/ 24 h 58"/>
                  <a:gd name="T56" fmla="*/ 62 w 87"/>
                  <a:gd name="T57" fmla="*/ 23 h 58"/>
                  <a:gd name="T58" fmla="*/ 69 w 87"/>
                  <a:gd name="T59" fmla="*/ 19 h 58"/>
                  <a:gd name="T60" fmla="*/ 70 w 87"/>
                  <a:gd name="T61" fmla="*/ 18 h 58"/>
                  <a:gd name="T62" fmla="*/ 74 w 87"/>
                  <a:gd name="T63" fmla="*/ 16 h 58"/>
                  <a:gd name="T64" fmla="*/ 75 w 87"/>
                  <a:gd name="T65" fmla="*/ 16 h 58"/>
                  <a:gd name="T66" fmla="*/ 77 w 87"/>
                  <a:gd name="T67" fmla="*/ 15 h 58"/>
                  <a:gd name="T68" fmla="*/ 79 w 87"/>
                  <a:gd name="T69" fmla="*/ 13 h 58"/>
                  <a:gd name="T70" fmla="*/ 80 w 87"/>
                  <a:gd name="T71" fmla="*/ 13 h 58"/>
                  <a:gd name="T72" fmla="*/ 81 w 87"/>
                  <a:gd name="T73" fmla="*/ 12 h 58"/>
                  <a:gd name="T74" fmla="*/ 82 w 87"/>
                  <a:gd name="T75" fmla="*/ 11 h 58"/>
                  <a:gd name="T76" fmla="*/ 87 w 87"/>
                  <a:gd name="T77" fmla="*/ 9 h 58"/>
                  <a:gd name="T78" fmla="*/ 84 w 87"/>
                  <a:gd name="T79" fmla="*/ 0 h 58"/>
                  <a:gd name="T80" fmla="*/ 0 w 87"/>
                  <a:gd name="T81" fmla="*/ 4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7" h="58">
                    <a:moveTo>
                      <a:pt x="0" y="49"/>
                    </a:moveTo>
                    <a:lnTo>
                      <a:pt x="1" y="51"/>
                    </a:lnTo>
                    <a:cubicBezTo>
                      <a:pt x="1" y="54"/>
                      <a:pt x="2" y="56"/>
                      <a:pt x="3" y="58"/>
                    </a:cubicBezTo>
                    <a:lnTo>
                      <a:pt x="3" y="58"/>
                    </a:lnTo>
                    <a:lnTo>
                      <a:pt x="7" y="55"/>
                    </a:lnTo>
                    <a:lnTo>
                      <a:pt x="10" y="53"/>
                    </a:lnTo>
                    <a:lnTo>
                      <a:pt x="10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13" y="52"/>
                    </a:lnTo>
                    <a:lnTo>
                      <a:pt x="14" y="51"/>
                    </a:lnTo>
                    <a:lnTo>
                      <a:pt x="14" y="51"/>
                    </a:lnTo>
                    <a:lnTo>
                      <a:pt x="14" y="51"/>
                    </a:lnTo>
                    <a:lnTo>
                      <a:pt x="15" y="51"/>
                    </a:lnTo>
                    <a:lnTo>
                      <a:pt x="15" y="50"/>
                    </a:lnTo>
                    <a:lnTo>
                      <a:pt x="17" y="50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18" y="48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0" y="47"/>
                    </a:lnTo>
                    <a:lnTo>
                      <a:pt x="23" y="46"/>
                    </a:lnTo>
                    <a:lnTo>
                      <a:pt x="23" y="46"/>
                    </a:lnTo>
                    <a:lnTo>
                      <a:pt x="25" y="45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7" y="44"/>
                    </a:lnTo>
                    <a:lnTo>
                      <a:pt x="30" y="42"/>
                    </a:lnTo>
                    <a:lnTo>
                      <a:pt x="30" y="41"/>
                    </a:lnTo>
                    <a:lnTo>
                      <a:pt x="31" y="41"/>
                    </a:lnTo>
                    <a:lnTo>
                      <a:pt x="31" y="41"/>
                    </a:lnTo>
                    <a:lnTo>
                      <a:pt x="34" y="39"/>
                    </a:lnTo>
                    <a:lnTo>
                      <a:pt x="35" y="39"/>
                    </a:lnTo>
                    <a:lnTo>
                      <a:pt x="36" y="38"/>
                    </a:lnTo>
                    <a:lnTo>
                      <a:pt x="38" y="37"/>
                    </a:lnTo>
                    <a:lnTo>
                      <a:pt x="38" y="37"/>
                    </a:lnTo>
                    <a:lnTo>
                      <a:pt x="39" y="37"/>
                    </a:lnTo>
                    <a:lnTo>
                      <a:pt x="39" y="37"/>
                    </a:lnTo>
                    <a:lnTo>
                      <a:pt x="39" y="36"/>
                    </a:lnTo>
                    <a:lnTo>
                      <a:pt x="40" y="36"/>
                    </a:lnTo>
                    <a:lnTo>
                      <a:pt x="41" y="35"/>
                    </a:lnTo>
                    <a:lnTo>
                      <a:pt x="41" y="35"/>
                    </a:lnTo>
                    <a:lnTo>
                      <a:pt x="41" y="35"/>
                    </a:lnTo>
                    <a:lnTo>
                      <a:pt x="42" y="35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5" y="33"/>
                    </a:lnTo>
                    <a:lnTo>
                      <a:pt x="45" y="33"/>
                    </a:lnTo>
                    <a:cubicBezTo>
                      <a:pt x="49" y="31"/>
                      <a:pt x="52" y="29"/>
                      <a:pt x="56" y="27"/>
                    </a:cubicBezTo>
                    <a:lnTo>
                      <a:pt x="56" y="27"/>
                    </a:lnTo>
                    <a:lnTo>
                      <a:pt x="56" y="27"/>
                    </a:lnTo>
                    <a:lnTo>
                      <a:pt x="58" y="25"/>
                    </a:lnTo>
                    <a:lnTo>
                      <a:pt x="60" y="24"/>
                    </a:lnTo>
                    <a:lnTo>
                      <a:pt x="61" y="24"/>
                    </a:lnTo>
                    <a:lnTo>
                      <a:pt x="62" y="23"/>
                    </a:lnTo>
                    <a:lnTo>
                      <a:pt x="62" y="23"/>
                    </a:lnTo>
                    <a:lnTo>
                      <a:pt x="65" y="21"/>
                    </a:lnTo>
                    <a:lnTo>
                      <a:pt x="69" y="19"/>
                    </a:lnTo>
                    <a:lnTo>
                      <a:pt x="70" y="19"/>
                    </a:lnTo>
                    <a:lnTo>
                      <a:pt x="70" y="18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5" y="16"/>
                    </a:lnTo>
                    <a:lnTo>
                      <a:pt x="75" y="16"/>
                    </a:lnTo>
                    <a:lnTo>
                      <a:pt x="76" y="15"/>
                    </a:lnTo>
                    <a:lnTo>
                      <a:pt x="77" y="15"/>
                    </a:lnTo>
                    <a:lnTo>
                      <a:pt x="77" y="14"/>
                    </a:lnTo>
                    <a:lnTo>
                      <a:pt x="79" y="13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1" y="12"/>
                    </a:lnTo>
                    <a:lnTo>
                      <a:pt x="81" y="12"/>
                    </a:lnTo>
                    <a:lnTo>
                      <a:pt x="82" y="11"/>
                    </a:lnTo>
                    <a:lnTo>
                      <a:pt x="85" y="10"/>
                    </a:lnTo>
                    <a:lnTo>
                      <a:pt x="87" y="9"/>
                    </a:lnTo>
                    <a:lnTo>
                      <a:pt x="87" y="9"/>
                    </a:lnTo>
                    <a:cubicBezTo>
                      <a:pt x="86" y="5"/>
                      <a:pt x="85" y="3"/>
                      <a:pt x="84" y="0"/>
                    </a:cubicBezTo>
                    <a:lnTo>
                      <a:pt x="0" y="48"/>
                    </a:lnTo>
                    <a:lnTo>
                      <a:pt x="0" y="49"/>
                    </a:lnTo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140"/>
              <p:cNvSpPr>
                <a:spLocks/>
              </p:cNvSpPr>
              <p:nvPr/>
            </p:nvSpPr>
            <p:spPr bwMode="auto">
              <a:xfrm>
                <a:off x="3252" y="1789"/>
                <a:ext cx="1" cy="2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0 h 4"/>
                  <a:gd name="T4" fmla="*/ 1 w 2"/>
                  <a:gd name="T5" fmla="*/ 2 h 4"/>
                  <a:gd name="T6" fmla="*/ 2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2" y="4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Rectangle 141"/>
              <p:cNvSpPr>
                <a:spLocks noChangeArrowheads="1"/>
              </p:cNvSpPr>
              <p:nvPr/>
            </p:nvSpPr>
            <p:spPr bwMode="auto">
              <a:xfrm>
                <a:off x="3252" y="1788"/>
                <a:ext cx="1" cy="1"/>
              </a:xfrm>
              <a:prstGeom prst="rect">
                <a:avLst/>
              </a:pr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142"/>
              <p:cNvSpPr>
                <a:spLocks/>
              </p:cNvSpPr>
              <p:nvPr/>
            </p:nvSpPr>
            <p:spPr bwMode="auto">
              <a:xfrm>
                <a:off x="3251" y="1759"/>
                <a:ext cx="40" cy="24"/>
              </a:xfrm>
              <a:custGeom>
                <a:avLst/>
                <a:gdLst>
                  <a:gd name="T0" fmla="*/ 0 w 40"/>
                  <a:gd name="T1" fmla="*/ 24 h 24"/>
                  <a:gd name="T2" fmla="*/ 0 w 40"/>
                  <a:gd name="T3" fmla="*/ 24 h 24"/>
                  <a:gd name="T4" fmla="*/ 0 w 40"/>
                  <a:gd name="T5" fmla="*/ 24 h 24"/>
                  <a:gd name="T6" fmla="*/ 40 w 40"/>
                  <a:gd name="T7" fmla="*/ 1 h 24"/>
                  <a:gd name="T8" fmla="*/ 40 w 40"/>
                  <a:gd name="T9" fmla="*/ 0 h 24"/>
                  <a:gd name="T10" fmla="*/ 0 w 40"/>
                  <a:gd name="T11" fmla="*/ 24 h 24"/>
                  <a:gd name="T12" fmla="*/ 0 w 40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24">
                    <a:moveTo>
                      <a:pt x="0" y="24"/>
                    </a:moveTo>
                    <a:lnTo>
                      <a:pt x="0" y="24"/>
                    </a:lnTo>
                    <a:lnTo>
                      <a:pt x="0" y="24"/>
                    </a:lnTo>
                    <a:lnTo>
                      <a:pt x="40" y="1"/>
                    </a:lnTo>
                    <a:lnTo>
                      <a:pt x="40" y="0"/>
                    </a:lnTo>
                    <a:lnTo>
                      <a:pt x="0" y="24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143"/>
              <p:cNvSpPr>
                <a:spLocks/>
              </p:cNvSpPr>
              <p:nvPr/>
            </p:nvSpPr>
            <p:spPr bwMode="auto">
              <a:xfrm>
                <a:off x="3249" y="1755"/>
                <a:ext cx="42" cy="28"/>
              </a:xfrm>
              <a:custGeom>
                <a:avLst/>
                <a:gdLst>
                  <a:gd name="T0" fmla="*/ 0 w 87"/>
                  <a:gd name="T1" fmla="*/ 49 h 58"/>
                  <a:gd name="T2" fmla="*/ 3 w 87"/>
                  <a:gd name="T3" fmla="*/ 58 h 58"/>
                  <a:gd name="T4" fmla="*/ 3 w 87"/>
                  <a:gd name="T5" fmla="*/ 58 h 58"/>
                  <a:gd name="T6" fmla="*/ 87 w 87"/>
                  <a:gd name="T7" fmla="*/ 9 h 58"/>
                  <a:gd name="T8" fmla="*/ 85 w 87"/>
                  <a:gd name="T9" fmla="*/ 0 h 58"/>
                  <a:gd name="T10" fmla="*/ 1 w 87"/>
                  <a:gd name="T11" fmla="*/ 49 h 58"/>
                  <a:gd name="T12" fmla="*/ 0 w 87"/>
                  <a:gd name="T13" fmla="*/ 4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58">
                    <a:moveTo>
                      <a:pt x="0" y="49"/>
                    </a:moveTo>
                    <a:cubicBezTo>
                      <a:pt x="1" y="52"/>
                      <a:pt x="2" y="55"/>
                      <a:pt x="3" y="58"/>
                    </a:cubicBezTo>
                    <a:lnTo>
                      <a:pt x="3" y="58"/>
                    </a:lnTo>
                    <a:lnTo>
                      <a:pt x="87" y="9"/>
                    </a:lnTo>
                    <a:cubicBezTo>
                      <a:pt x="86" y="6"/>
                      <a:pt x="85" y="3"/>
                      <a:pt x="85" y="0"/>
                    </a:cubicBezTo>
                    <a:lnTo>
                      <a:pt x="1" y="49"/>
                    </a:lnTo>
                    <a:lnTo>
                      <a:pt x="0" y="49"/>
                    </a:lnTo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Freeform 144"/>
              <p:cNvSpPr>
                <a:spLocks/>
              </p:cNvSpPr>
              <p:nvPr/>
            </p:nvSpPr>
            <p:spPr bwMode="auto">
              <a:xfrm>
                <a:off x="3548" y="1595"/>
                <a:ext cx="131" cy="182"/>
              </a:xfrm>
              <a:custGeom>
                <a:avLst/>
                <a:gdLst>
                  <a:gd name="T0" fmla="*/ 90 w 131"/>
                  <a:gd name="T1" fmla="*/ 182 h 182"/>
                  <a:gd name="T2" fmla="*/ 131 w 131"/>
                  <a:gd name="T3" fmla="*/ 158 h 182"/>
                  <a:gd name="T4" fmla="*/ 41 w 131"/>
                  <a:gd name="T5" fmla="*/ 0 h 182"/>
                  <a:gd name="T6" fmla="*/ 0 w 131"/>
                  <a:gd name="T7" fmla="*/ 24 h 182"/>
                  <a:gd name="T8" fmla="*/ 90 w 131"/>
                  <a:gd name="T9" fmla="*/ 182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182">
                    <a:moveTo>
                      <a:pt x="90" y="182"/>
                    </a:moveTo>
                    <a:lnTo>
                      <a:pt x="131" y="158"/>
                    </a:lnTo>
                    <a:lnTo>
                      <a:pt x="41" y="0"/>
                    </a:lnTo>
                    <a:lnTo>
                      <a:pt x="0" y="24"/>
                    </a:lnTo>
                    <a:lnTo>
                      <a:pt x="90" y="182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Freeform 145"/>
              <p:cNvSpPr>
                <a:spLocks/>
              </p:cNvSpPr>
              <p:nvPr/>
            </p:nvSpPr>
            <p:spPr bwMode="auto">
              <a:xfrm>
                <a:off x="3247" y="1563"/>
                <a:ext cx="324" cy="193"/>
              </a:xfrm>
              <a:custGeom>
                <a:avLst/>
                <a:gdLst>
                  <a:gd name="T0" fmla="*/ 0 w 324"/>
                  <a:gd name="T1" fmla="*/ 193 h 193"/>
                  <a:gd name="T2" fmla="*/ 41 w 324"/>
                  <a:gd name="T3" fmla="*/ 169 h 193"/>
                  <a:gd name="T4" fmla="*/ 324 w 324"/>
                  <a:gd name="T5" fmla="*/ 0 h 193"/>
                  <a:gd name="T6" fmla="*/ 283 w 324"/>
                  <a:gd name="T7" fmla="*/ 24 h 193"/>
                  <a:gd name="T8" fmla="*/ 0 w 324"/>
                  <a:gd name="T9" fmla="*/ 193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4" h="193">
                    <a:moveTo>
                      <a:pt x="0" y="193"/>
                    </a:moveTo>
                    <a:lnTo>
                      <a:pt x="41" y="169"/>
                    </a:lnTo>
                    <a:lnTo>
                      <a:pt x="324" y="0"/>
                    </a:lnTo>
                    <a:lnTo>
                      <a:pt x="283" y="24"/>
                    </a:lnTo>
                    <a:lnTo>
                      <a:pt x="0" y="193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146"/>
              <p:cNvSpPr>
                <a:spLocks/>
              </p:cNvSpPr>
              <p:nvPr/>
            </p:nvSpPr>
            <p:spPr bwMode="auto">
              <a:xfrm>
                <a:off x="3530" y="1563"/>
                <a:ext cx="59" cy="56"/>
              </a:xfrm>
              <a:custGeom>
                <a:avLst/>
                <a:gdLst>
                  <a:gd name="T0" fmla="*/ 18 w 59"/>
                  <a:gd name="T1" fmla="*/ 56 h 56"/>
                  <a:gd name="T2" fmla="*/ 59 w 59"/>
                  <a:gd name="T3" fmla="*/ 32 h 56"/>
                  <a:gd name="T4" fmla="*/ 41 w 59"/>
                  <a:gd name="T5" fmla="*/ 0 h 56"/>
                  <a:gd name="T6" fmla="*/ 0 w 59"/>
                  <a:gd name="T7" fmla="*/ 24 h 56"/>
                  <a:gd name="T8" fmla="*/ 18 w 59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56">
                    <a:moveTo>
                      <a:pt x="18" y="56"/>
                    </a:moveTo>
                    <a:lnTo>
                      <a:pt x="59" y="32"/>
                    </a:lnTo>
                    <a:lnTo>
                      <a:pt x="41" y="0"/>
                    </a:lnTo>
                    <a:lnTo>
                      <a:pt x="0" y="24"/>
                    </a:lnTo>
                    <a:lnTo>
                      <a:pt x="18" y="56"/>
                    </a:lnTo>
                    <a:close/>
                  </a:path>
                </a:pathLst>
              </a:custGeom>
              <a:solidFill>
                <a:srgbClr val="CA8A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147"/>
              <p:cNvSpPr>
                <a:spLocks/>
              </p:cNvSpPr>
              <p:nvPr/>
            </p:nvSpPr>
            <p:spPr bwMode="auto">
              <a:xfrm>
                <a:off x="3247" y="1092"/>
                <a:ext cx="283" cy="664"/>
              </a:xfrm>
              <a:custGeom>
                <a:avLst/>
                <a:gdLst>
                  <a:gd name="T0" fmla="*/ 0 w 283"/>
                  <a:gd name="T1" fmla="*/ 664 h 664"/>
                  <a:gd name="T2" fmla="*/ 177 w 283"/>
                  <a:gd name="T3" fmla="*/ 558 h 664"/>
                  <a:gd name="T4" fmla="*/ 283 w 283"/>
                  <a:gd name="T5" fmla="*/ 495 h 664"/>
                  <a:gd name="T6" fmla="*/ 2 w 283"/>
                  <a:gd name="T7" fmla="*/ 0 h 664"/>
                  <a:gd name="T8" fmla="*/ 1 w 283"/>
                  <a:gd name="T9" fmla="*/ 422 h 664"/>
                  <a:gd name="T10" fmla="*/ 0 w 283"/>
                  <a:gd name="T11" fmla="*/ 664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3" h="664">
                    <a:moveTo>
                      <a:pt x="0" y="664"/>
                    </a:moveTo>
                    <a:lnTo>
                      <a:pt x="177" y="558"/>
                    </a:lnTo>
                    <a:lnTo>
                      <a:pt x="283" y="495"/>
                    </a:lnTo>
                    <a:lnTo>
                      <a:pt x="2" y="0"/>
                    </a:lnTo>
                    <a:lnTo>
                      <a:pt x="1" y="422"/>
                    </a:lnTo>
                    <a:lnTo>
                      <a:pt x="0" y="664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148"/>
              <p:cNvSpPr>
                <a:spLocks/>
              </p:cNvSpPr>
              <p:nvPr/>
            </p:nvSpPr>
            <p:spPr bwMode="auto">
              <a:xfrm>
                <a:off x="3249" y="1068"/>
                <a:ext cx="322" cy="519"/>
              </a:xfrm>
              <a:custGeom>
                <a:avLst/>
                <a:gdLst>
                  <a:gd name="T0" fmla="*/ 281 w 322"/>
                  <a:gd name="T1" fmla="*/ 519 h 519"/>
                  <a:gd name="T2" fmla="*/ 322 w 322"/>
                  <a:gd name="T3" fmla="*/ 495 h 519"/>
                  <a:gd name="T4" fmla="*/ 41 w 322"/>
                  <a:gd name="T5" fmla="*/ 0 h 519"/>
                  <a:gd name="T6" fmla="*/ 0 w 322"/>
                  <a:gd name="T7" fmla="*/ 24 h 519"/>
                  <a:gd name="T8" fmla="*/ 281 w 322"/>
                  <a:gd name="T9" fmla="*/ 519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2" h="519">
                    <a:moveTo>
                      <a:pt x="281" y="519"/>
                    </a:moveTo>
                    <a:lnTo>
                      <a:pt x="322" y="495"/>
                    </a:lnTo>
                    <a:lnTo>
                      <a:pt x="41" y="0"/>
                    </a:lnTo>
                    <a:lnTo>
                      <a:pt x="0" y="24"/>
                    </a:lnTo>
                    <a:lnTo>
                      <a:pt x="281" y="519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Freeform 149"/>
              <p:cNvSpPr>
                <a:spLocks/>
              </p:cNvSpPr>
              <p:nvPr/>
            </p:nvSpPr>
            <p:spPr bwMode="auto">
              <a:xfrm>
                <a:off x="3254" y="1043"/>
                <a:ext cx="431" cy="700"/>
              </a:xfrm>
              <a:custGeom>
                <a:avLst/>
                <a:gdLst>
                  <a:gd name="T0" fmla="*/ 391 w 431"/>
                  <a:gd name="T1" fmla="*/ 700 h 700"/>
                  <a:gd name="T2" fmla="*/ 431 w 431"/>
                  <a:gd name="T3" fmla="*/ 676 h 700"/>
                  <a:gd name="T4" fmla="*/ 40 w 431"/>
                  <a:gd name="T5" fmla="*/ 0 h 700"/>
                  <a:gd name="T6" fmla="*/ 0 w 431"/>
                  <a:gd name="T7" fmla="*/ 23 h 700"/>
                  <a:gd name="T8" fmla="*/ 391 w 431"/>
                  <a:gd name="T9" fmla="*/ 700 h 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1" h="700">
                    <a:moveTo>
                      <a:pt x="391" y="700"/>
                    </a:moveTo>
                    <a:lnTo>
                      <a:pt x="431" y="676"/>
                    </a:lnTo>
                    <a:lnTo>
                      <a:pt x="40" y="0"/>
                    </a:lnTo>
                    <a:lnTo>
                      <a:pt x="0" y="23"/>
                    </a:lnTo>
                    <a:lnTo>
                      <a:pt x="391" y="700"/>
                    </a:lnTo>
                    <a:close/>
                  </a:path>
                </a:pathLst>
              </a:custGeom>
              <a:solidFill>
                <a:srgbClr val="CA8A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150"/>
              <p:cNvSpPr>
                <a:spLocks/>
              </p:cNvSpPr>
              <p:nvPr/>
            </p:nvSpPr>
            <p:spPr bwMode="auto">
              <a:xfrm>
                <a:off x="3638" y="1753"/>
                <a:ext cx="230" cy="149"/>
              </a:xfrm>
              <a:custGeom>
                <a:avLst/>
                <a:gdLst>
                  <a:gd name="T0" fmla="*/ 394 w 478"/>
                  <a:gd name="T1" fmla="*/ 276 h 309"/>
                  <a:gd name="T2" fmla="*/ 478 w 478"/>
                  <a:gd name="T3" fmla="*/ 227 h 309"/>
                  <a:gd name="T4" fmla="*/ 281 w 478"/>
                  <a:gd name="T5" fmla="*/ 209 h 309"/>
                  <a:gd name="T6" fmla="*/ 84 w 478"/>
                  <a:gd name="T7" fmla="*/ 0 h 309"/>
                  <a:gd name="T8" fmla="*/ 0 w 478"/>
                  <a:gd name="T9" fmla="*/ 49 h 309"/>
                  <a:gd name="T10" fmla="*/ 197 w 478"/>
                  <a:gd name="T11" fmla="*/ 258 h 309"/>
                  <a:gd name="T12" fmla="*/ 394 w 478"/>
                  <a:gd name="T13" fmla="*/ 276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8" h="309">
                    <a:moveTo>
                      <a:pt x="394" y="276"/>
                    </a:moveTo>
                    <a:lnTo>
                      <a:pt x="478" y="227"/>
                    </a:lnTo>
                    <a:cubicBezTo>
                      <a:pt x="424" y="260"/>
                      <a:pt x="352" y="250"/>
                      <a:pt x="281" y="209"/>
                    </a:cubicBezTo>
                    <a:cubicBezTo>
                      <a:pt x="210" y="168"/>
                      <a:pt x="139" y="95"/>
                      <a:pt x="84" y="0"/>
                    </a:cubicBezTo>
                    <a:lnTo>
                      <a:pt x="0" y="49"/>
                    </a:lnTo>
                    <a:cubicBezTo>
                      <a:pt x="54" y="144"/>
                      <a:pt x="125" y="217"/>
                      <a:pt x="197" y="258"/>
                    </a:cubicBezTo>
                    <a:cubicBezTo>
                      <a:pt x="268" y="300"/>
                      <a:pt x="339" y="309"/>
                      <a:pt x="394" y="276"/>
                    </a:cubicBez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151"/>
              <p:cNvSpPr>
                <a:spLocks/>
              </p:cNvSpPr>
              <p:nvPr/>
            </p:nvSpPr>
            <p:spPr bwMode="auto">
              <a:xfrm>
                <a:off x="3645" y="1719"/>
                <a:ext cx="217" cy="140"/>
              </a:xfrm>
              <a:custGeom>
                <a:avLst/>
                <a:gdLst>
                  <a:gd name="T0" fmla="*/ 368 w 453"/>
                  <a:gd name="T1" fmla="*/ 261 h 290"/>
                  <a:gd name="T2" fmla="*/ 453 w 453"/>
                  <a:gd name="T3" fmla="*/ 212 h 290"/>
                  <a:gd name="T4" fmla="*/ 268 w 453"/>
                  <a:gd name="T5" fmla="*/ 193 h 290"/>
                  <a:gd name="T6" fmla="*/ 85 w 453"/>
                  <a:gd name="T7" fmla="*/ 0 h 290"/>
                  <a:gd name="T8" fmla="*/ 0 w 453"/>
                  <a:gd name="T9" fmla="*/ 49 h 290"/>
                  <a:gd name="T10" fmla="*/ 184 w 453"/>
                  <a:gd name="T11" fmla="*/ 243 h 290"/>
                  <a:gd name="T12" fmla="*/ 368 w 453"/>
                  <a:gd name="T13" fmla="*/ 261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3" h="290">
                    <a:moveTo>
                      <a:pt x="368" y="261"/>
                    </a:moveTo>
                    <a:lnTo>
                      <a:pt x="453" y="212"/>
                    </a:lnTo>
                    <a:cubicBezTo>
                      <a:pt x="402" y="241"/>
                      <a:pt x="335" y="232"/>
                      <a:pt x="268" y="193"/>
                    </a:cubicBezTo>
                    <a:cubicBezTo>
                      <a:pt x="202" y="155"/>
                      <a:pt x="135" y="87"/>
                      <a:pt x="85" y="0"/>
                    </a:cubicBezTo>
                    <a:lnTo>
                      <a:pt x="0" y="49"/>
                    </a:lnTo>
                    <a:cubicBezTo>
                      <a:pt x="51" y="136"/>
                      <a:pt x="117" y="204"/>
                      <a:pt x="184" y="243"/>
                    </a:cubicBezTo>
                    <a:cubicBezTo>
                      <a:pt x="251" y="281"/>
                      <a:pt x="317" y="290"/>
                      <a:pt x="368" y="261"/>
                    </a:cubicBezTo>
                    <a:close/>
                  </a:path>
                </a:pathLst>
              </a:custGeom>
              <a:solidFill>
                <a:srgbClr val="CA8A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152"/>
              <p:cNvSpPr>
                <a:spLocks/>
              </p:cNvSpPr>
              <p:nvPr/>
            </p:nvSpPr>
            <p:spPr bwMode="auto">
              <a:xfrm>
                <a:off x="3286" y="1807"/>
                <a:ext cx="933" cy="539"/>
              </a:xfrm>
              <a:custGeom>
                <a:avLst/>
                <a:gdLst>
                  <a:gd name="T0" fmla="*/ 0 w 933"/>
                  <a:gd name="T1" fmla="*/ 23 h 539"/>
                  <a:gd name="T2" fmla="*/ 190 w 933"/>
                  <a:gd name="T3" fmla="*/ 133 h 539"/>
                  <a:gd name="T4" fmla="*/ 893 w 933"/>
                  <a:gd name="T5" fmla="*/ 539 h 539"/>
                  <a:gd name="T6" fmla="*/ 920 w 933"/>
                  <a:gd name="T7" fmla="*/ 523 h 539"/>
                  <a:gd name="T8" fmla="*/ 931 w 933"/>
                  <a:gd name="T9" fmla="*/ 516 h 539"/>
                  <a:gd name="T10" fmla="*/ 933 w 933"/>
                  <a:gd name="T11" fmla="*/ 515 h 539"/>
                  <a:gd name="T12" fmla="*/ 931 w 933"/>
                  <a:gd name="T13" fmla="*/ 514 h 539"/>
                  <a:gd name="T14" fmla="*/ 906 w 933"/>
                  <a:gd name="T15" fmla="*/ 500 h 539"/>
                  <a:gd name="T16" fmla="*/ 205 w 933"/>
                  <a:gd name="T17" fmla="*/ 95 h 539"/>
                  <a:gd name="T18" fmla="*/ 40 w 933"/>
                  <a:gd name="T19" fmla="*/ 0 h 539"/>
                  <a:gd name="T20" fmla="*/ 3 w 933"/>
                  <a:gd name="T21" fmla="*/ 21 h 539"/>
                  <a:gd name="T22" fmla="*/ 0 w 933"/>
                  <a:gd name="T23" fmla="*/ 23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33" h="539">
                    <a:moveTo>
                      <a:pt x="0" y="23"/>
                    </a:moveTo>
                    <a:lnTo>
                      <a:pt x="190" y="133"/>
                    </a:lnTo>
                    <a:lnTo>
                      <a:pt x="893" y="539"/>
                    </a:lnTo>
                    <a:lnTo>
                      <a:pt x="920" y="523"/>
                    </a:lnTo>
                    <a:lnTo>
                      <a:pt x="931" y="516"/>
                    </a:lnTo>
                    <a:lnTo>
                      <a:pt x="933" y="515"/>
                    </a:lnTo>
                    <a:lnTo>
                      <a:pt x="931" y="514"/>
                    </a:lnTo>
                    <a:lnTo>
                      <a:pt x="906" y="500"/>
                    </a:lnTo>
                    <a:lnTo>
                      <a:pt x="205" y="95"/>
                    </a:lnTo>
                    <a:lnTo>
                      <a:pt x="40" y="0"/>
                    </a:lnTo>
                    <a:lnTo>
                      <a:pt x="3" y="21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CA8A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153"/>
              <p:cNvSpPr>
                <a:spLocks/>
              </p:cNvSpPr>
              <p:nvPr/>
            </p:nvSpPr>
            <p:spPr bwMode="auto">
              <a:xfrm>
                <a:off x="4178" y="2322"/>
                <a:ext cx="69" cy="31"/>
              </a:xfrm>
              <a:custGeom>
                <a:avLst/>
                <a:gdLst>
                  <a:gd name="T0" fmla="*/ 58 w 142"/>
                  <a:gd name="T1" fmla="*/ 55 h 63"/>
                  <a:gd name="T2" fmla="*/ 142 w 142"/>
                  <a:gd name="T3" fmla="*/ 6 h 63"/>
                  <a:gd name="T4" fmla="*/ 85 w 142"/>
                  <a:gd name="T5" fmla="*/ 0 h 63"/>
                  <a:gd name="T6" fmla="*/ 0 w 142"/>
                  <a:gd name="T7" fmla="*/ 49 h 63"/>
                  <a:gd name="T8" fmla="*/ 58 w 142"/>
                  <a:gd name="T9" fmla="*/ 55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63">
                    <a:moveTo>
                      <a:pt x="58" y="55"/>
                    </a:moveTo>
                    <a:lnTo>
                      <a:pt x="142" y="6"/>
                    </a:lnTo>
                    <a:cubicBezTo>
                      <a:pt x="127" y="14"/>
                      <a:pt x="107" y="13"/>
                      <a:pt x="85" y="0"/>
                    </a:cubicBezTo>
                    <a:lnTo>
                      <a:pt x="0" y="49"/>
                    </a:lnTo>
                    <a:cubicBezTo>
                      <a:pt x="23" y="62"/>
                      <a:pt x="43" y="63"/>
                      <a:pt x="58" y="55"/>
                    </a:cubicBezTo>
                    <a:close/>
                  </a:path>
                </a:pathLst>
              </a:custGeom>
              <a:solidFill>
                <a:srgbClr val="CA8A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Freeform 154"/>
              <p:cNvSpPr>
                <a:spLocks/>
              </p:cNvSpPr>
              <p:nvPr/>
            </p:nvSpPr>
            <p:spPr bwMode="auto">
              <a:xfrm>
                <a:off x="4208" y="2346"/>
                <a:ext cx="2" cy="1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0" y="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Freeform 155"/>
              <p:cNvSpPr>
                <a:spLocks/>
              </p:cNvSpPr>
              <p:nvPr/>
            </p:nvSpPr>
            <p:spPr bwMode="auto">
              <a:xfrm>
                <a:off x="4210" y="2344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Freeform 156"/>
              <p:cNvSpPr>
                <a:spLocks/>
              </p:cNvSpPr>
              <p:nvPr/>
            </p:nvSpPr>
            <p:spPr bwMode="auto">
              <a:xfrm>
                <a:off x="3828" y="1808"/>
                <a:ext cx="131" cy="78"/>
              </a:xfrm>
              <a:custGeom>
                <a:avLst/>
                <a:gdLst>
                  <a:gd name="T0" fmla="*/ 0 w 131"/>
                  <a:gd name="T1" fmla="*/ 78 h 78"/>
                  <a:gd name="T2" fmla="*/ 40 w 131"/>
                  <a:gd name="T3" fmla="*/ 54 h 78"/>
                  <a:gd name="T4" fmla="*/ 131 w 131"/>
                  <a:gd name="T5" fmla="*/ 0 h 78"/>
                  <a:gd name="T6" fmla="*/ 90 w 131"/>
                  <a:gd name="T7" fmla="*/ 24 h 78"/>
                  <a:gd name="T8" fmla="*/ 0 w 131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78">
                    <a:moveTo>
                      <a:pt x="0" y="78"/>
                    </a:moveTo>
                    <a:lnTo>
                      <a:pt x="40" y="54"/>
                    </a:lnTo>
                    <a:lnTo>
                      <a:pt x="131" y="0"/>
                    </a:lnTo>
                    <a:lnTo>
                      <a:pt x="90" y="24"/>
                    </a:lnTo>
                    <a:lnTo>
                      <a:pt x="0" y="78"/>
                    </a:lnTo>
                    <a:close/>
                  </a:path>
                </a:pathLst>
              </a:custGeom>
              <a:solidFill>
                <a:srgbClr val="CA8A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157"/>
              <p:cNvSpPr>
                <a:spLocks/>
              </p:cNvSpPr>
              <p:nvPr/>
            </p:nvSpPr>
            <p:spPr bwMode="auto">
              <a:xfrm>
                <a:off x="3918" y="1808"/>
                <a:ext cx="335" cy="534"/>
              </a:xfrm>
              <a:custGeom>
                <a:avLst/>
                <a:gdLst>
                  <a:gd name="T0" fmla="*/ 295 w 335"/>
                  <a:gd name="T1" fmla="*/ 534 h 534"/>
                  <a:gd name="T2" fmla="*/ 335 w 335"/>
                  <a:gd name="T3" fmla="*/ 510 h 534"/>
                  <a:gd name="T4" fmla="*/ 41 w 335"/>
                  <a:gd name="T5" fmla="*/ 0 h 534"/>
                  <a:gd name="T6" fmla="*/ 0 w 335"/>
                  <a:gd name="T7" fmla="*/ 24 h 534"/>
                  <a:gd name="T8" fmla="*/ 295 w 335"/>
                  <a:gd name="T9" fmla="*/ 534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5" h="534">
                    <a:moveTo>
                      <a:pt x="295" y="534"/>
                    </a:moveTo>
                    <a:lnTo>
                      <a:pt x="335" y="510"/>
                    </a:lnTo>
                    <a:lnTo>
                      <a:pt x="41" y="0"/>
                    </a:lnTo>
                    <a:lnTo>
                      <a:pt x="0" y="24"/>
                    </a:lnTo>
                    <a:lnTo>
                      <a:pt x="295" y="534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Freeform 158"/>
              <p:cNvSpPr>
                <a:spLocks/>
              </p:cNvSpPr>
              <p:nvPr/>
            </p:nvSpPr>
            <p:spPr bwMode="auto">
              <a:xfrm>
                <a:off x="4212" y="2341"/>
                <a:ext cx="1" cy="3"/>
              </a:xfrm>
              <a:custGeom>
                <a:avLst/>
                <a:gdLst>
                  <a:gd name="T0" fmla="*/ 2 w 4"/>
                  <a:gd name="T1" fmla="*/ 3 h 7"/>
                  <a:gd name="T2" fmla="*/ 0 w 4"/>
                  <a:gd name="T3" fmla="*/ 7 h 7"/>
                  <a:gd name="T4" fmla="*/ 4 w 4"/>
                  <a:gd name="T5" fmla="*/ 0 h 7"/>
                  <a:gd name="T6" fmla="*/ 2 w 4"/>
                  <a:gd name="T7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7">
                    <a:moveTo>
                      <a:pt x="2" y="3"/>
                    </a:moveTo>
                    <a:lnTo>
                      <a:pt x="0" y="7"/>
                    </a:lnTo>
                    <a:cubicBezTo>
                      <a:pt x="1" y="5"/>
                      <a:pt x="3" y="2"/>
                      <a:pt x="4" y="0"/>
                    </a:cubicBezTo>
                    <a:lnTo>
                      <a:pt x="2" y="3"/>
                    </a:lnTo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Freeform 159"/>
              <p:cNvSpPr>
                <a:spLocks/>
              </p:cNvSpPr>
              <p:nvPr/>
            </p:nvSpPr>
            <p:spPr bwMode="auto">
              <a:xfrm>
                <a:off x="4214" y="2339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0 h 1"/>
                  <a:gd name="T4" fmla="*/ 0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160"/>
              <p:cNvSpPr>
                <a:spLocks/>
              </p:cNvSpPr>
              <p:nvPr/>
            </p:nvSpPr>
            <p:spPr bwMode="auto">
              <a:xfrm>
                <a:off x="3918" y="1798"/>
                <a:ext cx="59" cy="34"/>
              </a:xfrm>
              <a:custGeom>
                <a:avLst/>
                <a:gdLst>
                  <a:gd name="T0" fmla="*/ 0 w 59"/>
                  <a:gd name="T1" fmla="*/ 34 h 34"/>
                  <a:gd name="T2" fmla="*/ 41 w 59"/>
                  <a:gd name="T3" fmla="*/ 10 h 34"/>
                  <a:gd name="T4" fmla="*/ 59 w 59"/>
                  <a:gd name="T5" fmla="*/ 0 h 34"/>
                  <a:gd name="T6" fmla="*/ 18 w 59"/>
                  <a:gd name="T7" fmla="*/ 23 h 34"/>
                  <a:gd name="T8" fmla="*/ 0 w 59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34">
                    <a:moveTo>
                      <a:pt x="0" y="34"/>
                    </a:moveTo>
                    <a:lnTo>
                      <a:pt x="41" y="10"/>
                    </a:lnTo>
                    <a:lnTo>
                      <a:pt x="59" y="0"/>
                    </a:lnTo>
                    <a:lnTo>
                      <a:pt x="18" y="23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CA8A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161"/>
              <p:cNvSpPr>
                <a:spLocks/>
              </p:cNvSpPr>
              <p:nvPr/>
            </p:nvSpPr>
            <p:spPr bwMode="auto">
              <a:xfrm>
                <a:off x="4212" y="2342"/>
                <a:ext cx="1" cy="1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lnTo>
                      <a:pt x="0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B97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Freeform 162"/>
              <p:cNvSpPr>
                <a:spLocks/>
              </p:cNvSpPr>
              <p:nvPr/>
            </p:nvSpPr>
            <p:spPr bwMode="auto">
              <a:xfrm>
                <a:off x="3918" y="1821"/>
                <a:ext cx="299" cy="521"/>
              </a:xfrm>
              <a:custGeom>
                <a:avLst/>
                <a:gdLst>
                  <a:gd name="T0" fmla="*/ 599 w 623"/>
                  <a:gd name="T1" fmla="*/ 1060 h 1085"/>
                  <a:gd name="T2" fmla="*/ 613 w 623"/>
                  <a:gd name="T3" fmla="*/ 1085 h 1085"/>
                  <a:gd name="T4" fmla="*/ 617 w 623"/>
                  <a:gd name="T5" fmla="*/ 1078 h 1085"/>
                  <a:gd name="T6" fmla="*/ 621 w 623"/>
                  <a:gd name="T7" fmla="*/ 1067 h 1085"/>
                  <a:gd name="T8" fmla="*/ 623 w 623"/>
                  <a:gd name="T9" fmla="*/ 1057 h 1085"/>
                  <a:gd name="T10" fmla="*/ 623 w 623"/>
                  <a:gd name="T11" fmla="*/ 1046 h 1085"/>
                  <a:gd name="T12" fmla="*/ 623 w 623"/>
                  <a:gd name="T13" fmla="*/ 1042 h 1085"/>
                  <a:gd name="T14" fmla="*/ 623 w 623"/>
                  <a:gd name="T15" fmla="*/ 1030 h 1085"/>
                  <a:gd name="T16" fmla="*/ 38 w 623"/>
                  <a:gd name="T17" fmla="*/ 1 h 1085"/>
                  <a:gd name="T18" fmla="*/ 38 w 623"/>
                  <a:gd name="T19" fmla="*/ 0 h 1085"/>
                  <a:gd name="T20" fmla="*/ 38 w 623"/>
                  <a:gd name="T21" fmla="*/ 0 h 1085"/>
                  <a:gd name="T22" fmla="*/ 0 w 623"/>
                  <a:gd name="T23" fmla="*/ 23 h 1085"/>
                  <a:gd name="T24" fmla="*/ 0 w 623"/>
                  <a:gd name="T25" fmla="*/ 23 h 1085"/>
                  <a:gd name="T26" fmla="*/ 571 w 623"/>
                  <a:gd name="T27" fmla="*/ 1012 h 1085"/>
                  <a:gd name="T28" fmla="*/ 599 w 623"/>
                  <a:gd name="T29" fmla="*/ 1060 h 10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23" h="1085">
                    <a:moveTo>
                      <a:pt x="599" y="1060"/>
                    </a:moveTo>
                    <a:lnTo>
                      <a:pt x="613" y="1085"/>
                    </a:lnTo>
                    <a:cubicBezTo>
                      <a:pt x="615" y="1083"/>
                      <a:pt x="616" y="1080"/>
                      <a:pt x="617" y="1078"/>
                    </a:cubicBezTo>
                    <a:cubicBezTo>
                      <a:pt x="620" y="1070"/>
                      <a:pt x="621" y="1069"/>
                      <a:pt x="621" y="1067"/>
                    </a:cubicBezTo>
                    <a:cubicBezTo>
                      <a:pt x="622" y="1061"/>
                      <a:pt x="622" y="1059"/>
                      <a:pt x="623" y="1057"/>
                    </a:cubicBezTo>
                    <a:lnTo>
                      <a:pt x="623" y="1046"/>
                    </a:lnTo>
                    <a:lnTo>
                      <a:pt x="623" y="1042"/>
                    </a:lnTo>
                    <a:lnTo>
                      <a:pt x="623" y="1030"/>
                    </a:lnTo>
                    <a:lnTo>
                      <a:pt x="38" y="1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571" y="1012"/>
                    </a:lnTo>
                    <a:lnTo>
                      <a:pt x="599" y="1060"/>
                    </a:lnTo>
                    <a:close/>
                  </a:path>
                </a:pathLst>
              </a:custGeom>
              <a:solidFill>
                <a:srgbClr val="CB97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163"/>
              <p:cNvSpPr>
                <a:spLocks/>
              </p:cNvSpPr>
              <p:nvPr/>
            </p:nvSpPr>
            <p:spPr bwMode="auto">
              <a:xfrm>
                <a:off x="4179" y="2343"/>
                <a:ext cx="33" cy="8"/>
              </a:xfrm>
              <a:custGeom>
                <a:avLst/>
                <a:gdLst>
                  <a:gd name="T0" fmla="*/ 0 w 68"/>
                  <a:gd name="T1" fmla="*/ 5 h 16"/>
                  <a:gd name="T2" fmla="*/ 36 w 68"/>
                  <a:gd name="T3" fmla="*/ 16 h 16"/>
                  <a:gd name="T4" fmla="*/ 46 w 68"/>
                  <a:gd name="T5" fmla="*/ 15 h 16"/>
                  <a:gd name="T6" fmla="*/ 47 w 68"/>
                  <a:gd name="T7" fmla="*/ 14 h 16"/>
                  <a:gd name="T8" fmla="*/ 52 w 68"/>
                  <a:gd name="T9" fmla="*/ 13 h 16"/>
                  <a:gd name="T10" fmla="*/ 57 w 68"/>
                  <a:gd name="T11" fmla="*/ 11 h 16"/>
                  <a:gd name="T12" fmla="*/ 61 w 68"/>
                  <a:gd name="T13" fmla="*/ 7 h 16"/>
                  <a:gd name="T14" fmla="*/ 64 w 68"/>
                  <a:gd name="T15" fmla="*/ 5 h 16"/>
                  <a:gd name="T16" fmla="*/ 64 w 68"/>
                  <a:gd name="T17" fmla="*/ 5 h 16"/>
                  <a:gd name="T18" fmla="*/ 64 w 68"/>
                  <a:gd name="T19" fmla="*/ 5 h 16"/>
                  <a:gd name="T20" fmla="*/ 66 w 68"/>
                  <a:gd name="T21" fmla="*/ 3 h 16"/>
                  <a:gd name="T22" fmla="*/ 67 w 68"/>
                  <a:gd name="T23" fmla="*/ 2 h 16"/>
                  <a:gd name="T24" fmla="*/ 68 w 68"/>
                  <a:gd name="T25" fmla="*/ 0 h 16"/>
                  <a:gd name="T26" fmla="*/ 68 w 68"/>
                  <a:gd name="T27" fmla="*/ 0 h 16"/>
                  <a:gd name="T28" fmla="*/ 68 w 68"/>
                  <a:gd name="T29" fmla="*/ 1 h 16"/>
                  <a:gd name="T30" fmla="*/ 67 w 68"/>
                  <a:gd name="T31" fmla="*/ 1 h 16"/>
                  <a:gd name="T32" fmla="*/ 66 w 68"/>
                  <a:gd name="T33" fmla="*/ 1 h 16"/>
                  <a:gd name="T34" fmla="*/ 0 w 68"/>
                  <a:gd name="T35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8" h="16">
                    <a:moveTo>
                      <a:pt x="0" y="5"/>
                    </a:moveTo>
                    <a:cubicBezTo>
                      <a:pt x="12" y="13"/>
                      <a:pt x="25" y="16"/>
                      <a:pt x="36" y="16"/>
                    </a:cubicBezTo>
                    <a:cubicBezTo>
                      <a:pt x="39" y="16"/>
                      <a:pt x="43" y="16"/>
                      <a:pt x="46" y="15"/>
                    </a:cubicBezTo>
                    <a:lnTo>
                      <a:pt x="47" y="14"/>
                    </a:lnTo>
                    <a:cubicBezTo>
                      <a:pt x="49" y="14"/>
                      <a:pt x="50" y="14"/>
                      <a:pt x="52" y="13"/>
                    </a:cubicBezTo>
                    <a:cubicBezTo>
                      <a:pt x="54" y="12"/>
                      <a:pt x="55" y="12"/>
                      <a:pt x="57" y="11"/>
                    </a:cubicBezTo>
                    <a:cubicBezTo>
                      <a:pt x="58" y="10"/>
                      <a:pt x="60" y="9"/>
                      <a:pt x="61" y="7"/>
                    </a:cubicBezTo>
                    <a:lnTo>
                      <a:pt x="64" y="5"/>
                    </a:lnTo>
                    <a:lnTo>
                      <a:pt x="64" y="5"/>
                    </a:lnTo>
                    <a:lnTo>
                      <a:pt x="64" y="5"/>
                    </a:lnTo>
                    <a:lnTo>
                      <a:pt x="66" y="3"/>
                    </a:lnTo>
                    <a:lnTo>
                      <a:pt x="67" y="2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1"/>
                    </a:lnTo>
                    <a:lnTo>
                      <a:pt x="67" y="1"/>
                    </a:lnTo>
                    <a:lnTo>
                      <a:pt x="66" y="1"/>
                    </a:lnTo>
                    <a:cubicBezTo>
                      <a:pt x="60" y="5"/>
                      <a:pt x="46" y="7"/>
                      <a:pt x="0" y="5"/>
                    </a:cubicBezTo>
                  </a:path>
                </a:pathLst>
              </a:custGeom>
              <a:solidFill>
                <a:srgbClr val="CB97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Freeform 164"/>
              <p:cNvSpPr>
                <a:spLocks/>
              </p:cNvSpPr>
              <p:nvPr/>
            </p:nvSpPr>
            <p:spPr bwMode="auto">
              <a:xfrm>
                <a:off x="3270" y="1818"/>
                <a:ext cx="909" cy="528"/>
              </a:xfrm>
              <a:custGeom>
                <a:avLst/>
                <a:gdLst>
                  <a:gd name="T0" fmla="*/ 39 w 1893"/>
                  <a:gd name="T1" fmla="*/ 22 h 1100"/>
                  <a:gd name="T2" fmla="*/ 0 w 1893"/>
                  <a:gd name="T3" fmla="*/ 0 h 1100"/>
                  <a:gd name="T4" fmla="*/ 32 w 1893"/>
                  <a:gd name="T5" fmla="*/ 26 h 1100"/>
                  <a:gd name="T6" fmla="*/ 429 w 1893"/>
                  <a:gd name="T7" fmla="*/ 255 h 1100"/>
                  <a:gd name="T8" fmla="*/ 1893 w 1893"/>
                  <a:gd name="T9" fmla="*/ 1100 h 1100"/>
                  <a:gd name="T10" fmla="*/ 432 w 1893"/>
                  <a:gd name="T11" fmla="*/ 251 h 1100"/>
                  <a:gd name="T12" fmla="*/ 341 w 1893"/>
                  <a:gd name="T13" fmla="*/ 198 h 1100"/>
                  <a:gd name="T14" fmla="*/ 39 w 1893"/>
                  <a:gd name="T15" fmla="*/ 22 h 1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93" h="1100">
                    <a:moveTo>
                      <a:pt x="39" y="22"/>
                    </a:moveTo>
                    <a:lnTo>
                      <a:pt x="0" y="0"/>
                    </a:lnTo>
                    <a:cubicBezTo>
                      <a:pt x="10" y="10"/>
                      <a:pt x="21" y="19"/>
                      <a:pt x="32" y="26"/>
                    </a:cubicBezTo>
                    <a:lnTo>
                      <a:pt x="429" y="255"/>
                    </a:lnTo>
                    <a:lnTo>
                      <a:pt x="1893" y="1100"/>
                    </a:lnTo>
                    <a:lnTo>
                      <a:pt x="432" y="251"/>
                    </a:lnTo>
                    <a:lnTo>
                      <a:pt x="341" y="198"/>
                    </a:lnTo>
                    <a:lnTo>
                      <a:pt x="39" y="22"/>
                    </a:lnTo>
                  </a:path>
                </a:pathLst>
              </a:custGeom>
              <a:solidFill>
                <a:srgbClr val="CB97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Freeform 165"/>
              <p:cNvSpPr>
                <a:spLocks/>
              </p:cNvSpPr>
              <p:nvPr/>
            </p:nvSpPr>
            <p:spPr bwMode="auto">
              <a:xfrm>
                <a:off x="3266" y="181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B97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Rectangle 166"/>
              <p:cNvSpPr>
                <a:spLocks noChangeArrowheads="1"/>
              </p:cNvSpPr>
              <p:nvPr/>
            </p:nvSpPr>
            <p:spPr bwMode="auto">
              <a:xfrm>
                <a:off x="3266" y="1812"/>
                <a:ext cx="1" cy="1"/>
              </a:xfrm>
              <a:prstGeom prst="rect">
                <a:avLst/>
              </a:prstGeom>
              <a:solidFill>
                <a:srgbClr val="CB97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167"/>
              <p:cNvSpPr>
                <a:spLocks/>
              </p:cNvSpPr>
              <p:nvPr/>
            </p:nvSpPr>
            <p:spPr bwMode="auto">
              <a:xfrm>
                <a:off x="3265" y="181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B97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168"/>
              <p:cNvSpPr>
                <a:spLocks/>
              </p:cNvSpPr>
              <p:nvPr/>
            </p:nvSpPr>
            <p:spPr bwMode="auto">
              <a:xfrm>
                <a:off x="3247" y="1587"/>
                <a:ext cx="301" cy="201"/>
              </a:xfrm>
              <a:custGeom>
                <a:avLst/>
                <a:gdLst>
                  <a:gd name="T0" fmla="*/ 0 w 627"/>
                  <a:gd name="T1" fmla="*/ 352 h 418"/>
                  <a:gd name="T2" fmla="*/ 0 w 627"/>
                  <a:gd name="T3" fmla="*/ 369 h 418"/>
                  <a:gd name="T4" fmla="*/ 5 w 627"/>
                  <a:gd name="T5" fmla="*/ 399 h 418"/>
                  <a:gd name="T6" fmla="*/ 7 w 627"/>
                  <a:gd name="T7" fmla="*/ 408 h 418"/>
                  <a:gd name="T8" fmla="*/ 7 w 627"/>
                  <a:gd name="T9" fmla="*/ 408 h 418"/>
                  <a:gd name="T10" fmla="*/ 8 w 627"/>
                  <a:gd name="T11" fmla="*/ 411 h 418"/>
                  <a:gd name="T12" fmla="*/ 10 w 627"/>
                  <a:gd name="T13" fmla="*/ 418 h 418"/>
                  <a:gd name="T14" fmla="*/ 10 w 627"/>
                  <a:gd name="T15" fmla="*/ 418 h 418"/>
                  <a:gd name="T16" fmla="*/ 14 w 627"/>
                  <a:gd name="T17" fmla="*/ 415 h 418"/>
                  <a:gd name="T18" fmla="*/ 17 w 627"/>
                  <a:gd name="T19" fmla="*/ 413 h 418"/>
                  <a:gd name="T20" fmla="*/ 17 w 627"/>
                  <a:gd name="T21" fmla="*/ 413 h 418"/>
                  <a:gd name="T22" fmla="*/ 18 w 627"/>
                  <a:gd name="T23" fmla="*/ 413 h 418"/>
                  <a:gd name="T24" fmla="*/ 18 w 627"/>
                  <a:gd name="T25" fmla="*/ 413 h 418"/>
                  <a:gd name="T26" fmla="*/ 20 w 627"/>
                  <a:gd name="T27" fmla="*/ 412 h 418"/>
                  <a:gd name="T28" fmla="*/ 21 w 627"/>
                  <a:gd name="T29" fmla="*/ 411 h 418"/>
                  <a:gd name="T30" fmla="*/ 21 w 627"/>
                  <a:gd name="T31" fmla="*/ 411 h 418"/>
                  <a:gd name="T32" fmla="*/ 21 w 627"/>
                  <a:gd name="T33" fmla="*/ 411 h 418"/>
                  <a:gd name="T34" fmla="*/ 22 w 627"/>
                  <a:gd name="T35" fmla="*/ 411 h 418"/>
                  <a:gd name="T36" fmla="*/ 22 w 627"/>
                  <a:gd name="T37" fmla="*/ 411 h 418"/>
                  <a:gd name="T38" fmla="*/ 22 w 627"/>
                  <a:gd name="T39" fmla="*/ 410 h 418"/>
                  <a:gd name="T40" fmla="*/ 24 w 627"/>
                  <a:gd name="T41" fmla="*/ 410 h 418"/>
                  <a:gd name="T42" fmla="*/ 25 w 627"/>
                  <a:gd name="T43" fmla="*/ 409 h 418"/>
                  <a:gd name="T44" fmla="*/ 25 w 627"/>
                  <a:gd name="T45" fmla="*/ 408 h 418"/>
                  <a:gd name="T46" fmla="*/ 27 w 627"/>
                  <a:gd name="T47" fmla="*/ 408 h 418"/>
                  <a:gd name="T48" fmla="*/ 27 w 627"/>
                  <a:gd name="T49" fmla="*/ 408 h 418"/>
                  <a:gd name="T50" fmla="*/ 27 w 627"/>
                  <a:gd name="T51" fmla="*/ 407 h 418"/>
                  <a:gd name="T52" fmla="*/ 30 w 627"/>
                  <a:gd name="T53" fmla="*/ 406 h 418"/>
                  <a:gd name="T54" fmla="*/ 32 w 627"/>
                  <a:gd name="T55" fmla="*/ 405 h 418"/>
                  <a:gd name="T56" fmla="*/ 94 w 627"/>
                  <a:gd name="T57" fmla="*/ 369 h 418"/>
                  <a:gd name="T58" fmla="*/ 406 w 627"/>
                  <a:gd name="T59" fmla="*/ 192 h 418"/>
                  <a:gd name="T60" fmla="*/ 627 w 627"/>
                  <a:gd name="T61" fmla="*/ 66 h 418"/>
                  <a:gd name="T62" fmla="*/ 627 w 627"/>
                  <a:gd name="T63" fmla="*/ 65 h 418"/>
                  <a:gd name="T64" fmla="*/ 590 w 627"/>
                  <a:gd name="T65" fmla="*/ 1 h 418"/>
                  <a:gd name="T66" fmla="*/ 590 w 627"/>
                  <a:gd name="T67" fmla="*/ 0 h 418"/>
                  <a:gd name="T68" fmla="*/ 369 w 627"/>
                  <a:gd name="T69" fmla="*/ 132 h 418"/>
                  <a:gd name="T70" fmla="*/ 0 w 627"/>
                  <a:gd name="T71" fmla="*/ 352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27" h="418">
                    <a:moveTo>
                      <a:pt x="0" y="352"/>
                    </a:moveTo>
                    <a:lnTo>
                      <a:pt x="0" y="369"/>
                    </a:lnTo>
                    <a:cubicBezTo>
                      <a:pt x="2" y="382"/>
                      <a:pt x="4" y="392"/>
                      <a:pt x="5" y="399"/>
                    </a:cubicBezTo>
                    <a:cubicBezTo>
                      <a:pt x="6" y="402"/>
                      <a:pt x="6" y="405"/>
                      <a:pt x="7" y="408"/>
                    </a:cubicBezTo>
                    <a:lnTo>
                      <a:pt x="7" y="408"/>
                    </a:lnTo>
                    <a:lnTo>
                      <a:pt x="8" y="411"/>
                    </a:lnTo>
                    <a:cubicBezTo>
                      <a:pt x="8" y="414"/>
                      <a:pt x="9" y="416"/>
                      <a:pt x="10" y="418"/>
                    </a:cubicBezTo>
                    <a:lnTo>
                      <a:pt x="10" y="418"/>
                    </a:lnTo>
                    <a:lnTo>
                      <a:pt x="14" y="415"/>
                    </a:lnTo>
                    <a:lnTo>
                      <a:pt x="17" y="413"/>
                    </a:lnTo>
                    <a:lnTo>
                      <a:pt x="17" y="413"/>
                    </a:lnTo>
                    <a:lnTo>
                      <a:pt x="18" y="413"/>
                    </a:lnTo>
                    <a:lnTo>
                      <a:pt x="18" y="413"/>
                    </a:lnTo>
                    <a:lnTo>
                      <a:pt x="20" y="412"/>
                    </a:lnTo>
                    <a:lnTo>
                      <a:pt x="21" y="411"/>
                    </a:lnTo>
                    <a:lnTo>
                      <a:pt x="21" y="411"/>
                    </a:lnTo>
                    <a:lnTo>
                      <a:pt x="21" y="411"/>
                    </a:lnTo>
                    <a:lnTo>
                      <a:pt x="22" y="411"/>
                    </a:lnTo>
                    <a:lnTo>
                      <a:pt x="22" y="411"/>
                    </a:lnTo>
                    <a:lnTo>
                      <a:pt x="22" y="410"/>
                    </a:lnTo>
                    <a:lnTo>
                      <a:pt x="24" y="410"/>
                    </a:lnTo>
                    <a:lnTo>
                      <a:pt x="25" y="409"/>
                    </a:lnTo>
                    <a:lnTo>
                      <a:pt x="25" y="408"/>
                    </a:lnTo>
                    <a:lnTo>
                      <a:pt x="27" y="408"/>
                    </a:lnTo>
                    <a:lnTo>
                      <a:pt x="27" y="408"/>
                    </a:lnTo>
                    <a:lnTo>
                      <a:pt x="27" y="407"/>
                    </a:lnTo>
                    <a:lnTo>
                      <a:pt x="30" y="406"/>
                    </a:lnTo>
                    <a:lnTo>
                      <a:pt x="32" y="405"/>
                    </a:lnTo>
                    <a:lnTo>
                      <a:pt x="94" y="369"/>
                    </a:lnTo>
                    <a:lnTo>
                      <a:pt x="406" y="192"/>
                    </a:lnTo>
                    <a:lnTo>
                      <a:pt x="627" y="66"/>
                    </a:lnTo>
                    <a:lnTo>
                      <a:pt x="627" y="65"/>
                    </a:lnTo>
                    <a:lnTo>
                      <a:pt x="590" y="1"/>
                    </a:lnTo>
                    <a:lnTo>
                      <a:pt x="590" y="0"/>
                    </a:lnTo>
                    <a:lnTo>
                      <a:pt x="369" y="132"/>
                    </a:lnTo>
                    <a:lnTo>
                      <a:pt x="0" y="352"/>
                    </a:lnTo>
                  </a:path>
                </a:pathLst>
              </a:custGeom>
              <a:solidFill>
                <a:srgbClr val="CB97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Freeform 169"/>
              <p:cNvSpPr>
                <a:spLocks/>
              </p:cNvSpPr>
              <p:nvPr/>
            </p:nvSpPr>
            <p:spPr bwMode="auto">
              <a:xfrm>
                <a:off x="3936" y="1798"/>
                <a:ext cx="322" cy="518"/>
              </a:xfrm>
              <a:custGeom>
                <a:avLst/>
                <a:gdLst>
                  <a:gd name="T0" fmla="*/ 281 w 322"/>
                  <a:gd name="T1" fmla="*/ 518 h 518"/>
                  <a:gd name="T2" fmla="*/ 322 w 322"/>
                  <a:gd name="T3" fmla="*/ 494 h 518"/>
                  <a:gd name="T4" fmla="*/ 41 w 322"/>
                  <a:gd name="T5" fmla="*/ 0 h 518"/>
                  <a:gd name="T6" fmla="*/ 0 w 322"/>
                  <a:gd name="T7" fmla="*/ 23 h 518"/>
                  <a:gd name="T8" fmla="*/ 281 w 322"/>
                  <a:gd name="T9" fmla="*/ 518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2" h="518">
                    <a:moveTo>
                      <a:pt x="281" y="518"/>
                    </a:moveTo>
                    <a:lnTo>
                      <a:pt x="322" y="494"/>
                    </a:lnTo>
                    <a:lnTo>
                      <a:pt x="41" y="0"/>
                    </a:lnTo>
                    <a:lnTo>
                      <a:pt x="0" y="23"/>
                    </a:lnTo>
                    <a:lnTo>
                      <a:pt x="281" y="518"/>
                    </a:lnTo>
                    <a:close/>
                  </a:path>
                </a:pathLst>
              </a:custGeom>
              <a:solidFill>
                <a:srgbClr val="CA8A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Freeform 170"/>
              <p:cNvSpPr>
                <a:spLocks/>
              </p:cNvSpPr>
              <p:nvPr/>
            </p:nvSpPr>
            <p:spPr bwMode="auto">
              <a:xfrm>
                <a:off x="3936" y="1629"/>
                <a:ext cx="324" cy="192"/>
              </a:xfrm>
              <a:custGeom>
                <a:avLst/>
                <a:gdLst>
                  <a:gd name="T0" fmla="*/ 0 w 324"/>
                  <a:gd name="T1" fmla="*/ 192 h 192"/>
                  <a:gd name="T2" fmla="*/ 41 w 324"/>
                  <a:gd name="T3" fmla="*/ 169 h 192"/>
                  <a:gd name="T4" fmla="*/ 324 w 324"/>
                  <a:gd name="T5" fmla="*/ 0 h 192"/>
                  <a:gd name="T6" fmla="*/ 283 w 324"/>
                  <a:gd name="T7" fmla="*/ 23 h 192"/>
                  <a:gd name="T8" fmla="*/ 0 w 324"/>
                  <a:gd name="T9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4" h="192">
                    <a:moveTo>
                      <a:pt x="0" y="192"/>
                    </a:moveTo>
                    <a:lnTo>
                      <a:pt x="41" y="169"/>
                    </a:lnTo>
                    <a:lnTo>
                      <a:pt x="324" y="0"/>
                    </a:lnTo>
                    <a:lnTo>
                      <a:pt x="283" y="23"/>
                    </a:lnTo>
                    <a:lnTo>
                      <a:pt x="0" y="192"/>
                    </a:lnTo>
                    <a:close/>
                  </a:path>
                </a:pathLst>
              </a:custGeom>
              <a:solidFill>
                <a:srgbClr val="CA8A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171"/>
              <p:cNvSpPr>
                <a:spLocks/>
              </p:cNvSpPr>
              <p:nvPr/>
            </p:nvSpPr>
            <p:spPr bwMode="auto">
              <a:xfrm>
                <a:off x="3936" y="1652"/>
                <a:ext cx="283" cy="664"/>
              </a:xfrm>
              <a:custGeom>
                <a:avLst/>
                <a:gdLst>
                  <a:gd name="T0" fmla="*/ 585 w 589"/>
                  <a:gd name="T1" fmla="*/ 1382 h 1382"/>
                  <a:gd name="T2" fmla="*/ 589 w 589"/>
                  <a:gd name="T3" fmla="*/ 0 h 1382"/>
                  <a:gd name="T4" fmla="*/ 0 w 589"/>
                  <a:gd name="T5" fmla="*/ 352 h 1382"/>
                  <a:gd name="T6" fmla="*/ 585 w 589"/>
                  <a:gd name="T7" fmla="*/ 1382 h 1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89" h="1382">
                    <a:moveTo>
                      <a:pt x="585" y="1382"/>
                    </a:moveTo>
                    <a:lnTo>
                      <a:pt x="589" y="0"/>
                    </a:lnTo>
                    <a:lnTo>
                      <a:pt x="0" y="352"/>
                    </a:lnTo>
                    <a:lnTo>
                      <a:pt x="585" y="1382"/>
                    </a:lnTo>
                    <a:close/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172"/>
              <p:cNvSpPr>
                <a:spLocks/>
              </p:cNvSpPr>
              <p:nvPr/>
            </p:nvSpPr>
            <p:spPr bwMode="auto">
              <a:xfrm>
                <a:off x="4206" y="1629"/>
                <a:ext cx="54" cy="720"/>
              </a:xfrm>
              <a:custGeom>
                <a:avLst/>
                <a:gdLst>
                  <a:gd name="T0" fmla="*/ 7 w 111"/>
                  <a:gd name="T1" fmla="*/ 1494 h 1500"/>
                  <a:gd name="T2" fmla="*/ 7 w 111"/>
                  <a:gd name="T3" fmla="*/ 1494 h 1500"/>
                  <a:gd name="T4" fmla="*/ 7 w 111"/>
                  <a:gd name="T5" fmla="*/ 1494 h 1500"/>
                  <a:gd name="T6" fmla="*/ 7 w 111"/>
                  <a:gd name="T7" fmla="*/ 1494 h 1500"/>
                  <a:gd name="T8" fmla="*/ 7 w 111"/>
                  <a:gd name="T9" fmla="*/ 1494 h 1500"/>
                  <a:gd name="T10" fmla="*/ 7 w 111"/>
                  <a:gd name="T11" fmla="*/ 1494 h 1500"/>
                  <a:gd name="T12" fmla="*/ 11 w 111"/>
                  <a:gd name="T13" fmla="*/ 1489 h 1500"/>
                  <a:gd name="T14" fmla="*/ 9 w 111"/>
                  <a:gd name="T15" fmla="*/ 1490 h 1500"/>
                  <a:gd name="T16" fmla="*/ 11 w 111"/>
                  <a:gd name="T17" fmla="*/ 1489 h 1500"/>
                  <a:gd name="T18" fmla="*/ 13 w 111"/>
                  <a:gd name="T19" fmla="*/ 1486 h 1500"/>
                  <a:gd name="T20" fmla="*/ 18 w 111"/>
                  <a:gd name="T21" fmla="*/ 1479 h 1500"/>
                  <a:gd name="T22" fmla="*/ 18 w 111"/>
                  <a:gd name="T23" fmla="*/ 1479 h 1500"/>
                  <a:gd name="T24" fmla="*/ 18 w 111"/>
                  <a:gd name="T25" fmla="*/ 1479 h 1500"/>
                  <a:gd name="T26" fmla="*/ 21 w 111"/>
                  <a:gd name="T27" fmla="*/ 1468 h 1500"/>
                  <a:gd name="T28" fmla="*/ 23 w 111"/>
                  <a:gd name="T29" fmla="*/ 1458 h 1500"/>
                  <a:gd name="T30" fmla="*/ 23 w 111"/>
                  <a:gd name="T31" fmla="*/ 1431 h 1500"/>
                  <a:gd name="T32" fmla="*/ 23 w 111"/>
                  <a:gd name="T33" fmla="*/ 1431 h 1500"/>
                  <a:gd name="T34" fmla="*/ 27 w 111"/>
                  <a:gd name="T35" fmla="*/ 49 h 1500"/>
                  <a:gd name="T36" fmla="*/ 111 w 111"/>
                  <a:gd name="T37" fmla="*/ 0 h 1500"/>
                  <a:gd name="T38" fmla="*/ 108 w 111"/>
                  <a:gd name="T39" fmla="*/ 1382 h 1500"/>
                  <a:gd name="T40" fmla="*/ 108 w 111"/>
                  <a:gd name="T41" fmla="*/ 1382 h 1500"/>
                  <a:gd name="T42" fmla="*/ 107 w 111"/>
                  <a:gd name="T43" fmla="*/ 1409 h 1500"/>
                  <a:gd name="T44" fmla="*/ 107 w 111"/>
                  <a:gd name="T45" fmla="*/ 1409 h 1500"/>
                  <a:gd name="T46" fmla="*/ 105 w 111"/>
                  <a:gd name="T47" fmla="*/ 1419 h 1500"/>
                  <a:gd name="T48" fmla="*/ 102 w 111"/>
                  <a:gd name="T49" fmla="*/ 1429 h 1500"/>
                  <a:gd name="T50" fmla="*/ 102 w 111"/>
                  <a:gd name="T51" fmla="*/ 1430 h 1500"/>
                  <a:gd name="T52" fmla="*/ 101 w 111"/>
                  <a:gd name="T53" fmla="*/ 1431 h 1500"/>
                  <a:gd name="T54" fmla="*/ 100 w 111"/>
                  <a:gd name="T55" fmla="*/ 1433 h 1500"/>
                  <a:gd name="T56" fmla="*/ 100 w 111"/>
                  <a:gd name="T57" fmla="*/ 1433 h 1500"/>
                  <a:gd name="T58" fmla="*/ 100 w 111"/>
                  <a:gd name="T59" fmla="*/ 1434 h 1500"/>
                  <a:gd name="T60" fmla="*/ 98 w 111"/>
                  <a:gd name="T61" fmla="*/ 1437 h 1500"/>
                  <a:gd name="T62" fmla="*/ 98 w 111"/>
                  <a:gd name="T63" fmla="*/ 1437 h 1500"/>
                  <a:gd name="T64" fmla="*/ 98 w 111"/>
                  <a:gd name="T65" fmla="*/ 1438 h 1500"/>
                  <a:gd name="T66" fmla="*/ 98 w 111"/>
                  <a:gd name="T67" fmla="*/ 1438 h 1500"/>
                  <a:gd name="T68" fmla="*/ 98 w 111"/>
                  <a:gd name="T69" fmla="*/ 1438 h 1500"/>
                  <a:gd name="T70" fmla="*/ 97 w 111"/>
                  <a:gd name="T71" fmla="*/ 1438 h 1500"/>
                  <a:gd name="T72" fmla="*/ 97 w 111"/>
                  <a:gd name="T73" fmla="*/ 1438 h 1500"/>
                  <a:gd name="T74" fmla="*/ 98 w 111"/>
                  <a:gd name="T75" fmla="*/ 1438 h 1500"/>
                  <a:gd name="T76" fmla="*/ 95 w 111"/>
                  <a:gd name="T77" fmla="*/ 1441 h 1500"/>
                  <a:gd name="T78" fmla="*/ 95 w 111"/>
                  <a:gd name="T79" fmla="*/ 1441 h 1500"/>
                  <a:gd name="T80" fmla="*/ 92 w 111"/>
                  <a:gd name="T81" fmla="*/ 1445 h 1500"/>
                  <a:gd name="T82" fmla="*/ 92 w 111"/>
                  <a:gd name="T83" fmla="*/ 1445 h 1500"/>
                  <a:gd name="T84" fmla="*/ 92 w 111"/>
                  <a:gd name="T85" fmla="*/ 1445 h 1500"/>
                  <a:gd name="T86" fmla="*/ 91 w 111"/>
                  <a:gd name="T87" fmla="*/ 1445 h 1500"/>
                  <a:gd name="T88" fmla="*/ 89 w 111"/>
                  <a:gd name="T89" fmla="*/ 1447 h 1500"/>
                  <a:gd name="T90" fmla="*/ 88 w 111"/>
                  <a:gd name="T91" fmla="*/ 1448 h 1500"/>
                  <a:gd name="T92" fmla="*/ 85 w 111"/>
                  <a:gd name="T93" fmla="*/ 1450 h 1500"/>
                  <a:gd name="T94" fmla="*/ 84 w 111"/>
                  <a:gd name="T95" fmla="*/ 1451 h 1500"/>
                  <a:gd name="T96" fmla="*/ 84 w 111"/>
                  <a:gd name="T97" fmla="*/ 1451 h 1500"/>
                  <a:gd name="T98" fmla="*/ 0 w 111"/>
                  <a:gd name="T99" fmla="*/ 1500 h 1500"/>
                  <a:gd name="T100" fmla="*/ 7 w 111"/>
                  <a:gd name="T101" fmla="*/ 1494 h 1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11" h="1500">
                    <a:moveTo>
                      <a:pt x="7" y="1494"/>
                    </a:moveTo>
                    <a:lnTo>
                      <a:pt x="7" y="1494"/>
                    </a:lnTo>
                    <a:lnTo>
                      <a:pt x="7" y="1494"/>
                    </a:lnTo>
                    <a:lnTo>
                      <a:pt x="7" y="1494"/>
                    </a:lnTo>
                    <a:lnTo>
                      <a:pt x="7" y="1494"/>
                    </a:lnTo>
                    <a:lnTo>
                      <a:pt x="7" y="1494"/>
                    </a:lnTo>
                    <a:lnTo>
                      <a:pt x="11" y="1489"/>
                    </a:lnTo>
                    <a:lnTo>
                      <a:pt x="9" y="1490"/>
                    </a:lnTo>
                    <a:lnTo>
                      <a:pt x="11" y="1489"/>
                    </a:lnTo>
                    <a:lnTo>
                      <a:pt x="13" y="1486"/>
                    </a:lnTo>
                    <a:cubicBezTo>
                      <a:pt x="15" y="1484"/>
                      <a:pt x="16" y="1481"/>
                      <a:pt x="18" y="1479"/>
                    </a:cubicBezTo>
                    <a:lnTo>
                      <a:pt x="18" y="1479"/>
                    </a:lnTo>
                    <a:lnTo>
                      <a:pt x="18" y="1479"/>
                    </a:lnTo>
                    <a:cubicBezTo>
                      <a:pt x="20" y="1472"/>
                      <a:pt x="21" y="1470"/>
                      <a:pt x="21" y="1468"/>
                    </a:cubicBezTo>
                    <a:cubicBezTo>
                      <a:pt x="22" y="1462"/>
                      <a:pt x="22" y="1460"/>
                      <a:pt x="23" y="1458"/>
                    </a:cubicBezTo>
                    <a:lnTo>
                      <a:pt x="23" y="1431"/>
                    </a:lnTo>
                    <a:lnTo>
                      <a:pt x="23" y="1431"/>
                    </a:lnTo>
                    <a:lnTo>
                      <a:pt x="27" y="49"/>
                    </a:lnTo>
                    <a:lnTo>
                      <a:pt x="111" y="0"/>
                    </a:lnTo>
                    <a:lnTo>
                      <a:pt x="108" y="1382"/>
                    </a:lnTo>
                    <a:lnTo>
                      <a:pt x="108" y="1382"/>
                    </a:lnTo>
                    <a:lnTo>
                      <a:pt x="107" y="1409"/>
                    </a:lnTo>
                    <a:lnTo>
                      <a:pt x="107" y="1409"/>
                    </a:lnTo>
                    <a:cubicBezTo>
                      <a:pt x="107" y="1411"/>
                      <a:pt x="107" y="1413"/>
                      <a:pt x="105" y="1419"/>
                    </a:cubicBezTo>
                    <a:cubicBezTo>
                      <a:pt x="105" y="1421"/>
                      <a:pt x="104" y="1422"/>
                      <a:pt x="102" y="1429"/>
                    </a:cubicBezTo>
                    <a:lnTo>
                      <a:pt x="102" y="1430"/>
                    </a:lnTo>
                    <a:lnTo>
                      <a:pt x="101" y="1431"/>
                    </a:lnTo>
                    <a:lnTo>
                      <a:pt x="100" y="1433"/>
                    </a:lnTo>
                    <a:lnTo>
                      <a:pt x="100" y="1433"/>
                    </a:lnTo>
                    <a:lnTo>
                      <a:pt x="100" y="1434"/>
                    </a:lnTo>
                    <a:lnTo>
                      <a:pt x="98" y="1437"/>
                    </a:lnTo>
                    <a:lnTo>
                      <a:pt x="98" y="1437"/>
                    </a:lnTo>
                    <a:lnTo>
                      <a:pt x="98" y="1438"/>
                    </a:lnTo>
                    <a:lnTo>
                      <a:pt x="98" y="1438"/>
                    </a:lnTo>
                    <a:lnTo>
                      <a:pt x="98" y="1438"/>
                    </a:lnTo>
                    <a:lnTo>
                      <a:pt x="97" y="1438"/>
                    </a:lnTo>
                    <a:lnTo>
                      <a:pt x="97" y="1438"/>
                    </a:lnTo>
                    <a:lnTo>
                      <a:pt x="98" y="1438"/>
                    </a:lnTo>
                    <a:lnTo>
                      <a:pt x="95" y="1441"/>
                    </a:lnTo>
                    <a:lnTo>
                      <a:pt x="95" y="1441"/>
                    </a:lnTo>
                    <a:lnTo>
                      <a:pt x="92" y="1445"/>
                    </a:lnTo>
                    <a:lnTo>
                      <a:pt x="92" y="1445"/>
                    </a:lnTo>
                    <a:lnTo>
                      <a:pt x="92" y="1445"/>
                    </a:lnTo>
                    <a:lnTo>
                      <a:pt x="91" y="1445"/>
                    </a:lnTo>
                    <a:lnTo>
                      <a:pt x="89" y="1447"/>
                    </a:lnTo>
                    <a:lnTo>
                      <a:pt x="88" y="1448"/>
                    </a:lnTo>
                    <a:lnTo>
                      <a:pt x="85" y="1450"/>
                    </a:lnTo>
                    <a:lnTo>
                      <a:pt x="84" y="1451"/>
                    </a:lnTo>
                    <a:lnTo>
                      <a:pt x="84" y="1451"/>
                    </a:lnTo>
                    <a:lnTo>
                      <a:pt x="0" y="1500"/>
                    </a:lnTo>
                    <a:cubicBezTo>
                      <a:pt x="2" y="1498"/>
                      <a:pt x="5" y="1496"/>
                      <a:pt x="7" y="1494"/>
                    </a:cubicBezTo>
                  </a:path>
                </a:pathLst>
              </a:custGeom>
              <a:solidFill>
                <a:srgbClr val="CD94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173"/>
              <p:cNvSpPr>
                <a:spLocks/>
              </p:cNvSpPr>
              <p:nvPr/>
            </p:nvSpPr>
            <p:spPr bwMode="auto">
              <a:xfrm>
                <a:off x="4215" y="1597"/>
                <a:ext cx="45" cy="55"/>
              </a:xfrm>
              <a:custGeom>
                <a:avLst/>
                <a:gdLst>
                  <a:gd name="T0" fmla="*/ 0 w 94"/>
                  <a:gd name="T1" fmla="*/ 49 h 115"/>
                  <a:gd name="T2" fmla="*/ 84 w 94"/>
                  <a:gd name="T3" fmla="*/ 0 h 115"/>
                  <a:gd name="T4" fmla="*/ 94 w 94"/>
                  <a:gd name="T5" fmla="*/ 49 h 115"/>
                  <a:gd name="T6" fmla="*/ 93 w 94"/>
                  <a:gd name="T7" fmla="*/ 66 h 115"/>
                  <a:gd name="T8" fmla="*/ 9 w 94"/>
                  <a:gd name="T9" fmla="*/ 115 h 115"/>
                  <a:gd name="T10" fmla="*/ 9 w 94"/>
                  <a:gd name="T11" fmla="*/ 98 h 115"/>
                  <a:gd name="T12" fmla="*/ 0 w 94"/>
                  <a:gd name="T13" fmla="*/ 4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4" h="115">
                    <a:moveTo>
                      <a:pt x="0" y="49"/>
                    </a:moveTo>
                    <a:lnTo>
                      <a:pt x="84" y="0"/>
                    </a:lnTo>
                    <a:cubicBezTo>
                      <a:pt x="90" y="17"/>
                      <a:pt x="94" y="33"/>
                      <a:pt x="94" y="49"/>
                    </a:cubicBezTo>
                    <a:lnTo>
                      <a:pt x="93" y="66"/>
                    </a:lnTo>
                    <a:lnTo>
                      <a:pt x="9" y="115"/>
                    </a:lnTo>
                    <a:lnTo>
                      <a:pt x="9" y="98"/>
                    </a:lnTo>
                    <a:cubicBezTo>
                      <a:pt x="9" y="83"/>
                      <a:pt x="6" y="66"/>
                      <a:pt x="0" y="49"/>
                    </a:cubicBezTo>
                    <a:close/>
                  </a:path>
                </a:pathLst>
              </a:custGeom>
              <a:solidFill>
                <a:srgbClr val="B47E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174"/>
              <p:cNvSpPr>
                <a:spLocks/>
              </p:cNvSpPr>
              <p:nvPr/>
            </p:nvSpPr>
            <p:spPr bwMode="auto">
              <a:xfrm>
                <a:off x="3249" y="1066"/>
                <a:ext cx="970" cy="836"/>
              </a:xfrm>
              <a:custGeom>
                <a:avLst/>
                <a:gdLst>
                  <a:gd name="T0" fmla="*/ 10 w 2021"/>
                  <a:gd name="T1" fmla="*/ 0 h 1741"/>
                  <a:gd name="T2" fmla="*/ 0 w 2021"/>
                  <a:gd name="T3" fmla="*/ 38 h 1741"/>
                  <a:gd name="T4" fmla="*/ 0 w 2021"/>
                  <a:gd name="T5" fmla="*/ 55 h 1741"/>
                  <a:gd name="T6" fmla="*/ 586 w 2021"/>
                  <a:gd name="T7" fmla="*/ 1085 h 1741"/>
                  <a:gd name="T8" fmla="*/ 623 w 2021"/>
                  <a:gd name="T9" fmla="*/ 1151 h 1741"/>
                  <a:gd name="T10" fmla="*/ 811 w 2021"/>
                  <a:gd name="T11" fmla="*/ 1481 h 1741"/>
                  <a:gd name="T12" fmla="*/ 1008 w 2021"/>
                  <a:gd name="T13" fmla="*/ 1690 h 1741"/>
                  <a:gd name="T14" fmla="*/ 1205 w 2021"/>
                  <a:gd name="T15" fmla="*/ 1708 h 1741"/>
                  <a:gd name="T16" fmla="*/ 1394 w 2021"/>
                  <a:gd name="T17" fmla="*/ 1596 h 1741"/>
                  <a:gd name="T18" fmla="*/ 1432 w 2021"/>
                  <a:gd name="T19" fmla="*/ 1573 h 1741"/>
                  <a:gd name="T20" fmla="*/ 2021 w 2021"/>
                  <a:gd name="T21" fmla="*/ 1221 h 1741"/>
                  <a:gd name="T22" fmla="*/ 2021 w 2021"/>
                  <a:gd name="T23" fmla="*/ 1204 h 1741"/>
                  <a:gd name="T24" fmla="*/ 2012 w 2021"/>
                  <a:gd name="T25" fmla="*/ 1155 h 1741"/>
                  <a:gd name="T26" fmla="*/ 1192 w 2021"/>
                  <a:gd name="T27" fmla="*/ 1622 h 1741"/>
                  <a:gd name="T28" fmla="*/ 1008 w 2021"/>
                  <a:gd name="T29" fmla="*/ 1604 h 1741"/>
                  <a:gd name="T30" fmla="*/ 824 w 2021"/>
                  <a:gd name="T31" fmla="*/ 1410 h 1741"/>
                  <a:gd name="T32" fmla="*/ 10 w 2021"/>
                  <a:gd name="T33" fmla="*/ 0 h 1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021" h="1741">
                    <a:moveTo>
                      <a:pt x="10" y="0"/>
                    </a:moveTo>
                    <a:cubicBezTo>
                      <a:pt x="4" y="9"/>
                      <a:pt x="0" y="22"/>
                      <a:pt x="0" y="38"/>
                    </a:cubicBezTo>
                    <a:lnTo>
                      <a:pt x="0" y="55"/>
                    </a:lnTo>
                    <a:lnTo>
                      <a:pt x="586" y="1085"/>
                    </a:lnTo>
                    <a:lnTo>
                      <a:pt x="623" y="1151"/>
                    </a:lnTo>
                    <a:lnTo>
                      <a:pt x="811" y="1481"/>
                    </a:lnTo>
                    <a:cubicBezTo>
                      <a:pt x="865" y="1576"/>
                      <a:pt x="936" y="1649"/>
                      <a:pt x="1008" y="1690"/>
                    </a:cubicBezTo>
                    <a:cubicBezTo>
                      <a:pt x="1079" y="1732"/>
                      <a:pt x="1150" y="1741"/>
                      <a:pt x="1205" y="1708"/>
                    </a:cubicBezTo>
                    <a:lnTo>
                      <a:pt x="1394" y="1596"/>
                    </a:lnTo>
                    <a:lnTo>
                      <a:pt x="1432" y="1573"/>
                    </a:lnTo>
                    <a:lnTo>
                      <a:pt x="2021" y="1221"/>
                    </a:lnTo>
                    <a:lnTo>
                      <a:pt x="2021" y="1204"/>
                    </a:lnTo>
                    <a:cubicBezTo>
                      <a:pt x="2021" y="1189"/>
                      <a:pt x="2018" y="1172"/>
                      <a:pt x="2012" y="1155"/>
                    </a:cubicBezTo>
                    <a:lnTo>
                      <a:pt x="1192" y="1622"/>
                    </a:lnTo>
                    <a:cubicBezTo>
                      <a:pt x="1141" y="1651"/>
                      <a:pt x="1075" y="1642"/>
                      <a:pt x="1008" y="1604"/>
                    </a:cubicBezTo>
                    <a:cubicBezTo>
                      <a:pt x="941" y="1565"/>
                      <a:pt x="875" y="1497"/>
                      <a:pt x="824" y="1410"/>
                    </a:cubicBezTo>
                    <a:lnTo>
                      <a:pt x="10" y="0"/>
                    </a:lnTo>
                  </a:path>
                </a:pathLst>
              </a:custGeom>
              <a:solidFill>
                <a:srgbClr val="CB97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175"/>
              <p:cNvSpPr>
                <a:spLocks/>
              </p:cNvSpPr>
              <p:nvPr/>
            </p:nvSpPr>
            <p:spPr bwMode="auto">
              <a:xfrm>
                <a:off x="3821" y="1597"/>
                <a:ext cx="434" cy="248"/>
              </a:xfrm>
              <a:custGeom>
                <a:avLst/>
                <a:gdLst>
                  <a:gd name="T0" fmla="*/ 394 w 434"/>
                  <a:gd name="T1" fmla="*/ 24 h 248"/>
                  <a:gd name="T2" fmla="*/ 434 w 434"/>
                  <a:gd name="T3" fmla="*/ 0 h 248"/>
                  <a:gd name="T4" fmla="*/ 41 w 434"/>
                  <a:gd name="T5" fmla="*/ 224 h 248"/>
                  <a:gd name="T6" fmla="*/ 0 w 434"/>
                  <a:gd name="T7" fmla="*/ 248 h 248"/>
                  <a:gd name="T8" fmla="*/ 394 w 434"/>
                  <a:gd name="T9" fmla="*/ 24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4" h="248">
                    <a:moveTo>
                      <a:pt x="394" y="24"/>
                    </a:moveTo>
                    <a:lnTo>
                      <a:pt x="434" y="0"/>
                    </a:lnTo>
                    <a:lnTo>
                      <a:pt x="41" y="224"/>
                    </a:lnTo>
                    <a:lnTo>
                      <a:pt x="0" y="248"/>
                    </a:lnTo>
                    <a:lnTo>
                      <a:pt x="394" y="24"/>
                    </a:lnTo>
                    <a:close/>
                  </a:path>
                </a:pathLst>
              </a:custGeom>
              <a:solidFill>
                <a:srgbClr val="CA8A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176"/>
              <p:cNvSpPr>
                <a:spLocks/>
              </p:cNvSpPr>
              <p:nvPr/>
            </p:nvSpPr>
            <p:spPr bwMode="auto">
              <a:xfrm>
                <a:off x="3261" y="1032"/>
                <a:ext cx="994" cy="589"/>
              </a:xfrm>
              <a:custGeom>
                <a:avLst/>
                <a:gdLst>
                  <a:gd name="T0" fmla="*/ 84 w 2072"/>
                  <a:gd name="T1" fmla="*/ 8 h 1226"/>
                  <a:gd name="T2" fmla="*/ 141 w 2072"/>
                  <a:gd name="T3" fmla="*/ 14 h 1226"/>
                  <a:gd name="T4" fmla="*/ 2001 w 2072"/>
                  <a:gd name="T5" fmla="*/ 1088 h 1226"/>
                  <a:gd name="T6" fmla="*/ 2072 w 2072"/>
                  <a:gd name="T7" fmla="*/ 1177 h 1226"/>
                  <a:gd name="T8" fmla="*/ 1988 w 2072"/>
                  <a:gd name="T9" fmla="*/ 1226 h 1226"/>
                  <a:gd name="T10" fmla="*/ 1917 w 2072"/>
                  <a:gd name="T11" fmla="*/ 1137 h 1226"/>
                  <a:gd name="T12" fmla="*/ 57 w 2072"/>
                  <a:gd name="T13" fmla="*/ 63 h 1226"/>
                  <a:gd name="T14" fmla="*/ 0 w 2072"/>
                  <a:gd name="T15" fmla="*/ 57 h 1226"/>
                  <a:gd name="T16" fmla="*/ 84 w 2072"/>
                  <a:gd name="T17" fmla="*/ 8 h 1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72" h="1226">
                    <a:moveTo>
                      <a:pt x="84" y="8"/>
                    </a:moveTo>
                    <a:cubicBezTo>
                      <a:pt x="99" y="0"/>
                      <a:pt x="119" y="1"/>
                      <a:pt x="141" y="14"/>
                    </a:cubicBezTo>
                    <a:lnTo>
                      <a:pt x="2001" y="1088"/>
                    </a:lnTo>
                    <a:cubicBezTo>
                      <a:pt x="2032" y="1105"/>
                      <a:pt x="2059" y="1140"/>
                      <a:pt x="2072" y="1177"/>
                    </a:cubicBezTo>
                    <a:lnTo>
                      <a:pt x="1988" y="1226"/>
                    </a:lnTo>
                    <a:cubicBezTo>
                      <a:pt x="1974" y="1189"/>
                      <a:pt x="1948" y="1154"/>
                      <a:pt x="1917" y="1137"/>
                    </a:cubicBezTo>
                    <a:lnTo>
                      <a:pt x="57" y="63"/>
                    </a:lnTo>
                    <a:cubicBezTo>
                      <a:pt x="35" y="50"/>
                      <a:pt x="14" y="49"/>
                      <a:pt x="0" y="57"/>
                    </a:cubicBezTo>
                    <a:lnTo>
                      <a:pt x="84" y="8"/>
                    </a:lnTo>
                  </a:path>
                </a:pathLst>
              </a:custGeom>
              <a:solidFill>
                <a:srgbClr val="E3BB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177"/>
              <p:cNvSpPr>
                <a:spLocks/>
              </p:cNvSpPr>
              <p:nvPr/>
            </p:nvSpPr>
            <p:spPr bwMode="auto">
              <a:xfrm>
                <a:off x="3254" y="1054"/>
                <a:ext cx="961" cy="805"/>
              </a:xfrm>
              <a:custGeom>
                <a:avLst/>
                <a:gdLst>
                  <a:gd name="T0" fmla="*/ 71 w 2002"/>
                  <a:gd name="T1" fmla="*/ 18 h 1677"/>
                  <a:gd name="T2" fmla="*/ 0 w 2002"/>
                  <a:gd name="T3" fmla="*/ 26 h 1677"/>
                  <a:gd name="T4" fmla="*/ 814 w 2002"/>
                  <a:gd name="T5" fmla="*/ 1436 h 1677"/>
                  <a:gd name="T6" fmla="*/ 998 w 2002"/>
                  <a:gd name="T7" fmla="*/ 1630 h 1677"/>
                  <a:gd name="T8" fmla="*/ 1182 w 2002"/>
                  <a:gd name="T9" fmla="*/ 1648 h 1677"/>
                  <a:gd name="T10" fmla="*/ 2002 w 2002"/>
                  <a:gd name="T11" fmla="*/ 1181 h 1677"/>
                  <a:gd name="T12" fmla="*/ 1931 w 2002"/>
                  <a:gd name="T13" fmla="*/ 1092 h 1677"/>
                  <a:gd name="T14" fmla="*/ 71 w 2002"/>
                  <a:gd name="T15" fmla="*/ 18 h 16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02" h="1677">
                    <a:moveTo>
                      <a:pt x="71" y="18"/>
                    </a:moveTo>
                    <a:cubicBezTo>
                      <a:pt x="40" y="0"/>
                      <a:pt x="14" y="4"/>
                      <a:pt x="0" y="26"/>
                    </a:cubicBezTo>
                    <a:lnTo>
                      <a:pt x="814" y="1436"/>
                    </a:lnTo>
                    <a:cubicBezTo>
                      <a:pt x="865" y="1523"/>
                      <a:pt x="931" y="1591"/>
                      <a:pt x="998" y="1630"/>
                    </a:cubicBezTo>
                    <a:cubicBezTo>
                      <a:pt x="1065" y="1668"/>
                      <a:pt x="1131" y="1677"/>
                      <a:pt x="1182" y="1648"/>
                    </a:cubicBezTo>
                    <a:lnTo>
                      <a:pt x="2002" y="1181"/>
                    </a:lnTo>
                    <a:cubicBezTo>
                      <a:pt x="1988" y="1144"/>
                      <a:pt x="1962" y="1109"/>
                      <a:pt x="1931" y="1092"/>
                    </a:cubicBezTo>
                    <a:lnTo>
                      <a:pt x="71" y="18"/>
                    </a:lnTo>
                  </a:path>
                </a:pathLst>
              </a:custGeom>
              <a:solidFill>
                <a:srgbClr val="F8C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178"/>
              <p:cNvSpPr>
                <a:spLocks/>
              </p:cNvSpPr>
              <p:nvPr/>
            </p:nvSpPr>
            <p:spPr bwMode="auto">
              <a:xfrm>
                <a:off x="3252" y="1619"/>
                <a:ext cx="961" cy="732"/>
              </a:xfrm>
              <a:custGeom>
                <a:avLst/>
                <a:gdLst>
                  <a:gd name="T0" fmla="*/ 0 w 2001"/>
                  <a:gd name="T1" fmla="*/ 352 h 1526"/>
                  <a:gd name="T2" fmla="*/ 1 w 2001"/>
                  <a:gd name="T3" fmla="*/ 354 h 1526"/>
                  <a:gd name="T4" fmla="*/ 2 w 2001"/>
                  <a:gd name="T5" fmla="*/ 358 h 1526"/>
                  <a:gd name="T6" fmla="*/ 4 w 2001"/>
                  <a:gd name="T7" fmla="*/ 363 h 1526"/>
                  <a:gd name="T8" fmla="*/ 6 w 2001"/>
                  <a:gd name="T9" fmla="*/ 367 h 1526"/>
                  <a:gd name="T10" fmla="*/ 7 w 2001"/>
                  <a:gd name="T11" fmla="*/ 369 h 1526"/>
                  <a:gd name="T12" fmla="*/ 12 w 2001"/>
                  <a:gd name="T13" fmla="*/ 379 h 1526"/>
                  <a:gd name="T14" fmla="*/ 16 w 2001"/>
                  <a:gd name="T15" fmla="*/ 385 h 1526"/>
                  <a:gd name="T16" fmla="*/ 16 w 2001"/>
                  <a:gd name="T17" fmla="*/ 385 h 1526"/>
                  <a:gd name="T18" fmla="*/ 21 w 2001"/>
                  <a:gd name="T19" fmla="*/ 393 h 1526"/>
                  <a:gd name="T20" fmla="*/ 21 w 2001"/>
                  <a:gd name="T21" fmla="*/ 393 h 1526"/>
                  <a:gd name="T22" fmla="*/ 26 w 2001"/>
                  <a:gd name="T23" fmla="*/ 400 h 1526"/>
                  <a:gd name="T24" fmla="*/ 28 w 2001"/>
                  <a:gd name="T25" fmla="*/ 403 h 1526"/>
                  <a:gd name="T26" fmla="*/ 28 w 2001"/>
                  <a:gd name="T27" fmla="*/ 403 h 1526"/>
                  <a:gd name="T28" fmla="*/ 29 w 2001"/>
                  <a:gd name="T29" fmla="*/ 404 h 1526"/>
                  <a:gd name="T30" fmla="*/ 29 w 2001"/>
                  <a:gd name="T31" fmla="*/ 404 h 1526"/>
                  <a:gd name="T32" fmla="*/ 29 w 2001"/>
                  <a:gd name="T33" fmla="*/ 404 h 1526"/>
                  <a:gd name="T34" fmla="*/ 32 w 2001"/>
                  <a:gd name="T35" fmla="*/ 407 h 1526"/>
                  <a:gd name="T36" fmla="*/ 33 w 2001"/>
                  <a:gd name="T37" fmla="*/ 408 h 1526"/>
                  <a:gd name="T38" fmla="*/ 38 w 2001"/>
                  <a:gd name="T39" fmla="*/ 415 h 1526"/>
                  <a:gd name="T40" fmla="*/ 467 w 2001"/>
                  <a:gd name="T41" fmla="*/ 670 h 1526"/>
                  <a:gd name="T42" fmla="*/ 1967 w 2001"/>
                  <a:gd name="T43" fmla="*/ 1526 h 1526"/>
                  <a:gd name="T44" fmla="*/ 1978 w 2001"/>
                  <a:gd name="T45" fmla="*/ 1524 h 1526"/>
                  <a:gd name="T46" fmla="*/ 1988 w 2001"/>
                  <a:gd name="T47" fmla="*/ 1521 h 1526"/>
                  <a:gd name="T48" fmla="*/ 1995 w 2001"/>
                  <a:gd name="T49" fmla="*/ 1515 h 1526"/>
                  <a:gd name="T50" fmla="*/ 1995 w 2001"/>
                  <a:gd name="T51" fmla="*/ 1515 h 1526"/>
                  <a:gd name="T52" fmla="*/ 1998 w 2001"/>
                  <a:gd name="T53" fmla="*/ 1512 h 1526"/>
                  <a:gd name="T54" fmla="*/ 2000 w 2001"/>
                  <a:gd name="T55" fmla="*/ 1509 h 1526"/>
                  <a:gd name="T56" fmla="*/ 2001 w 2001"/>
                  <a:gd name="T57" fmla="*/ 1508 h 1526"/>
                  <a:gd name="T58" fmla="*/ 1987 w 2001"/>
                  <a:gd name="T59" fmla="*/ 1482 h 1526"/>
                  <a:gd name="T60" fmla="*/ 1388 w 2001"/>
                  <a:gd name="T61" fmla="*/ 445 h 1526"/>
                  <a:gd name="T62" fmla="*/ 1269 w 2001"/>
                  <a:gd name="T63" fmla="*/ 515 h 1526"/>
                  <a:gd name="T64" fmla="*/ 1002 w 2001"/>
                  <a:gd name="T65" fmla="*/ 539 h 1526"/>
                  <a:gd name="T66" fmla="*/ 617 w 2001"/>
                  <a:gd name="T67" fmla="*/ 0 h 1526"/>
                  <a:gd name="T68" fmla="*/ 84 w 2001"/>
                  <a:gd name="T69" fmla="*/ 303 h 1526"/>
                  <a:gd name="T70" fmla="*/ 20 w 2001"/>
                  <a:gd name="T71" fmla="*/ 340 h 1526"/>
                  <a:gd name="T72" fmla="*/ 17 w 2001"/>
                  <a:gd name="T73" fmla="*/ 342 h 1526"/>
                  <a:gd name="T74" fmla="*/ 15 w 2001"/>
                  <a:gd name="T75" fmla="*/ 342 h 1526"/>
                  <a:gd name="T76" fmla="*/ 14 w 2001"/>
                  <a:gd name="T77" fmla="*/ 344 h 1526"/>
                  <a:gd name="T78" fmla="*/ 12 w 2001"/>
                  <a:gd name="T79" fmla="*/ 345 h 1526"/>
                  <a:gd name="T80" fmla="*/ 11 w 2001"/>
                  <a:gd name="T81" fmla="*/ 345 h 1526"/>
                  <a:gd name="T82" fmla="*/ 11 w 2001"/>
                  <a:gd name="T83" fmla="*/ 345 h 1526"/>
                  <a:gd name="T84" fmla="*/ 8 w 2001"/>
                  <a:gd name="T85" fmla="*/ 347 h 1526"/>
                  <a:gd name="T86" fmla="*/ 7 w 2001"/>
                  <a:gd name="T87" fmla="*/ 347 h 1526"/>
                  <a:gd name="T88" fmla="*/ 4 w 2001"/>
                  <a:gd name="T89" fmla="*/ 349 h 1526"/>
                  <a:gd name="T90" fmla="*/ 0 w 2001"/>
                  <a:gd name="T91" fmla="*/ 352 h 15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001" h="1526">
                    <a:moveTo>
                      <a:pt x="0" y="352"/>
                    </a:moveTo>
                    <a:lnTo>
                      <a:pt x="0" y="352"/>
                    </a:lnTo>
                    <a:lnTo>
                      <a:pt x="0" y="352"/>
                    </a:lnTo>
                    <a:lnTo>
                      <a:pt x="1" y="354"/>
                    </a:lnTo>
                    <a:lnTo>
                      <a:pt x="1" y="356"/>
                    </a:lnTo>
                    <a:lnTo>
                      <a:pt x="2" y="358"/>
                    </a:lnTo>
                    <a:lnTo>
                      <a:pt x="4" y="362"/>
                    </a:lnTo>
                    <a:lnTo>
                      <a:pt x="4" y="363"/>
                    </a:lnTo>
                    <a:lnTo>
                      <a:pt x="6" y="367"/>
                    </a:lnTo>
                    <a:lnTo>
                      <a:pt x="6" y="367"/>
                    </a:lnTo>
                    <a:lnTo>
                      <a:pt x="7" y="369"/>
                    </a:lnTo>
                    <a:lnTo>
                      <a:pt x="7" y="369"/>
                    </a:lnTo>
                    <a:cubicBezTo>
                      <a:pt x="8" y="372"/>
                      <a:pt x="10" y="375"/>
                      <a:pt x="11" y="377"/>
                    </a:cubicBezTo>
                    <a:lnTo>
                      <a:pt x="12" y="379"/>
                    </a:lnTo>
                    <a:cubicBezTo>
                      <a:pt x="13" y="381"/>
                      <a:pt x="14" y="383"/>
                      <a:pt x="16" y="385"/>
                    </a:cubicBezTo>
                    <a:lnTo>
                      <a:pt x="16" y="385"/>
                    </a:lnTo>
                    <a:lnTo>
                      <a:pt x="16" y="385"/>
                    </a:lnTo>
                    <a:lnTo>
                      <a:pt x="16" y="385"/>
                    </a:lnTo>
                    <a:cubicBezTo>
                      <a:pt x="18" y="388"/>
                      <a:pt x="19" y="390"/>
                      <a:pt x="21" y="393"/>
                    </a:cubicBezTo>
                    <a:lnTo>
                      <a:pt x="21" y="393"/>
                    </a:lnTo>
                    <a:lnTo>
                      <a:pt x="21" y="393"/>
                    </a:lnTo>
                    <a:lnTo>
                      <a:pt x="21" y="393"/>
                    </a:lnTo>
                    <a:lnTo>
                      <a:pt x="24" y="397"/>
                    </a:lnTo>
                    <a:lnTo>
                      <a:pt x="26" y="400"/>
                    </a:lnTo>
                    <a:lnTo>
                      <a:pt x="26" y="401"/>
                    </a:lnTo>
                    <a:lnTo>
                      <a:pt x="28" y="403"/>
                    </a:lnTo>
                    <a:lnTo>
                      <a:pt x="28" y="403"/>
                    </a:lnTo>
                    <a:lnTo>
                      <a:pt x="28" y="403"/>
                    </a:lnTo>
                    <a:lnTo>
                      <a:pt x="29" y="403"/>
                    </a:lnTo>
                    <a:lnTo>
                      <a:pt x="29" y="404"/>
                    </a:lnTo>
                    <a:lnTo>
                      <a:pt x="29" y="404"/>
                    </a:lnTo>
                    <a:lnTo>
                      <a:pt x="29" y="404"/>
                    </a:lnTo>
                    <a:lnTo>
                      <a:pt x="29" y="404"/>
                    </a:lnTo>
                    <a:lnTo>
                      <a:pt x="29" y="404"/>
                    </a:lnTo>
                    <a:lnTo>
                      <a:pt x="32" y="407"/>
                    </a:lnTo>
                    <a:lnTo>
                      <a:pt x="32" y="407"/>
                    </a:lnTo>
                    <a:lnTo>
                      <a:pt x="32" y="408"/>
                    </a:lnTo>
                    <a:lnTo>
                      <a:pt x="33" y="408"/>
                    </a:lnTo>
                    <a:lnTo>
                      <a:pt x="33" y="409"/>
                    </a:lnTo>
                    <a:cubicBezTo>
                      <a:pt x="35" y="411"/>
                      <a:pt x="36" y="413"/>
                      <a:pt x="38" y="415"/>
                    </a:cubicBezTo>
                    <a:cubicBezTo>
                      <a:pt x="48" y="425"/>
                      <a:pt x="59" y="434"/>
                      <a:pt x="70" y="441"/>
                    </a:cubicBezTo>
                    <a:lnTo>
                      <a:pt x="467" y="670"/>
                    </a:lnTo>
                    <a:lnTo>
                      <a:pt x="1931" y="1515"/>
                    </a:lnTo>
                    <a:cubicBezTo>
                      <a:pt x="1943" y="1523"/>
                      <a:pt x="1956" y="1526"/>
                      <a:pt x="1967" y="1526"/>
                    </a:cubicBezTo>
                    <a:cubicBezTo>
                      <a:pt x="1970" y="1526"/>
                      <a:pt x="1974" y="1526"/>
                      <a:pt x="1977" y="1525"/>
                    </a:cubicBezTo>
                    <a:lnTo>
                      <a:pt x="1978" y="1524"/>
                    </a:lnTo>
                    <a:cubicBezTo>
                      <a:pt x="1980" y="1524"/>
                      <a:pt x="1981" y="1524"/>
                      <a:pt x="1983" y="1523"/>
                    </a:cubicBezTo>
                    <a:cubicBezTo>
                      <a:pt x="1985" y="1522"/>
                      <a:pt x="1986" y="1522"/>
                      <a:pt x="1988" y="1521"/>
                    </a:cubicBezTo>
                    <a:cubicBezTo>
                      <a:pt x="1989" y="1520"/>
                      <a:pt x="1991" y="1519"/>
                      <a:pt x="1992" y="1517"/>
                    </a:cubicBezTo>
                    <a:lnTo>
                      <a:pt x="1995" y="1515"/>
                    </a:lnTo>
                    <a:lnTo>
                      <a:pt x="1995" y="1515"/>
                    </a:lnTo>
                    <a:lnTo>
                      <a:pt x="1995" y="1515"/>
                    </a:lnTo>
                    <a:lnTo>
                      <a:pt x="1997" y="1513"/>
                    </a:lnTo>
                    <a:lnTo>
                      <a:pt x="1998" y="1512"/>
                    </a:lnTo>
                    <a:lnTo>
                      <a:pt x="1999" y="1510"/>
                    </a:lnTo>
                    <a:lnTo>
                      <a:pt x="2000" y="1509"/>
                    </a:lnTo>
                    <a:lnTo>
                      <a:pt x="2001" y="1508"/>
                    </a:lnTo>
                    <a:lnTo>
                      <a:pt x="2001" y="1508"/>
                    </a:lnTo>
                    <a:lnTo>
                      <a:pt x="2001" y="1507"/>
                    </a:lnTo>
                    <a:lnTo>
                      <a:pt x="1987" y="1482"/>
                    </a:lnTo>
                    <a:lnTo>
                      <a:pt x="1959" y="1434"/>
                    </a:lnTo>
                    <a:lnTo>
                      <a:pt x="1388" y="445"/>
                    </a:lnTo>
                    <a:lnTo>
                      <a:pt x="1388" y="445"/>
                    </a:lnTo>
                    <a:lnTo>
                      <a:pt x="1269" y="515"/>
                    </a:lnTo>
                    <a:lnTo>
                      <a:pt x="1199" y="557"/>
                    </a:lnTo>
                    <a:cubicBezTo>
                      <a:pt x="1144" y="590"/>
                      <a:pt x="1073" y="580"/>
                      <a:pt x="1002" y="539"/>
                    </a:cubicBezTo>
                    <a:cubicBezTo>
                      <a:pt x="930" y="498"/>
                      <a:pt x="859" y="425"/>
                      <a:pt x="805" y="330"/>
                    </a:cubicBezTo>
                    <a:lnTo>
                      <a:pt x="617" y="0"/>
                    </a:lnTo>
                    <a:lnTo>
                      <a:pt x="396" y="126"/>
                    </a:lnTo>
                    <a:lnTo>
                      <a:pt x="84" y="303"/>
                    </a:lnTo>
                    <a:lnTo>
                      <a:pt x="22" y="339"/>
                    </a:lnTo>
                    <a:lnTo>
                      <a:pt x="20" y="340"/>
                    </a:lnTo>
                    <a:lnTo>
                      <a:pt x="17" y="341"/>
                    </a:lnTo>
                    <a:lnTo>
                      <a:pt x="17" y="342"/>
                    </a:lnTo>
                    <a:lnTo>
                      <a:pt x="17" y="342"/>
                    </a:lnTo>
                    <a:lnTo>
                      <a:pt x="15" y="342"/>
                    </a:lnTo>
                    <a:lnTo>
                      <a:pt x="15" y="343"/>
                    </a:lnTo>
                    <a:lnTo>
                      <a:pt x="14" y="344"/>
                    </a:lnTo>
                    <a:lnTo>
                      <a:pt x="12" y="344"/>
                    </a:lnTo>
                    <a:lnTo>
                      <a:pt x="12" y="345"/>
                    </a:lnTo>
                    <a:lnTo>
                      <a:pt x="12" y="345"/>
                    </a:lnTo>
                    <a:lnTo>
                      <a:pt x="11" y="345"/>
                    </a:lnTo>
                    <a:lnTo>
                      <a:pt x="11" y="345"/>
                    </a:lnTo>
                    <a:lnTo>
                      <a:pt x="11" y="345"/>
                    </a:lnTo>
                    <a:lnTo>
                      <a:pt x="10" y="346"/>
                    </a:lnTo>
                    <a:lnTo>
                      <a:pt x="8" y="347"/>
                    </a:lnTo>
                    <a:lnTo>
                      <a:pt x="8" y="347"/>
                    </a:lnTo>
                    <a:lnTo>
                      <a:pt x="7" y="347"/>
                    </a:lnTo>
                    <a:lnTo>
                      <a:pt x="7" y="347"/>
                    </a:lnTo>
                    <a:lnTo>
                      <a:pt x="4" y="349"/>
                    </a:lnTo>
                    <a:lnTo>
                      <a:pt x="0" y="352"/>
                    </a:lnTo>
                    <a:lnTo>
                      <a:pt x="0" y="352"/>
                    </a:lnTo>
                  </a:path>
                </a:pathLst>
              </a:custGeom>
              <a:solidFill>
                <a:srgbClr val="E6AE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179"/>
              <p:cNvSpPr>
                <a:spLocks/>
              </p:cNvSpPr>
              <p:nvPr/>
            </p:nvSpPr>
            <p:spPr bwMode="auto">
              <a:xfrm>
                <a:off x="3908" y="1932"/>
                <a:ext cx="192" cy="67"/>
              </a:xfrm>
              <a:custGeom>
                <a:avLst/>
                <a:gdLst>
                  <a:gd name="T0" fmla="*/ 125 w 400"/>
                  <a:gd name="T1" fmla="*/ 41 h 140"/>
                  <a:gd name="T2" fmla="*/ 0 w 400"/>
                  <a:gd name="T3" fmla="*/ 113 h 140"/>
                  <a:gd name="T4" fmla="*/ 275 w 400"/>
                  <a:gd name="T5" fmla="*/ 140 h 140"/>
                  <a:gd name="T6" fmla="*/ 400 w 400"/>
                  <a:gd name="T7" fmla="*/ 68 h 140"/>
                  <a:gd name="T8" fmla="*/ 125 w 400"/>
                  <a:gd name="T9" fmla="*/ 41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0" h="140">
                    <a:moveTo>
                      <a:pt x="125" y="41"/>
                    </a:moveTo>
                    <a:lnTo>
                      <a:pt x="0" y="113"/>
                    </a:lnTo>
                    <a:cubicBezTo>
                      <a:pt x="70" y="72"/>
                      <a:pt x="168" y="78"/>
                      <a:pt x="275" y="140"/>
                    </a:cubicBezTo>
                    <a:lnTo>
                      <a:pt x="400" y="68"/>
                    </a:lnTo>
                    <a:cubicBezTo>
                      <a:pt x="293" y="5"/>
                      <a:pt x="195" y="0"/>
                      <a:pt x="125" y="41"/>
                    </a:cubicBezTo>
                    <a:close/>
                  </a:path>
                </a:pathLst>
              </a:custGeom>
              <a:solidFill>
                <a:srgbClr val="DF6F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180"/>
              <p:cNvSpPr>
                <a:spLocks/>
              </p:cNvSpPr>
              <p:nvPr/>
            </p:nvSpPr>
            <p:spPr bwMode="auto">
              <a:xfrm>
                <a:off x="4040" y="1964"/>
                <a:ext cx="246" cy="475"/>
              </a:xfrm>
              <a:custGeom>
                <a:avLst/>
                <a:gdLst>
                  <a:gd name="T0" fmla="*/ 273 w 512"/>
                  <a:gd name="T1" fmla="*/ 988 h 988"/>
                  <a:gd name="T2" fmla="*/ 398 w 512"/>
                  <a:gd name="T3" fmla="*/ 916 h 988"/>
                  <a:gd name="T4" fmla="*/ 511 w 512"/>
                  <a:gd name="T5" fmla="*/ 667 h 988"/>
                  <a:gd name="T6" fmla="*/ 125 w 512"/>
                  <a:gd name="T7" fmla="*/ 0 h 988"/>
                  <a:gd name="T8" fmla="*/ 0 w 512"/>
                  <a:gd name="T9" fmla="*/ 72 h 988"/>
                  <a:gd name="T10" fmla="*/ 386 w 512"/>
                  <a:gd name="T11" fmla="*/ 740 h 988"/>
                  <a:gd name="T12" fmla="*/ 273 w 512"/>
                  <a:gd name="T13" fmla="*/ 988 h 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12" h="988">
                    <a:moveTo>
                      <a:pt x="273" y="988"/>
                    </a:moveTo>
                    <a:lnTo>
                      <a:pt x="398" y="916"/>
                    </a:lnTo>
                    <a:cubicBezTo>
                      <a:pt x="468" y="875"/>
                      <a:pt x="511" y="789"/>
                      <a:pt x="511" y="667"/>
                    </a:cubicBezTo>
                    <a:cubicBezTo>
                      <a:pt x="512" y="422"/>
                      <a:pt x="339" y="123"/>
                      <a:pt x="125" y="0"/>
                    </a:cubicBezTo>
                    <a:lnTo>
                      <a:pt x="0" y="72"/>
                    </a:lnTo>
                    <a:cubicBezTo>
                      <a:pt x="214" y="196"/>
                      <a:pt x="387" y="495"/>
                      <a:pt x="386" y="740"/>
                    </a:cubicBezTo>
                    <a:cubicBezTo>
                      <a:pt x="385" y="862"/>
                      <a:pt x="342" y="948"/>
                      <a:pt x="273" y="988"/>
                    </a:cubicBezTo>
                  </a:path>
                </a:pathLst>
              </a:custGeom>
              <a:solidFill>
                <a:srgbClr val="C647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181"/>
              <p:cNvSpPr>
                <a:spLocks/>
              </p:cNvSpPr>
              <p:nvPr/>
            </p:nvSpPr>
            <p:spPr bwMode="auto">
              <a:xfrm>
                <a:off x="3853" y="1940"/>
                <a:ext cx="373" cy="545"/>
              </a:xfrm>
              <a:custGeom>
                <a:avLst/>
                <a:gdLst>
                  <a:gd name="T0" fmla="*/ 389 w 776"/>
                  <a:gd name="T1" fmla="*/ 123 h 1136"/>
                  <a:gd name="T2" fmla="*/ 1 w 776"/>
                  <a:gd name="T3" fmla="*/ 344 h 1136"/>
                  <a:gd name="T4" fmla="*/ 387 w 776"/>
                  <a:gd name="T5" fmla="*/ 1012 h 1136"/>
                  <a:gd name="T6" fmla="*/ 775 w 776"/>
                  <a:gd name="T7" fmla="*/ 791 h 1136"/>
                  <a:gd name="T8" fmla="*/ 389 w 776"/>
                  <a:gd name="T9" fmla="*/ 123 h 1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6" h="1136">
                    <a:moveTo>
                      <a:pt x="389" y="123"/>
                    </a:moveTo>
                    <a:cubicBezTo>
                      <a:pt x="176" y="0"/>
                      <a:pt x="2" y="99"/>
                      <a:pt x="1" y="344"/>
                    </a:cubicBezTo>
                    <a:cubicBezTo>
                      <a:pt x="0" y="590"/>
                      <a:pt x="173" y="889"/>
                      <a:pt x="387" y="1012"/>
                    </a:cubicBezTo>
                    <a:cubicBezTo>
                      <a:pt x="600" y="1136"/>
                      <a:pt x="774" y="1037"/>
                      <a:pt x="775" y="791"/>
                    </a:cubicBezTo>
                    <a:cubicBezTo>
                      <a:pt x="776" y="546"/>
                      <a:pt x="603" y="247"/>
                      <a:pt x="389" y="123"/>
                    </a:cubicBezTo>
                    <a:close/>
                  </a:path>
                </a:pathLst>
              </a:custGeom>
              <a:solidFill>
                <a:srgbClr val="E575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182"/>
              <p:cNvSpPr>
                <a:spLocks/>
              </p:cNvSpPr>
              <p:nvPr/>
            </p:nvSpPr>
            <p:spPr bwMode="auto">
              <a:xfrm>
                <a:off x="4012" y="2061"/>
                <a:ext cx="48" cy="229"/>
              </a:xfrm>
              <a:custGeom>
                <a:avLst/>
                <a:gdLst>
                  <a:gd name="T0" fmla="*/ 50 w 101"/>
                  <a:gd name="T1" fmla="*/ 16 h 478"/>
                  <a:gd name="T2" fmla="*/ 1 w 101"/>
                  <a:gd name="T3" fmla="*/ 43 h 478"/>
                  <a:gd name="T4" fmla="*/ 0 w 101"/>
                  <a:gd name="T5" fmla="*/ 377 h 478"/>
                  <a:gd name="T6" fmla="*/ 49 w 101"/>
                  <a:gd name="T7" fmla="*/ 461 h 478"/>
                  <a:gd name="T8" fmla="*/ 51 w 101"/>
                  <a:gd name="T9" fmla="*/ 463 h 478"/>
                  <a:gd name="T10" fmla="*/ 100 w 101"/>
                  <a:gd name="T11" fmla="*/ 435 h 478"/>
                  <a:gd name="T12" fmla="*/ 101 w 101"/>
                  <a:gd name="T13" fmla="*/ 101 h 478"/>
                  <a:gd name="T14" fmla="*/ 52 w 101"/>
                  <a:gd name="T15" fmla="*/ 17 h 478"/>
                  <a:gd name="T16" fmla="*/ 50 w 101"/>
                  <a:gd name="T17" fmla="*/ 16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478">
                    <a:moveTo>
                      <a:pt x="50" y="16"/>
                    </a:moveTo>
                    <a:cubicBezTo>
                      <a:pt x="23" y="0"/>
                      <a:pt x="1" y="13"/>
                      <a:pt x="1" y="43"/>
                    </a:cubicBezTo>
                    <a:lnTo>
                      <a:pt x="0" y="377"/>
                    </a:lnTo>
                    <a:cubicBezTo>
                      <a:pt x="0" y="408"/>
                      <a:pt x="22" y="446"/>
                      <a:pt x="49" y="461"/>
                    </a:cubicBezTo>
                    <a:lnTo>
                      <a:pt x="51" y="463"/>
                    </a:lnTo>
                    <a:cubicBezTo>
                      <a:pt x="78" y="478"/>
                      <a:pt x="100" y="466"/>
                      <a:pt x="100" y="435"/>
                    </a:cubicBezTo>
                    <a:lnTo>
                      <a:pt x="101" y="101"/>
                    </a:lnTo>
                    <a:cubicBezTo>
                      <a:pt x="101" y="70"/>
                      <a:pt x="79" y="32"/>
                      <a:pt x="52" y="17"/>
                    </a:cubicBezTo>
                    <a:lnTo>
                      <a:pt x="50" y="16"/>
                    </a:ln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183"/>
              <p:cNvSpPr>
                <a:spLocks/>
              </p:cNvSpPr>
              <p:nvPr/>
            </p:nvSpPr>
            <p:spPr bwMode="auto">
              <a:xfrm>
                <a:off x="4009" y="2303"/>
                <a:ext cx="53" cy="77"/>
              </a:xfrm>
              <a:custGeom>
                <a:avLst/>
                <a:gdLst>
                  <a:gd name="T0" fmla="*/ 56 w 111"/>
                  <a:gd name="T1" fmla="*/ 18 h 162"/>
                  <a:gd name="T2" fmla="*/ 0 w 111"/>
                  <a:gd name="T3" fmla="*/ 49 h 162"/>
                  <a:gd name="T4" fmla="*/ 55 w 111"/>
                  <a:gd name="T5" fmla="*/ 145 h 162"/>
                  <a:gd name="T6" fmla="*/ 111 w 111"/>
                  <a:gd name="T7" fmla="*/ 113 h 162"/>
                  <a:gd name="T8" fmla="*/ 56 w 111"/>
                  <a:gd name="T9" fmla="*/ 18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162">
                    <a:moveTo>
                      <a:pt x="56" y="18"/>
                    </a:moveTo>
                    <a:cubicBezTo>
                      <a:pt x="25" y="0"/>
                      <a:pt x="0" y="14"/>
                      <a:pt x="0" y="49"/>
                    </a:cubicBezTo>
                    <a:cubicBezTo>
                      <a:pt x="0" y="84"/>
                      <a:pt x="25" y="127"/>
                      <a:pt x="55" y="145"/>
                    </a:cubicBezTo>
                    <a:cubicBezTo>
                      <a:pt x="86" y="162"/>
                      <a:pt x="111" y="148"/>
                      <a:pt x="111" y="113"/>
                    </a:cubicBezTo>
                    <a:cubicBezTo>
                      <a:pt x="111" y="78"/>
                      <a:pt x="86" y="35"/>
                      <a:pt x="56" y="1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184"/>
              <p:cNvSpPr>
                <a:spLocks noEditPoints="1"/>
              </p:cNvSpPr>
              <p:nvPr/>
            </p:nvSpPr>
            <p:spPr bwMode="auto">
              <a:xfrm>
                <a:off x="3237" y="3960"/>
                <a:ext cx="51" cy="72"/>
              </a:xfrm>
              <a:custGeom>
                <a:avLst/>
                <a:gdLst>
                  <a:gd name="T0" fmla="*/ 27 w 106"/>
                  <a:gd name="T1" fmla="*/ 95 h 150"/>
                  <a:gd name="T2" fmla="*/ 30 w 106"/>
                  <a:gd name="T3" fmla="*/ 114 h 150"/>
                  <a:gd name="T4" fmla="*/ 40 w 106"/>
                  <a:gd name="T5" fmla="*/ 125 h 150"/>
                  <a:gd name="T6" fmla="*/ 53 w 106"/>
                  <a:gd name="T7" fmla="*/ 129 h 150"/>
                  <a:gd name="T8" fmla="*/ 66 w 106"/>
                  <a:gd name="T9" fmla="*/ 125 h 150"/>
                  <a:gd name="T10" fmla="*/ 75 w 106"/>
                  <a:gd name="T11" fmla="*/ 114 h 150"/>
                  <a:gd name="T12" fmla="*/ 79 w 106"/>
                  <a:gd name="T13" fmla="*/ 95 h 150"/>
                  <a:gd name="T14" fmla="*/ 75 w 106"/>
                  <a:gd name="T15" fmla="*/ 76 h 150"/>
                  <a:gd name="T16" fmla="*/ 66 w 106"/>
                  <a:gd name="T17" fmla="*/ 64 h 150"/>
                  <a:gd name="T18" fmla="*/ 53 w 106"/>
                  <a:gd name="T19" fmla="*/ 60 h 150"/>
                  <a:gd name="T20" fmla="*/ 39 w 106"/>
                  <a:gd name="T21" fmla="*/ 64 h 150"/>
                  <a:gd name="T22" fmla="*/ 30 w 106"/>
                  <a:gd name="T23" fmla="*/ 77 h 150"/>
                  <a:gd name="T24" fmla="*/ 27 w 106"/>
                  <a:gd name="T25" fmla="*/ 95 h 150"/>
                  <a:gd name="T26" fmla="*/ 80 w 106"/>
                  <a:gd name="T27" fmla="*/ 134 h 150"/>
                  <a:gd name="T28" fmla="*/ 80 w 106"/>
                  <a:gd name="T29" fmla="*/ 132 h 150"/>
                  <a:gd name="T30" fmla="*/ 69 w 106"/>
                  <a:gd name="T31" fmla="*/ 142 h 150"/>
                  <a:gd name="T32" fmla="*/ 58 w 106"/>
                  <a:gd name="T33" fmla="*/ 148 h 150"/>
                  <a:gd name="T34" fmla="*/ 44 w 106"/>
                  <a:gd name="T35" fmla="*/ 150 h 150"/>
                  <a:gd name="T36" fmla="*/ 26 w 106"/>
                  <a:gd name="T37" fmla="*/ 146 h 150"/>
                  <a:gd name="T38" fmla="*/ 12 w 106"/>
                  <a:gd name="T39" fmla="*/ 134 h 150"/>
                  <a:gd name="T40" fmla="*/ 3 w 106"/>
                  <a:gd name="T41" fmla="*/ 116 h 150"/>
                  <a:gd name="T42" fmla="*/ 0 w 106"/>
                  <a:gd name="T43" fmla="*/ 94 h 150"/>
                  <a:gd name="T44" fmla="*/ 12 w 106"/>
                  <a:gd name="T45" fmla="*/ 54 h 150"/>
                  <a:gd name="T46" fmla="*/ 45 w 106"/>
                  <a:gd name="T47" fmla="*/ 40 h 150"/>
                  <a:gd name="T48" fmla="*/ 64 w 106"/>
                  <a:gd name="T49" fmla="*/ 44 h 150"/>
                  <a:gd name="T50" fmla="*/ 80 w 106"/>
                  <a:gd name="T51" fmla="*/ 57 h 150"/>
                  <a:gd name="T52" fmla="*/ 80 w 106"/>
                  <a:gd name="T53" fmla="*/ 17 h 150"/>
                  <a:gd name="T54" fmla="*/ 83 w 106"/>
                  <a:gd name="T55" fmla="*/ 4 h 150"/>
                  <a:gd name="T56" fmla="*/ 93 w 106"/>
                  <a:gd name="T57" fmla="*/ 0 h 150"/>
                  <a:gd name="T58" fmla="*/ 102 w 106"/>
                  <a:gd name="T59" fmla="*/ 4 h 150"/>
                  <a:gd name="T60" fmla="*/ 106 w 106"/>
                  <a:gd name="T61" fmla="*/ 15 h 150"/>
                  <a:gd name="T62" fmla="*/ 106 w 106"/>
                  <a:gd name="T63" fmla="*/ 134 h 150"/>
                  <a:gd name="T64" fmla="*/ 102 w 106"/>
                  <a:gd name="T65" fmla="*/ 146 h 150"/>
                  <a:gd name="T66" fmla="*/ 93 w 106"/>
                  <a:gd name="T67" fmla="*/ 150 h 150"/>
                  <a:gd name="T68" fmla="*/ 84 w 106"/>
                  <a:gd name="T69" fmla="*/ 146 h 150"/>
                  <a:gd name="T70" fmla="*/ 80 w 106"/>
                  <a:gd name="T71" fmla="*/ 134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6" h="150">
                    <a:moveTo>
                      <a:pt x="27" y="95"/>
                    </a:moveTo>
                    <a:cubicBezTo>
                      <a:pt x="27" y="102"/>
                      <a:pt x="28" y="108"/>
                      <a:pt x="30" y="114"/>
                    </a:cubicBezTo>
                    <a:cubicBezTo>
                      <a:pt x="33" y="119"/>
                      <a:pt x="36" y="123"/>
                      <a:pt x="40" y="125"/>
                    </a:cubicBezTo>
                    <a:cubicBezTo>
                      <a:pt x="44" y="128"/>
                      <a:pt x="48" y="129"/>
                      <a:pt x="53" y="129"/>
                    </a:cubicBezTo>
                    <a:cubicBezTo>
                      <a:pt x="57" y="129"/>
                      <a:pt x="62" y="128"/>
                      <a:pt x="66" y="125"/>
                    </a:cubicBezTo>
                    <a:cubicBezTo>
                      <a:pt x="70" y="123"/>
                      <a:pt x="73" y="119"/>
                      <a:pt x="75" y="114"/>
                    </a:cubicBezTo>
                    <a:cubicBezTo>
                      <a:pt x="77" y="109"/>
                      <a:pt x="79" y="102"/>
                      <a:pt x="79" y="95"/>
                    </a:cubicBezTo>
                    <a:cubicBezTo>
                      <a:pt x="79" y="88"/>
                      <a:pt x="77" y="81"/>
                      <a:pt x="75" y="76"/>
                    </a:cubicBezTo>
                    <a:cubicBezTo>
                      <a:pt x="73" y="71"/>
                      <a:pt x="70" y="67"/>
                      <a:pt x="66" y="64"/>
                    </a:cubicBezTo>
                    <a:cubicBezTo>
                      <a:pt x="62" y="62"/>
                      <a:pt x="57" y="60"/>
                      <a:pt x="53" y="60"/>
                    </a:cubicBezTo>
                    <a:cubicBezTo>
                      <a:pt x="48" y="60"/>
                      <a:pt x="43" y="62"/>
                      <a:pt x="39" y="64"/>
                    </a:cubicBezTo>
                    <a:cubicBezTo>
                      <a:pt x="35" y="67"/>
                      <a:pt x="32" y="71"/>
                      <a:pt x="30" y="77"/>
                    </a:cubicBezTo>
                    <a:cubicBezTo>
                      <a:pt x="28" y="82"/>
                      <a:pt x="27" y="88"/>
                      <a:pt x="27" y="95"/>
                    </a:cubicBezTo>
                    <a:close/>
                    <a:moveTo>
                      <a:pt x="80" y="134"/>
                    </a:moveTo>
                    <a:lnTo>
                      <a:pt x="80" y="132"/>
                    </a:lnTo>
                    <a:cubicBezTo>
                      <a:pt x="76" y="136"/>
                      <a:pt x="73" y="139"/>
                      <a:pt x="69" y="142"/>
                    </a:cubicBezTo>
                    <a:cubicBezTo>
                      <a:pt x="66" y="145"/>
                      <a:pt x="62" y="147"/>
                      <a:pt x="58" y="148"/>
                    </a:cubicBezTo>
                    <a:cubicBezTo>
                      <a:pt x="54" y="149"/>
                      <a:pt x="49" y="150"/>
                      <a:pt x="44" y="150"/>
                    </a:cubicBezTo>
                    <a:cubicBezTo>
                      <a:pt x="38" y="150"/>
                      <a:pt x="32" y="149"/>
                      <a:pt x="26" y="146"/>
                    </a:cubicBezTo>
                    <a:cubicBezTo>
                      <a:pt x="21" y="143"/>
                      <a:pt x="16" y="139"/>
                      <a:pt x="12" y="134"/>
                    </a:cubicBezTo>
                    <a:cubicBezTo>
                      <a:pt x="8" y="129"/>
                      <a:pt x="5" y="123"/>
                      <a:pt x="3" y="116"/>
                    </a:cubicBezTo>
                    <a:cubicBezTo>
                      <a:pt x="1" y="109"/>
                      <a:pt x="0" y="102"/>
                      <a:pt x="0" y="94"/>
                    </a:cubicBezTo>
                    <a:cubicBezTo>
                      <a:pt x="0" y="77"/>
                      <a:pt x="4" y="64"/>
                      <a:pt x="12" y="54"/>
                    </a:cubicBezTo>
                    <a:cubicBezTo>
                      <a:pt x="20" y="45"/>
                      <a:pt x="31" y="40"/>
                      <a:pt x="45" y="40"/>
                    </a:cubicBezTo>
                    <a:cubicBezTo>
                      <a:pt x="53" y="40"/>
                      <a:pt x="59" y="42"/>
                      <a:pt x="64" y="44"/>
                    </a:cubicBezTo>
                    <a:cubicBezTo>
                      <a:pt x="70" y="47"/>
                      <a:pt x="75" y="51"/>
                      <a:pt x="80" y="57"/>
                    </a:cubicBezTo>
                    <a:lnTo>
                      <a:pt x="80" y="17"/>
                    </a:lnTo>
                    <a:cubicBezTo>
                      <a:pt x="80" y="11"/>
                      <a:pt x="81" y="7"/>
                      <a:pt x="83" y="4"/>
                    </a:cubicBezTo>
                    <a:cubicBezTo>
                      <a:pt x="86" y="1"/>
                      <a:pt x="89" y="0"/>
                      <a:pt x="93" y="0"/>
                    </a:cubicBezTo>
                    <a:cubicBezTo>
                      <a:pt x="97" y="0"/>
                      <a:pt x="100" y="1"/>
                      <a:pt x="102" y="4"/>
                    </a:cubicBezTo>
                    <a:cubicBezTo>
                      <a:pt x="105" y="6"/>
                      <a:pt x="106" y="10"/>
                      <a:pt x="106" y="15"/>
                    </a:cubicBezTo>
                    <a:lnTo>
                      <a:pt x="106" y="134"/>
                    </a:lnTo>
                    <a:cubicBezTo>
                      <a:pt x="106" y="140"/>
                      <a:pt x="104" y="143"/>
                      <a:pt x="102" y="146"/>
                    </a:cubicBezTo>
                    <a:cubicBezTo>
                      <a:pt x="100" y="149"/>
                      <a:pt x="97" y="150"/>
                      <a:pt x="93" y="150"/>
                    </a:cubicBezTo>
                    <a:cubicBezTo>
                      <a:pt x="89" y="150"/>
                      <a:pt x="86" y="149"/>
                      <a:pt x="84" y="146"/>
                    </a:cubicBezTo>
                    <a:cubicBezTo>
                      <a:pt x="81" y="143"/>
                      <a:pt x="80" y="139"/>
                      <a:pt x="80" y="13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185"/>
              <p:cNvSpPr>
                <a:spLocks noEditPoints="1"/>
              </p:cNvSpPr>
              <p:nvPr/>
            </p:nvSpPr>
            <p:spPr bwMode="auto">
              <a:xfrm>
                <a:off x="3294" y="3979"/>
                <a:ext cx="49" cy="53"/>
              </a:xfrm>
              <a:custGeom>
                <a:avLst/>
                <a:gdLst>
                  <a:gd name="T0" fmla="*/ 27 w 102"/>
                  <a:gd name="T1" fmla="*/ 46 h 110"/>
                  <a:gd name="T2" fmla="*/ 76 w 102"/>
                  <a:gd name="T3" fmla="*/ 46 h 110"/>
                  <a:gd name="T4" fmla="*/ 69 w 102"/>
                  <a:gd name="T5" fmla="*/ 26 h 110"/>
                  <a:gd name="T6" fmla="*/ 52 w 102"/>
                  <a:gd name="T7" fmla="*/ 19 h 110"/>
                  <a:gd name="T8" fmla="*/ 35 w 102"/>
                  <a:gd name="T9" fmla="*/ 26 h 110"/>
                  <a:gd name="T10" fmla="*/ 27 w 102"/>
                  <a:gd name="T11" fmla="*/ 46 h 110"/>
                  <a:gd name="T12" fmla="*/ 80 w 102"/>
                  <a:gd name="T13" fmla="*/ 62 h 110"/>
                  <a:gd name="T14" fmla="*/ 27 w 102"/>
                  <a:gd name="T15" fmla="*/ 62 h 110"/>
                  <a:gd name="T16" fmla="*/ 31 w 102"/>
                  <a:gd name="T17" fmla="*/ 78 h 110"/>
                  <a:gd name="T18" fmla="*/ 41 w 102"/>
                  <a:gd name="T19" fmla="*/ 88 h 110"/>
                  <a:gd name="T20" fmla="*/ 54 w 102"/>
                  <a:gd name="T21" fmla="*/ 92 h 110"/>
                  <a:gd name="T22" fmla="*/ 63 w 102"/>
                  <a:gd name="T23" fmla="*/ 91 h 110"/>
                  <a:gd name="T24" fmla="*/ 71 w 102"/>
                  <a:gd name="T25" fmla="*/ 87 h 110"/>
                  <a:gd name="T26" fmla="*/ 77 w 102"/>
                  <a:gd name="T27" fmla="*/ 82 h 110"/>
                  <a:gd name="T28" fmla="*/ 86 w 102"/>
                  <a:gd name="T29" fmla="*/ 75 h 110"/>
                  <a:gd name="T30" fmla="*/ 92 w 102"/>
                  <a:gd name="T31" fmla="*/ 73 h 110"/>
                  <a:gd name="T32" fmla="*/ 98 w 102"/>
                  <a:gd name="T33" fmla="*/ 75 h 110"/>
                  <a:gd name="T34" fmla="*/ 101 w 102"/>
                  <a:gd name="T35" fmla="*/ 82 h 110"/>
                  <a:gd name="T36" fmla="*/ 98 w 102"/>
                  <a:gd name="T37" fmla="*/ 90 h 110"/>
                  <a:gd name="T38" fmla="*/ 89 w 102"/>
                  <a:gd name="T39" fmla="*/ 99 h 110"/>
                  <a:gd name="T40" fmla="*/ 75 w 102"/>
                  <a:gd name="T41" fmla="*/ 107 h 110"/>
                  <a:gd name="T42" fmla="*/ 55 w 102"/>
                  <a:gd name="T43" fmla="*/ 110 h 110"/>
                  <a:gd name="T44" fmla="*/ 14 w 102"/>
                  <a:gd name="T45" fmla="*/ 95 h 110"/>
                  <a:gd name="T46" fmla="*/ 0 w 102"/>
                  <a:gd name="T47" fmla="*/ 55 h 110"/>
                  <a:gd name="T48" fmla="*/ 3 w 102"/>
                  <a:gd name="T49" fmla="*/ 33 h 110"/>
                  <a:gd name="T50" fmla="*/ 14 w 102"/>
                  <a:gd name="T51" fmla="*/ 15 h 110"/>
                  <a:gd name="T52" fmla="*/ 31 w 102"/>
                  <a:gd name="T53" fmla="*/ 4 h 110"/>
                  <a:gd name="T54" fmla="*/ 53 w 102"/>
                  <a:gd name="T55" fmla="*/ 0 h 110"/>
                  <a:gd name="T56" fmla="*/ 80 w 102"/>
                  <a:gd name="T57" fmla="*/ 7 h 110"/>
                  <a:gd name="T58" fmla="*/ 97 w 102"/>
                  <a:gd name="T59" fmla="*/ 24 h 110"/>
                  <a:gd name="T60" fmla="*/ 102 w 102"/>
                  <a:gd name="T61" fmla="*/ 45 h 110"/>
                  <a:gd name="T62" fmla="*/ 97 w 102"/>
                  <a:gd name="T63" fmla="*/ 59 h 110"/>
                  <a:gd name="T64" fmla="*/ 80 w 102"/>
                  <a:gd name="T65" fmla="*/ 62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2" h="110">
                    <a:moveTo>
                      <a:pt x="27" y="46"/>
                    </a:moveTo>
                    <a:lnTo>
                      <a:pt x="76" y="46"/>
                    </a:lnTo>
                    <a:cubicBezTo>
                      <a:pt x="76" y="37"/>
                      <a:pt x="73" y="30"/>
                      <a:pt x="69" y="26"/>
                    </a:cubicBezTo>
                    <a:cubicBezTo>
                      <a:pt x="65" y="21"/>
                      <a:pt x="59" y="19"/>
                      <a:pt x="52" y="19"/>
                    </a:cubicBezTo>
                    <a:cubicBezTo>
                      <a:pt x="45" y="19"/>
                      <a:pt x="40" y="21"/>
                      <a:pt x="35" y="26"/>
                    </a:cubicBezTo>
                    <a:cubicBezTo>
                      <a:pt x="31" y="30"/>
                      <a:pt x="28" y="37"/>
                      <a:pt x="27" y="46"/>
                    </a:cubicBezTo>
                    <a:close/>
                    <a:moveTo>
                      <a:pt x="80" y="62"/>
                    </a:moveTo>
                    <a:lnTo>
                      <a:pt x="27" y="62"/>
                    </a:lnTo>
                    <a:cubicBezTo>
                      <a:pt x="27" y="68"/>
                      <a:pt x="29" y="73"/>
                      <a:pt x="31" y="78"/>
                    </a:cubicBezTo>
                    <a:cubicBezTo>
                      <a:pt x="34" y="83"/>
                      <a:pt x="37" y="86"/>
                      <a:pt x="41" y="88"/>
                    </a:cubicBezTo>
                    <a:cubicBezTo>
                      <a:pt x="45" y="91"/>
                      <a:pt x="49" y="92"/>
                      <a:pt x="54" y="92"/>
                    </a:cubicBezTo>
                    <a:cubicBezTo>
                      <a:pt x="57" y="92"/>
                      <a:pt x="60" y="92"/>
                      <a:pt x="63" y="91"/>
                    </a:cubicBezTo>
                    <a:cubicBezTo>
                      <a:pt x="65" y="90"/>
                      <a:pt x="68" y="89"/>
                      <a:pt x="71" y="87"/>
                    </a:cubicBezTo>
                    <a:cubicBezTo>
                      <a:pt x="73" y="86"/>
                      <a:pt x="75" y="84"/>
                      <a:pt x="77" y="82"/>
                    </a:cubicBezTo>
                    <a:cubicBezTo>
                      <a:pt x="80" y="80"/>
                      <a:pt x="82" y="78"/>
                      <a:pt x="86" y="75"/>
                    </a:cubicBezTo>
                    <a:cubicBezTo>
                      <a:pt x="87" y="73"/>
                      <a:pt x="89" y="73"/>
                      <a:pt x="92" y="73"/>
                    </a:cubicBezTo>
                    <a:cubicBezTo>
                      <a:pt x="94" y="73"/>
                      <a:pt x="97" y="74"/>
                      <a:pt x="98" y="75"/>
                    </a:cubicBezTo>
                    <a:cubicBezTo>
                      <a:pt x="100" y="77"/>
                      <a:pt x="101" y="79"/>
                      <a:pt x="101" y="82"/>
                    </a:cubicBezTo>
                    <a:cubicBezTo>
                      <a:pt x="101" y="84"/>
                      <a:pt x="100" y="87"/>
                      <a:pt x="98" y="90"/>
                    </a:cubicBezTo>
                    <a:cubicBezTo>
                      <a:pt x="96" y="93"/>
                      <a:pt x="93" y="96"/>
                      <a:pt x="89" y="99"/>
                    </a:cubicBezTo>
                    <a:cubicBezTo>
                      <a:pt x="86" y="102"/>
                      <a:pt x="81" y="105"/>
                      <a:pt x="75" y="107"/>
                    </a:cubicBezTo>
                    <a:cubicBezTo>
                      <a:pt x="69" y="109"/>
                      <a:pt x="62" y="110"/>
                      <a:pt x="55" y="110"/>
                    </a:cubicBezTo>
                    <a:cubicBezTo>
                      <a:pt x="37" y="110"/>
                      <a:pt x="24" y="105"/>
                      <a:pt x="14" y="95"/>
                    </a:cubicBezTo>
                    <a:cubicBezTo>
                      <a:pt x="5" y="85"/>
                      <a:pt x="0" y="72"/>
                      <a:pt x="0" y="55"/>
                    </a:cubicBezTo>
                    <a:cubicBezTo>
                      <a:pt x="0" y="47"/>
                      <a:pt x="1" y="39"/>
                      <a:pt x="3" y="33"/>
                    </a:cubicBezTo>
                    <a:cubicBezTo>
                      <a:pt x="6" y="26"/>
                      <a:pt x="9" y="20"/>
                      <a:pt x="14" y="15"/>
                    </a:cubicBezTo>
                    <a:cubicBezTo>
                      <a:pt x="18" y="10"/>
                      <a:pt x="24" y="6"/>
                      <a:pt x="31" y="4"/>
                    </a:cubicBezTo>
                    <a:cubicBezTo>
                      <a:pt x="37" y="1"/>
                      <a:pt x="45" y="0"/>
                      <a:pt x="53" y="0"/>
                    </a:cubicBezTo>
                    <a:cubicBezTo>
                      <a:pt x="63" y="0"/>
                      <a:pt x="72" y="2"/>
                      <a:pt x="80" y="7"/>
                    </a:cubicBezTo>
                    <a:cubicBezTo>
                      <a:pt x="87" y="11"/>
                      <a:pt x="93" y="17"/>
                      <a:pt x="97" y="24"/>
                    </a:cubicBezTo>
                    <a:cubicBezTo>
                      <a:pt x="101" y="31"/>
                      <a:pt x="102" y="38"/>
                      <a:pt x="102" y="45"/>
                    </a:cubicBezTo>
                    <a:cubicBezTo>
                      <a:pt x="102" y="52"/>
                      <a:pt x="101" y="57"/>
                      <a:pt x="97" y="59"/>
                    </a:cubicBezTo>
                    <a:cubicBezTo>
                      <a:pt x="93" y="61"/>
                      <a:pt x="87" y="62"/>
                      <a:pt x="80" y="6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186"/>
              <p:cNvSpPr>
                <a:spLocks/>
              </p:cNvSpPr>
              <p:nvPr/>
            </p:nvSpPr>
            <p:spPr bwMode="auto">
              <a:xfrm>
                <a:off x="3347" y="3979"/>
                <a:ext cx="45" cy="53"/>
              </a:xfrm>
              <a:custGeom>
                <a:avLst/>
                <a:gdLst>
                  <a:gd name="T0" fmla="*/ 92 w 92"/>
                  <a:gd name="T1" fmla="*/ 75 h 110"/>
                  <a:gd name="T2" fmla="*/ 87 w 92"/>
                  <a:gd name="T3" fmla="*/ 94 h 110"/>
                  <a:gd name="T4" fmla="*/ 71 w 92"/>
                  <a:gd name="T5" fmla="*/ 106 h 110"/>
                  <a:gd name="T6" fmla="*/ 45 w 92"/>
                  <a:gd name="T7" fmla="*/ 110 h 110"/>
                  <a:gd name="T8" fmla="*/ 20 w 92"/>
                  <a:gd name="T9" fmla="*/ 105 h 110"/>
                  <a:gd name="T10" fmla="*/ 5 w 92"/>
                  <a:gd name="T11" fmla="*/ 94 h 110"/>
                  <a:gd name="T12" fmla="*/ 0 w 92"/>
                  <a:gd name="T13" fmla="*/ 81 h 110"/>
                  <a:gd name="T14" fmla="*/ 3 w 92"/>
                  <a:gd name="T15" fmla="*/ 73 h 110"/>
                  <a:gd name="T16" fmla="*/ 11 w 92"/>
                  <a:gd name="T17" fmla="*/ 70 h 110"/>
                  <a:gd name="T18" fmla="*/ 17 w 92"/>
                  <a:gd name="T19" fmla="*/ 72 h 110"/>
                  <a:gd name="T20" fmla="*/ 22 w 92"/>
                  <a:gd name="T21" fmla="*/ 78 h 110"/>
                  <a:gd name="T22" fmla="*/ 32 w 92"/>
                  <a:gd name="T23" fmla="*/ 89 h 110"/>
                  <a:gd name="T24" fmla="*/ 47 w 92"/>
                  <a:gd name="T25" fmla="*/ 92 h 110"/>
                  <a:gd name="T26" fmla="*/ 61 w 92"/>
                  <a:gd name="T27" fmla="*/ 89 h 110"/>
                  <a:gd name="T28" fmla="*/ 66 w 92"/>
                  <a:gd name="T29" fmla="*/ 81 h 110"/>
                  <a:gd name="T30" fmla="*/ 61 w 92"/>
                  <a:gd name="T31" fmla="*/ 70 h 110"/>
                  <a:gd name="T32" fmla="*/ 43 w 92"/>
                  <a:gd name="T33" fmla="*/ 64 h 110"/>
                  <a:gd name="T34" fmla="*/ 20 w 92"/>
                  <a:gd name="T35" fmla="*/ 57 h 110"/>
                  <a:gd name="T36" fmla="*/ 6 w 92"/>
                  <a:gd name="T37" fmla="*/ 47 h 110"/>
                  <a:gd name="T38" fmla="*/ 1 w 92"/>
                  <a:gd name="T39" fmla="*/ 31 h 110"/>
                  <a:gd name="T40" fmla="*/ 6 w 92"/>
                  <a:gd name="T41" fmla="*/ 16 h 110"/>
                  <a:gd name="T42" fmla="*/ 20 w 92"/>
                  <a:gd name="T43" fmla="*/ 4 h 110"/>
                  <a:gd name="T44" fmla="*/ 43 w 92"/>
                  <a:gd name="T45" fmla="*/ 0 h 110"/>
                  <a:gd name="T46" fmla="*/ 62 w 92"/>
                  <a:gd name="T47" fmla="*/ 2 h 110"/>
                  <a:gd name="T48" fmla="*/ 76 w 92"/>
                  <a:gd name="T49" fmla="*/ 8 h 110"/>
                  <a:gd name="T50" fmla="*/ 84 w 92"/>
                  <a:gd name="T51" fmla="*/ 16 h 110"/>
                  <a:gd name="T52" fmla="*/ 87 w 92"/>
                  <a:gd name="T53" fmla="*/ 25 h 110"/>
                  <a:gd name="T54" fmla="*/ 84 w 92"/>
                  <a:gd name="T55" fmla="*/ 33 h 110"/>
                  <a:gd name="T56" fmla="*/ 75 w 92"/>
                  <a:gd name="T57" fmla="*/ 36 h 110"/>
                  <a:gd name="T58" fmla="*/ 68 w 92"/>
                  <a:gd name="T59" fmla="*/ 33 h 110"/>
                  <a:gd name="T60" fmla="*/ 61 w 92"/>
                  <a:gd name="T61" fmla="*/ 26 h 110"/>
                  <a:gd name="T62" fmla="*/ 54 w 92"/>
                  <a:gd name="T63" fmla="*/ 20 h 110"/>
                  <a:gd name="T64" fmla="*/ 43 w 92"/>
                  <a:gd name="T65" fmla="*/ 17 h 110"/>
                  <a:gd name="T66" fmla="*/ 31 w 92"/>
                  <a:gd name="T67" fmla="*/ 20 h 110"/>
                  <a:gd name="T68" fmla="*/ 26 w 92"/>
                  <a:gd name="T69" fmla="*/ 28 h 110"/>
                  <a:gd name="T70" fmla="*/ 29 w 92"/>
                  <a:gd name="T71" fmla="*/ 35 h 110"/>
                  <a:gd name="T72" fmla="*/ 39 w 92"/>
                  <a:gd name="T73" fmla="*/ 40 h 110"/>
                  <a:gd name="T74" fmla="*/ 56 w 92"/>
                  <a:gd name="T75" fmla="*/ 44 h 110"/>
                  <a:gd name="T76" fmla="*/ 76 w 92"/>
                  <a:gd name="T77" fmla="*/ 51 h 110"/>
                  <a:gd name="T78" fmla="*/ 88 w 92"/>
                  <a:gd name="T79" fmla="*/ 61 h 110"/>
                  <a:gd name="T80" fmla="*/ 92 w 92"/>
                  <a:gd name="T81" fmla="*/ 75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2" h="110">
                    <a:moveTo>
                      <a:pt x="92" y="75"/>
                    </a:moveTo>
                    <a:cubicBezTo>
                      <a:pt x="92" y="82"/>
                      <a:pt x="90" y="88"/>
                      <a:pt x="87" y="94"/>
                    </a:cubicBezTo>
                    <a:cubicBezTo>
                      <a:pt x="83" y="99"/>
                      <a:pt x="78" y="103"/>
                      <a:pt x="71" y="106"/>
                    </a:cubicBezTo>
                    <a:cubicBezTo>
                      <a:pt x="64" y="109"/>
                      <a:pt x="55" y="110"/>
                      <a:pt x="45" y="110"/>
                    </a:cubicBezTo>
                    <a:cubicBezTo>
                      <a:pt x="35" y="110"/>
                      <a:pt x="27" y="108"/>
                      <a:pt x="20" y="105"/>
                    </a:cubicBezTo>
                    <a:cubicBezTo>
                      <a:pt x="13" y="103"/>
                      <a:pt x="8" y="99"/>
                      <a:pt x="5" y="94"/>
                    </a:cubicBezTo>
                    <a:cubicBezTo>
                      <a:pt x="1" y="90"/>
                      <a:pt x="0" y="85"/>
                      <a:pt x="0" y="81"/>
                    </a:cubicBezTo>
                    <a:cubicBezTo>
                      <a:pt x="0" y="78"/>
                      <a:pt x="1" y="75"/>
                      <a:pt x="3" y="73"/>
                    </a:cubicBezTo>
                    <a:cubicBezTo>
                      <a:pt x="5" y="71"/>
                      <a:pt x="8" y="70"/>
                      <a:pt x="11" y="70"/>
                    </a:cubicBezTo>
                    <a:cubicBezTo>
                      <a:pt x="14" y="70"/>
                      <a:pt x="16" y="71"/>
                      <a:pt x="17" y="72"/>
                    </a:cubicBezTo>
                    <a:cubicBezTo>
                      <a:pt x="19" y="74"/>
                      <a:pt x="20" y="76"/>
                      <a:pt x="22" y="78"/>
                    </a:cubicBezTo>
                    <a:cubicBezTo>
                      <a:pt x="25" y="83"/>
                      <a:pt x="28" y="86"/>
                      <a:pt x="32" y="89"/>
                    </a:cubicBezTo>
                    <a:cubicBezTo>
                      <a:pt x="36" y="91"/>
                      <a:pt x="41" y="92"/>
                      <a:pt x="47" y="92"/>
                    </a:cubicBezTo>
                    <a:cubicBezTo>
                      <a:pt x="53" y="92"/>
                      <a:pt x="57" y="91"/>
                      <a:pt x="61" y="89"/>
                    </a:cubicBezTo>
                    <a:cubicBezTo>
                      <a:pt x="64" y="86"/>
                      <a:pt x="66" y="84"/>
                      <a:pt x="66" y="81"/>
                    </a:cubicBezTo>
                    <a:cubicBezTo>
                      <a:pt x="66" y="76"/>
                      <a:pt x="64" y="72"/>
                      <a:pt x="61" y="70"/>
                    </a:cubicBezTo>
                    <a:cubicBezTo>
                      <a:pt x="57" y="68"/>
                      <a:pt x="51" y="66"/>
                      <a:pt x="43" y="64"/>
                    </a:cubicBezTo>
                    <a:cubicBezTo>
                      <a:pt x="34" y="62"/>
                      <a:pt x="26" y="59"/>
                      <a:pt x="20" y="57"/>
                    </a:cubicBezTo>
                    <a:cubicBezTo>
                      <a:pt x="14" y="54"/>
                      <a:pt x="10" y="51"/>
                      <a:pt x="6" y="47"/>
                    </a:cubicBezTo>
                    <a:cubicBezTo>
                      <a:pt x="3" y="42"/>
                      <a:pt x="1" y="37"/>
                      <a:pt x="1" y="31"/>
                    </a:cubicBezTo>
                    <a:cubicBezTo>
                      <a:pt x="1" y="26"/>
                      <a:pt x="2" y="21"/>
                      <a:pt x="6" y="16"/>
                    </a:cubicBezTo>
                    <a:cubicBezTo>
                      <a:pt x="9" y="11"/>
                      <a:pt x="14" y="7"/>
                      <a:pt x="20" y="4"/>
                    </a:cubicBezTo>
                    <a:cubicBezTo>
                      <a:pt x="26" y="2"/>
                      <a:pt x="34" y="0"/>
                      <a:pt x="43" y="0"/>
                    </a:cubicBezTo>
                    <a:cubicBezTo>
                      <a:pt x="50" y="0"/>
                      <a:pt x="56" y="1"/>
                      <a:pt x="62" y="2"/>
                    </a:cubicBezTo>
                    <a:cubicBezTo>
                      <a:pt x="67" y="4"/>
                      <a:pt x="72" y="6"/>
                      <a:pt x="76" y="8"/>
                    </a:cubicBezTo>
                    <a:cubicBezTo>
                      <a:pt x="79" y="11"/>
                      <a:pt x="82" y="13"/>
                      <a:pt x="84" y="16"/>
                    </a:cubicBezTo>
                    <a:cubicBezTo>
                      <a:pt x="86" y="19"/>
                      <a:pt x="87" y="22"/>
                      <a:pt x="87" y="25"/>
                    </a:cubicBezTo>
                    <a:cubicBezTo>
                      <a:pt x="87" y="28"/>
                      <a:pt x="86" y="31"/>
                      <a:pt x="84" y="33"/>
                    </a:cubicBezTo>
                    <a:cubicBezTo>
                      <a:pt x="82" y="35"/>
                      <a:pt x="79" y="36"/>
                      <a:pt x="75" y="36"/>
                    </a:cubicBezTo>
                    <a:cubicBezTo>
                      <a:pt x="72" y="36"/>
                      <a:pt x="70" y="35"/>
                      <a:pt x="68" y="33"/>
                    </a:cubicBezTo>
                    <a:cubicBezTo>
                      <a:pt x="66" y="32"/>
                      <a:pt x="64" y="29"/>
                      <a:pt x="61" y="26"/>
                    </a:cubicBezTo>
                    <a:cubicBezTo>
                      <a:pt x="59" y="23"/>
                      <a:pt x="57" y="21"/>
                      <a:pt x="54" y="20"/>
                    </a:cubicBezTo>
                    <a:cubicBezTo>
                      <a:pt x="51" y="18"/>
                      <a:pt x="48" y="17"/>
                      <a:pt x="43" y="17"/>
                    </a:cubicBezTo>
                    <a:cubicBezTo>
                      <a:pt x="38" y="17"/>
                      <a:pt x="34" y="18"/>
                      <a:pt x="31" y="20"/>
                    </a:cubicBezTo>
                    <a:cubicBezTo>
                      <a:pt x="27" y="22"/>
                      <a:pt x="26" y="25"/>
                      <a:pt x="26" y="28"/>
                    </a:cubicBezTo>
                    <a:cubicBezTo>
                      <a:pt x="26" y="31"/>
                      <a:pt x="27" y="33"/>
                      <a:pt x="29" y="35"/>
                    </a:cubicBezTo>
                    <a:cubicBezTo>
                      <a:pt x="32" y="37"/>
                      <a:pt x="35" y="38"/>
                      <a:pt x="39" y="40"/>
                    </a:cubicBezTo>
                    <a:cubicBezTo>
                      <a:pt x="43" y="41"/>
                      <a:pt x="49" y="42"/>
                      <a:pt x="56" y="44"/>
                    </a:cubicBezTo>
                    <a:cubicBezTo>
                      <a:pt x="64" y="46"/>
                      <a:pt x="71" y="49"/>
                      <a:pt x="76" y="51"/>
                    </a:cubicBezTo>
                    <a:cubicBezTo>
                      <a:pt x="81" y="54"/>
                      <a:pt x="85" y="58"/>
                      <a:pt x="88" y="61"/>
                    </a:cubicBezTo>
                    <a:cubicBezTo>
                      <a:pt x="91" y="65"/>
                      <a:pt x="92" y="70"/>
                      <a:pt x="92" y="7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187"/>
              <p:cNvSpPr>
                <a:spLocks noEditPoints="1"/>
              </p:cNvSpPr>
              <p:nvPr/>
            </p:nvSpPr>
            <p:spPr bwMode="auto">
              <a:xfrm>
                <a:off x="3398" y="3961"/>
                <a:ext cx="13" cy="71"/>
              </a:xfrm>
              <a:custGeom>
                <a:avLst/>
                <a:gdLst>
                  <a:gd name="T0" fmla="*/ 27 w 27"/>
                  <a:gd name="T1" fmla="*/ 54 h 149"/>
                  <a:gd name="T2" fmla="*/ 27 w 27"/>
                  <a:gd name="T3" fmla="*/ 132 h 149"/>
                  <a:gd name="T4" fmla="*/ 23 w 27"/>
                  <a:gd name="T5" fmla="*/ 145 h 149"/>
                  <a:gd name="T6" fmla="*/ 14 w 27"/>
                  <a:gd name="T7" fmla="*/ 149 h 149"/>
                  <a:gd name="T8" fmla="*/ 4 w 27"/>
                  <a:gd name="T9" fmla="*/ 145 h 149"/>
                  <a:gd name="T10" fmla="*/ 0 w 27"/>
                  <a:gd name="T11" fmla="*/ 132 h 149"/>
                  <a:gd name="T12" fmla="*/ 0 w 27"/>
                  <a:gd name="T13" fmla="*/ 55 h 149"/>
                  <a:gd name="T14" fmla="*/ 4 w 27"/>
                  <a:gd name="T15" fmla="*/ 43 h 149"/>
                  <a:gd name="T16" fmla="*/ 14 w 27"/>
                  <a:gd name="T17" fmla="*/ 39 h 149"/>
                  <a:gd name="T18" fmla="*/ 23 w 27"/>
                  <a:gd name="T19" fmla="*/ 43 h 149"/>
                  <a:gd name="T20" fmla="*/ 27 w 27"/>
                  <a:gd name="T21" fmla="*/ 54 h 149"/>
                  <a:gd name="T22" fmla="*/ 14 w 27"/>
                  <a:gd name="T23" fmla="*/ 27 h 149"/>
                  <a:gd name="T24" fmla="*/ 4 w 27"/>
                  <a:gd name="T25" fmla="*/ 23 h 149"/>
                  <a:gd name="T26" fmla="*/ 0 w 27"/>
                  <a:gd name="T27" fmla="*/ 13 h 149"/>
                  <a:gd name="T28" fmla="*/ 4 w 27"/>
                  <a:gd name="T29" fmla="*/ 4 h 149"/>
                  <a:gd name="T30" fmla="*/ 14 w 27"/>
                  <a:gd name="T31" fmla="*/ 0 h 149"/>
                  <a:gd name="T32" fmla="*/ 23 w 27"/>
                  <a:gd name="T33" fmla="*/ 3 h 149"/>
                  <a:gd name="T34" fmla="*/ 27 w 27"/>
                  <a:gd name="T35" fmla="*/ 13 h 149"/>
                  <a:gd name="T36" fmla="*/ 23 w 27"/>
                  <a:gd name="T37" fmla="*/ 23 h 149"/>
                  <a:gd name="T38" fmla="*/ 14 w 27"/>
                  <a:gd name="T39" fmla="*/ 27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" h="149">
                    <a:moveTo>
                      <a:pt x="27" y="54"/>
                    </a:moveTo>
                    <a:lnTo>
                      <a:pt x="27" y="132"/>
                    </a:lnTo>
                    <a:cubicBezTo>
                      <a:pt x="27" y="138"/>
                      <a:pt x="26" y="142"/>
                      <a:pt x="23" y="145"/>
                    </a:cubicBezTo>
                    <a:cubicBezTo>
                      <a:pt x="21" y="148"/>
                      <a:pt x="18" y="149"/>
                      <a:pt x="14" y="149"/>
                    </a:cubicBezTo>
                    <a:cubicBezTo>
                      <a:pt x="10" y="149"/>
                      <a:pt x="6" y="147"/>
                      <a:pt x="4" y="145"/>
                    </a:cubicBezTo>
                    <a:cubicBezTo>
                      <a:pt x="1" y="142"/>
                      <a:pt x="0" y="138"/>
                      <a:pt x="0" y="132"/>
                    </a:cubicBezTo>
                    <a:lnTo>
                      <a:pt x="0" y="55"/>
                    </a:lnTo>
                    <a:cubicBezTo>
                      <a:pt x="0" y="50"/>
                      <a:pt x="1" y="46"/>
                      <a:pt x="4" y="43"/>
                    </a:cubicBezTo>
                    <a:cubicBezTo>
                      <a:pt x="6" y="40"/>
                      <a:pt x="10" y="39"/>
                      <a:pt x="14" y="39"/>
                    </a:cubicBezTo>
                    <a:cubicBezTo>
                      <a:pt x="18" y="39"/>
                      <a:pt x="21" y="40"/>
                      <a:pt x="23" y="43"/>
                    </a:cubicBezTo>
                    <a:cubicBezTo>
                      <a:pt x="26" y="46"/>
                      <a:pt x="27" y="50"/>
                      <a:pt x="27" y="54"/>
                    </a:cubicBezTo>
                    <a:close/>
                    <a:moveTo>
                      <a:pt x="14" y="27"/>
                    </a:moveTo>
                    <a:cubicBezTo>
                      <a:pt x="10" y="27"/>
                      <a:pt x="7" y="25"/>
                      <a:pt x="4" y="23"/>
                    </a:cubicBezTo>
                    <a:cubicBezTo>
                      <a:pt x="2" y="21"/>
                      <a:pt x="0" y="18"/>
                      <a:pt x="0" y="13"/>
                    </a:cubicBezTo>
                    <a:cubicBezTo>
                      <a:pt x="0" y="9"/>
                      <a:pt x="2" y="6"/>
                      <a:pt x="4" y="4"/>
                    </a:cubicBezTo>
                    <a:cubicBezTo>
                      <a:pt x="7" y="1"/>
                      <a:pt x="10" y="0"/>
                      <a:pt x="14" y="0"/>
                    </a:cubicBezTo>
                    <a:cubicBezTo>
                      <a:pt x="17" y="0"/>
                      <a:pt x="20" y="1"/>
                      <a:pt x="23" y="3"/>
                    </a:cubicBezTo>
                    <a:cubicBezTo>
                      <a:pt x="26" y="6"/>
                      <a:pt x="27" y="9"/>
                      <a:pt x="27" y="13"/>
                    </a:cubicBezTo>
                    <a:cubicBezTo>
                      <a:pt x="27" y="17"/>
                      <a:pt x="26" y="21"/>
                      <a:pt x="23" y="23"/>
                    </a:cubicBezTo>
                    <a:cubicBezTo>
                      <a:pt x="21" y="25"/>
                      <a:pt x="18" y="27"/>
                      <a:pt x="14" y="2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188"/>
              <p:cNvSpPr>
                <a:spLocks noEditPoints="1"/>
              </p:cNvSpPr>
              <p:nvPr/>
            </p:nvSpPr>
            <p:spPr bwMode="auto">
              <a:xfrm>
                <a:off x="3418" y="3979"/>
                <a:ext cx="50" cy="72"/>
              </a:xfrm>
              <a:custGeom>
                <a:avLst/>
                <a:gdLst>
                  <a:gd name="T0" fmla="*/ 27 w 106"/>
                  <a:gd name="T1" fmla="*/ 54 h 150"/>
                  <a:gd name="T2" fmla="*/ 34 w 106"/>
                  <a:gd name="T3" fmla="*/ 79 h 150"/>
                  <a:gd name="T4" fmla="*/ 53 w 106"/>
                  <a:gd name="T5" fmla="*/ 87 h 150"/>
                  <a:gd name="T6" fmla="*/ 66 w 106"/>
                  <a:gd name="T7" fmla="*/ 84 h 150"/>
                  <a:gd name="T8" fmla="*/ 75 w 106"/>
                  <a:gd name="T9" fmla="*/ 73 h 150"/>
                  <a:gd name="T10" fmla="*/ 79 w 106"/>
                  <a:gd name="T11" fmla="*/ 55 h 150"/>
                  <a:gd name="T12" fmla="*/ 72 w 106"/>
                  <a:gd name="T13" fmla="*/ 30 h 150"/>
                  <a:gd name="T14" fmla="*/ 53 w 106"/>
                  <a:gd name="T15" fmla="*/ 20 h 150"/>
                  <a:gd name="T16" fmla="*/ 34 w 106"/>
                  <a:gd name="T17" fmla="*/ 29 h 150"/>
                  <a:gd name="T18" fmla="*/ 27 w 106"/>
                  <a:gd name="T19" fmla="*/ 54 h 150"/>
                  <a:gd name="T20" fmla="*/ 106 w 106"/>
                  <a:gd name="T21" fmla="*/ 20 h 150"/>
                  <a:gd name="T22" fmla="*/ 106 w 106"/>
                  <a:gd name="T23" fmla="*/ 98 h 150"/>
                  <a:gd name="T24" fmla="*/ 103 w 106"/>
                  <a:gd name="T25" fmla="*/ 122 h 150"/>
                  <a:gd name="T26" fmla="*/ 93 w 106"/>
                  <a:gd name="T27" fmla="*/ 138 h 150"/>
                  <a:gd name="T28" fmla="*/ 77 w 106"/>
                  <a:gd name="T29" fmla="*/ 147 h 150"/>
                  <a:gd name="T30" fmla="*/ 51 w 106"/>
                  <a:gd name="T31" fmla="*/ 150 h 150"/>
                  <a:gd name="T32" fmla="*/ 27 w 106"/>
                  <a:gd name="T33" fmla="*/ 146 h 150"/>
                  <a:gd name="T34" fmla="*/ 10 w 106"/>
                  <a:gd name="T35" fmla="*/ 136 h 150"/>
                  <a:gd name="T36" fmla="*/ 4 w 106"/>
                  <a:gd name="T37" fmla="*/ 123 h 150"/>
                  <a:gd name="T38" fmla="*/ 7 w 106"/>
                  <a:gd name="T39" fmla="*/ 115 h 150"/>
                  <a:gd name="T40" fmla="*/ 15 w 106"/>
                  <a:gd name="T41" fmla="*/ 112 h 150"/>
                  <a:gd name="T42" fmla="*/ 26 w 106"/>
                  <a:gd name="T43" fmla="*/ 117 h 150"/>
                  <a:gd name="T44" fmla="*/ 30 w 106"/>
                  <a:gd name="T45" fmla="*/ 123 h 150"/>
                  <a:gd name="T46" fmla="*/ 35 w 106"/>
                  <a:gd name="T47" fmla="*/ 127 h 150"/>
                  <a:gd name="T48" fmla="*/ 42 w 106"/>
                  <a:gd name="T49" fmla="*/ 130 h 150"/>
                  <a:gd name="T50" fmla="*/ 51 w 106"/>
                  <a:gd name="T51" fmla="*/ 131 h 150"/>
                  <a:gd name="T52" fmla="*/ 67 w 106"/>
                  <a:gd name="T53" fmla="*/ 128 h 150"/>
                  <a:gd name="T54" fmla="*/ 75 w 106"/>
                  <a:gd name="T55" fmla="*/ 120 h 150"/>
                  <a:gd name="T56" fmla="*/ 78 w 106"/>
                  <a:gd name="T57" fmla="*/ 109 h 150"/>
                  <a:gd name="T58" fmla="*/ 79 w 106"/>
                  <a:gd name="T59" fmla="*/ 90 h 150"/>
                  <a:gd name="T60" fmla="*/ 64 w 106"/>
                  <a:gd name="T61" fmla="*/ 103 h 150"/>
                  <a:gd name="T62" fmla="*/ 45 w 106"/>
                  <a:gd name="T63" fmla="*/ 107 h 150"/>
                  <a:gd name="T64" fmla="*/ 21 w 106"/>
                  <a:gd name="T65" fmla="*/ 101 h 150"/>
                  <a:gd name="T66" fmla="*/ 6 w 106"/>
                  <a:gd name="T67" fmla="*/ 81 h 150"/>
                  <a:gd name="T68" fmla="*/ 0 w 106"/>
                  <a:gd name="T69" fmla="*/ 52 h 150"/>
                  <a:gd name="T70" fmla="*/ 4 w 106"/>
                  <a:gd name="T71" fmla="*/ 30 h 150"/>
                  <a:gd name="T72" fmla="*/ 13 w 106"/>
                  <a:gd name="T73" fmla="*/ 14 h 150"/>
                  <a:gd name="T74" fmla="*/ 27 w 106"/>
                  <a:gd name="T75" fmla="*/ 4 h 150"/>
                  <a:gd name="T76" fmla="*/ 45 w 106"/>
                  <a:gd name="T77" fmla="*/ 0 h 150"/>
                  <a:gd name="T78" fmla="*/ 65 w 106"/>
                  <a:gd name="T79" fmla="*/ 5 h 150"/>
                  <a:gd name="T80" fmla="*/ 80 w 106"/>
                  <a:gd name="T81" fmla="*/ 18 h 150"/>
                  <a:gd name="T82" fmla="*/ 80 w 106"/>
                  <a:gd name="T83" fmla="*/ 15 h 150"/>
                  <a:gd name="T84" fmla="*/ 84 w 106"/>
                  <a:gd name="T85" fmla="*/ 4 h 150"/>
                  <a:gd name="T86" fmla="*/ 93 w 106"/>
                  <a:gd name="T87" fmla="*/ 0 h 150"/>
                  <a:gd name="T88" fmla="*/ 103 w 106"/>
                  <a:gd name="T89" fmla="*/ 5 h 150"/>
                  <a:gd name="T90" fmla="*/ 106 w 106"/>
                  <a:gd name="T91" fmla="*/ 2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6" h="150">
                    <a:moveTo>
                      <a:pt x="27" y="54"/>
                    </a:moveTo>
                    <a:cubicBezTo>
                      <a:pt x="27" y="65"/>
                      <a:pt x="30" y="73"/>
                      <a:pt x="34" y="79"/>
                    </a:cubicBezTo>
                    <a:cubicBezTo>
                      <a:pt x="39" y="85"/>
                      <a:pt x="45" y="87"/>
                      <a:pt x="53" y="87"/>
                    </a:cubicBezTo>
                    <a:cubicBezTo>
                      <a:pt x="58" y="87"/>
                      <a:pt x="62" y="86"/>
                      <a:pt x="66" y="84"/>
                    </a:cubicBezTo>
                    <a:cubicBezTo>
                      <a:pt x="70" y="81"/>
                      <a:pt x="73" y="78"/>
                      <a:pt x="75" y="73"/>
                    </a:cubicBezTo>
                    <a:cubicBezTo>
                      <a:pt x="78" y="68"/>
                      <a:pt x="79" y="62"/>
                      <a:pt x="79" y="55"/>
                    </a:cubicBezTo>
                    <a:cubicBezTo>
                      <a:pt x="79" y="44"/>
                      <a:pt x="77" y="36"/>
                      <a:pt x="72" y="30"/>
                    </a:cubicBezTo>
                    <a:cubicBezTo>
                      <a:pt x="67" y="23"/>
                      <a:pt x="61" y="20"/>
                      <a:pt x="53" y="20"/>
                    </a:cubicBezTo>
                    <a:cubicBezTo>
                      <a:pt x="45" y="20"/>
                      <a:pt x="39" y="23"/>
                      <a:pt x="34" y="29"/>
                    </a:cubicBezTo>
                    <a:cubicBezTo>
                      <a:pt x="30" y="35"/>
                      <a:pt x="27" y="43"/>
                      <a:pt x="27" y="54"/>
                    </a:cubicBezTo>
                    <a:close/>
                    <a:moveTo>
                      <a:pt x="106" y="20"/>
                    </a:moveTo>
                    <a:lnTo>
                      <a:pt x="106" y="98"/>
                    </a:lnTo>
                    <a:cubicBezTo>
                      <a:pt x="106" y="107"/>
                      <a:pt x="105" y="115"/>
                      <a:pt x="103" y="122"/>
                    </a:cubicBezTo>
                    <a:cubicBezTo>
                      <a:pt x="101" y="128"/>
                      <a:pt x="98" y="133"/>
                      <a:pt x="93" y="138"/>
                    </a:cubicBezTo>
                    <a:cubicBezTo>
                      <a:pt x="89" y="142"/>
                      <a:pt x="84" y="145"/>
                      <a:pt x="77" y="147"/>
                    </a:cubicBezTo>
                    <a:cubicBezTo>
                      <a:pt x="70" y="149"/>
                      <a:pt x="62" y="150"/>
                      <a:pt x="51" y="150"/>
                    </a:cubicBezTo>
                    <a:cubicBezTo>
                      <a:pt x="42" y="150"/>
                      <a:pt x="34" y="149"/>
                      <a:pt x="27" y="146"/>
                    </a:cubicBezTo>
                    <a:cubicBezTo>
                      <a:pt x="19" y="143"/>
                      <a:pt x="14" y="140"/>
                      <a:pt x="10" y="136"/>
                    </a:cubicBezTo>
                    <a:cubicBezTo>
                      <a:pt x="6" y="132"/>
                      <a:pt x="4" y="128"/>
                      <a:pt x="4" y="123"/>
                    </a:cubicBezTo>
                    <a:cubicBezTo>
                      <a:pt x="4" y="120"/>
                      <a:pt x="5" y="117"/>
                      <a:pt x="7" y="115"/>
                    </a:cubicBezTo>
                    <a:cubicBezTo>
                      <a:pt x="9" y="113"/>
                      <a:pt x="12" y="112"/>
                      <a:pt x="15" y="112"/>
                    </a:cubicBezTo>
                    <a:cubicBezTo>
                      <a:pt x="19" y="112"/>
                      <a:pt x="23" y="114"/>
                      <a:pt x="26" y="117"/>
                    </a:cubicBezTo>
                    <a:cubicBezTo>
                      <a:pt x="27" y="119"/>
                      <a:pt x="28" y="121"/>
                      <a:pt x="30" y="123"/>
                    </a:cubicBezTo>
                    <a:cubicBezTo>
                      <a:pt x="32" y="125"/>
                      <a:pt x="33" y="126"/>
                      <a:pt x="35" y="127"/>
                    </a:cubicBezTo>
                    <a:cubicBezTo>
                      <a:pt x="37" y="129"/>
                      <a:pt x="39" y="130"/>
                      <a:pt x="42" y="130"/>
                    </a:cubicBezTo>
                    <a:cubicBezTo>
                      <a:pt x="45" y="131"/>
                      <a:pt x="48" y="131"/>
                      <a:pt x="51" y="131"/>
                    </a:cubicBezTo>
                    <a:cubicBezTo>
                      <a:pt x="58" y="131"/>
                      <a:pt x="63" y="130"/>
                      <a:pt x="67" y="128"/>
                    </a:cubicBezTo>
                    <a:cubicBezTo>
                      <a:pt x="71" y="126"/>
                      <a:pt x="74" y="124"/>
                      <a:pt x="75" y="120"/>
                    </a:cubicBezTo>
                    <a:cubicBezTo>
                      <a:pt x="77" y="117"/>
                      <a:pt x="78" y="113"/>
                      <a:pt x="78" y="109"/>
                    </a:cubicBezTo>
                    <a:cubicBezTo>
                      <a:pt x="78" y="105"/>
                      <a:pt x="79" y="98"/>
                      <a:pt x="79" y="90"/>
                    </a:cubicBezTo>
                    <a:cubicBezTo>
                      <a:pt x="75" y="95"/>
                      <a:pt x="70" y="100"/>
                      <a:pt x="64" y="103"/>
                    </a:cubicBezTo>
                    <a:cubicBezTo>
                      <a:pt x="59" y="106"/>
                      <a:pt x="52" y="107"/>
                      <a:pt x="45" y="107"/>
                    </a:cubicBezTo>
                    <a:cubicBezTo>
                      <a:pt x="36" y="107"/>
                      <a:pt x="28" y="105"/>
                      <a:pt x="21" y="101"/>
                    </a:cubicBezTo>
                    <a:cubicBezTo>
                      <a:pt x="14" y="96"/>
                      <a:pt x="9" y="89"/>
                      <a:pt x="6" y="81"/>
                    </a:cubicBezTo>
                    <a:cubicBezTo>
                      <a:pt x="2" y="73"/>
                      <a:pt x="0" y="63"/>
                      <a:pt x="0" y="52"/>
                    </a:cubicBezTo>
                    <a:cubicBezTo>
                      <a:pt x="0" y="44"/>
                      <a:pt x="1" y="37"/>
                      <a:pt x="4" y="30"/>
                    </a:cubicBezTo>
                    <a:cubicBezTo>
                      <a:pt x="6" y="24"/>
                      <a:pt x="9" y="18"/>
                      <a:pt x="13" y="14"/>
                    </a:cubicBezTo>
                    <a:cubicBezTo>
                      <a:pt x="17" y="9"/>
                      <a:pt x="22" y="6"/>
                      <a:pt x="27" y="4"/>
                    </a:cubicBezTo>
                    <a:cubicBezTo>
                      <a:pt x="32" y="1"/>
                      <a:pt x="38" y="0"/>
                      <a:pt x="45" y="0"/>
                    </a:cubicBezTo>
                    <a:cubicBezTo>
                      <a:pt x="52" y="0"/>
                      <a:pt x="59" y="2"/>
                      <a:pt x="65" y="5"/>
                    </a:cubicBezTo>
                    <a:cubicBezTo>
                      <a:pt x="70" y="8"/>
                      <a:pt x="75" y="12"/>
                      <a:pt x="80" y="18"/>
                    </a:cubicBezTo>
                    <a:lnTo>
                      <a:pt x="80" y="15"/>
                    </a:lnTo>
                    <a:cubicBezTo>
                      <a:pt x="80" y="10"/>
                      <a:pt x="81" y="7"/>
                      <a:pt x="84" y="4"/>
                    </a:cubicBezTo>
                    <a:cubicBezTo>
                      <a:pt x="86" y="1"/>
                      <a:pt x="89" y="0"/>
                      <a:pt x="93" y="0"/>
                    </a:cubicBezTo>
                    <a:cubicBezTo>
                      <a:pt x="98" y="0"/>
                      <a:pt x="101" y="2"/>
                      <a:pt x="103" y="5"/>
                    </a:cubicBezTo>
                    <a:cubicBezTo>
                      <a:pt x="105" y="9"/>
                      <a:pt x="106" y="13"/>
                      <a:pt x="106" y="2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189"/>
              <p:cNvSpPr>
                <a:spLocks/>
              </p:cNvSpPr>
              <p:nvPr/>
            </p:nvSpPr>
            <p:spPr bwMode="auto">
              <a:xfrm>
                <a:off x="3477" y="3979"/>
                <a:ext cx="46" cy="53"/>
              </a:xfrm>
              <a:custGeom>
                <a:avLst/>
                <a:gdLst>
                  <a:gd name="T0" fmla="*/ 25 w 96"/>
                  <a:gd name="T1" fmla="*/ 15 h 110"/>
                  <a:gd name="T2" fmla="*/ 25 w 96"/>
                  <a:gd name="T3" fmla="*/ 18 h 110"/>
                  <a:gd name="T4" fmla="*/ 41 w 96"/>
                  <a:gd name="T5" fmla="*/ 5 h 110"/>
                  <a:gd name="T6" fmla="*/ 61 w 96"/>
                  <a:gd name="T7" fmla="*/ 0 h 110"/>
                  <a:gd name="T8" fmla="*/ 80 w 96"/>
                  <a:gd name="T9" fmla="*/ 5 h 110"/>
                  <a:gd name="T10" fmla="*/ 92 w 96"/>
                  <a:gd name="T11" fmla="*/ 18 h 110"/>
                  <a:gd name="T12" fmla="*/ 96 w 96"/>
                  <a:gd name="T13" fmla="*/ 29 h 110"/>
                  <a:gd name="T14" fmla="*/ 96 w 96"/>
                  <a:gd name="T15" fmla="*/ 43 h 110"/>
                  <a:gd name="T16" fmla="*/ 96 w 96"/>
                  <a:gd name="T17" fmla="*/ 93 h 110"/>
                  <a:gd name="T18" fmla="*/ 93 w 96"/>
                  <a:gd name="T19" fmla="*/ 106 h 110"/>
                  <a:gd name="T20" fmla="*/ 83 w 96"/>
                  <a:gd name="T21" fmla="*/ 110 h 110"/>
                  <a:gd name="T22" fmla="*/ 73 w 96"/>
                  <a:gd name="T23" fmla="*/ 106 h 110"/>
                  <a:gd name="T24" fmla="*/ 70 w 96"/>
                  <a:gd name="T25" fmla="*/ 93 h 110"/>
                  <a:gd name="T26" fmla="*/ 70 w 96"/>
                  <a:gd name="T27" fmla="*/ 48 h 110"/>
                  <a:gd name="T28" fmla="*/ 66 w 96"/>
                  <a:gd name="T29" fmla="*/ 28 h 110"/>
                  <a:gd name="T30" fmla="*/ 51 w 96"/>
                  <a:gd name="T31" fmla="*/ 21 h 110"/>
                  <a:gd name="T32" fmla="*/ 38 w 96"/>
                  <a:gd name="T33" fmla="*/ 25 h 110"/>
                  <a:gd name="T34" fmla="*/ 29 w 96"/>
                  <a:gd name="T35" fmla="*/ 37 h 110"/>
                  <a:gd name="T36" fmla="*/ 27 w 96"/>
                  <a:gd name="T37" fmla="*/ 60 h 110"/>
                  <a:gd name="T38" fmla="*/ 27 w 96"/>
                  <a:gd name="T39" fmla="*/ 93 h 110"/>
                  <a:gd name="T40" fmla="*/ 23 w 96"/>
                  <a:gd name="T41" fmla="*/ 106 h 110"/>
                  <a:gd name="T42" fmla="*/ 14 w 96"/>
                  <a:gd name="T43" fmla="*/ 110 h 110"/>
                  <a:gd name="T44" fmla="*/ 4 w 96"/>
                  <a:gd name="T45" fmla="*/ 106 h 110"/>
                  <a:gd name="T46" fmla="*/ 0 w 96"/>
                  <a:gd name="T47" fmla="*/ 93 h 110"/>
                  <a:gd name="T48" fmla="*/ 0 w 96"/>
                  <a:gd name="T49" fmla="*/ 15 h 110"/>
                  <a:gd name="T50" fmla="*/ 4 w 96"/>
                  <a:gd name="T51" fmla="*/ 4 h 110"/>
                  <a:gd name="T52" fmla="*/ 13 w 96"/>
                  <a:gd name="T53" fmla="*/ 0 h 110"/>
                  <a:gd name="T54" fmla="*/ 19 w 96"/>
                  <a:gd name="T55" fmla="*/ 2 h 110"/>
                  <a:gd name="T56" fmla="*/ 24 w 96"/>
                  <a:gd name="T57" fmla="*/ 7 h 110"/>
                  <a:gd name="T58" fmla="*/ 25 w 96"/>
                  <a:gd name="T59" fmla="*/ 15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6" h="110">
                    <a:moveTo>
                      <a:pt x="25" y="15"/>
                    </a:moveTo>
                    <a:lnTo>
                      <a:pt x="25" y="18"/>
                    </a:lnTo>
                    <a:cubicBezTo>
                      <a:pt x="30" y="12"/>
                      <a:pt x="35" y="7"/>
                      <a:pt x="41" y="5"/>
                    </a:cubicBezTo>
                    <a:cubicBezTo>
                      <a:pt x="47" y="2"/>
                      <a:pt x="53" y="0"/>
                      <a:pt x="61" y="0"/>
                    </a:cubicBezTo>
                    <a:cubicBezTo>
                      <a:pt x="68" y="0"/>
                      <a:pt x="74" y="2"/>
                      <a:pt x="80" y="5"/>
                    </a:cubicBezTo>
                    <a:cubicBezTo>
                      <a:pt x="85" y="8"/>
                      <a:pt x="89" y="12"/>
                      <a:pt x="92" y="18"/>
                    </a:cubicBezTo>
                    <a:cubicBezTo>
                      <a:pt x="94" y="21"/>
                      <a:pt x="95" y="25"/>
                      <a:pt x="96" y="29"/>
                    </a:cubicBezTo>
                    <a:cubicBezTo>
                      <a:pt x="96" y="32"/>
                      <a:pt x="96" y="37"/>
                      <a:pt x="96" y="43"/>
                    </a:cubicBezTo>
                    <a:lnTo>
                      <a:pt x="96" y="93"/>
                    </a:lnTo>
                    <a:cubicBezTo>
                      <a:pt x="96" y="99"/>
                      <a:pt x="95" y="103"/>
                      <a:pt x="93" y="106"/>
                    </a:cubicBezTo>
                    <a:cubicBezTo>
                      <a:pt x="90" y="109"/>
                      <a:pt x="87" y="110"/>
                      <a:pt x="83" y="110"/>
                    </a:cubicBezTo>
                    <a:cubicBezTo>
                      <a:pt x="79" y="110"/>
                      <a:pt x="76" y="108"/>
                      <a:pt x="73" y="106"/>
                    </a:cubicBezTo>
                    <a:cubicBezTo>
                      <a:pt x="71" y="103"/>
                      <a:pt x="70" y="99"/>
                      <a:pt x="70" y="93"/>
                    </a:cubicBezTo>
                    <a:lnTo>
                      <a:pt x="70" y="48"/>
                    </a:lnTo>
                    <a:cubicBezTo>
                      <a:pt x="70" y="40"/>
                      <a:pt x="68" y="33"/>
                      <a:pt x="66" y="28"/>
                    </a:cubicBezTo>
                    <a:cubicBezTo>
                      <a:pt x="63" y="23"/>
                      <a:pt x="58" y="21"/>
                      <a:pt x="51" y="21"/>
                    </a:cubicBezTo>
                    <a:cubicBezTo>
                      <a:pt x="46" y="21"/>
                      <a:pt x="42" y="22"/>
                      <a:pt x="38" y="25"/>
                    </a:cubicBezTo>
                    <a:cubicBezTo>
                      <a:pt x="34" y="28"/>
                      <a:pt x="31" y="32"/>
                      <a:pt x="29" y="37"/>
                    </a:cubicBezTo>
                    <a:cubicBezTo>
                      <a:pt x="28" y="41"/>
                      <a:pt x="27" y="49"/>
                      <a:pt x="27" y="60"/>
                    </a:cubicBezTo>
                    <a:lnTo>
                      <a:pt x="27" y="93"/>
                    </a:lnTo>
                    <a:cubicBezTo>
                      <a:pt x="27" y="99"/>
                      <a:pt x="26" y="103"/>
                      <a:pt x="23" y="106"/>
                    </a:cubicBezTo>
                    <a:cubicBezTo>
                      <a:pt x="21" y="109"/>
                      <a:pt x="18" y="110"/>
                      <a:pt x="14" y="110"/>
                    </a:cubicBezTo>
                    <a:cubicBezTo>
                      <a:pt x="10" y="110"/>
                      <a:pt x="6" y="108"/>
                      <a:pt x="4" y="106"/>
                    </a:cubicBezTo>
                    <a:cubicBezTo>
                      <a:pt x="1" y="103"/>
                      <a:pt x="0" y="99"/>
                      <a:pt x="0" y="93"/>
                    </a:cubicBezTo>
                    <a:lnTo>
                      <a:pt x="0" y="15"/>
                    </a:lnTo>
                    <a:cubicBezTo>
                      <a:pt x="0" y="10"/>
                      <a:pt x="1" y="6"/>
                      <a:pt x="4" y="4"/>
                    </a:cubicBezTo>
                    <a:cubicBezTo>
                      <a:pt x="6" y="1"/>
                      <a:pt x="9" y="0"/>
                      <a:pt x="13" y="0"/>
                    </a:cubicBezTo>
                    <a:cubicBezTo>
                      <a:pt x="15" y="0"/>
                      <a:pt x="17" y="1"/>
                      <a:pt x="19" y="2"/>
                    </a:cubicBezTo>
                    <a:cubicBezTo>
                      <a:pt x="21" y="3"/>
                      <a:pt x="23" y="5"/>
                      <a:pt x="24" y="7"/>
                    </a:cubicBezTo>
                    <a:cubicBezTo>
                      <a:pt x="25" y="9"/>
                      <a:pt x="25" y="12"/>
                      <a:pt x="25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190"/>
              <p:cNvSpPr>
                <a:spLocks noEditPoints="1"/>
              </p:cNvSpPr>
              <p:nvPr/>
            </p:nvSpPr>
            <p:spPr bwMode="auto">
              <a:xfrm>
                <a:off x="3529" y="3979"/>
                <a:ext cx="49" cy="53"/>
              </a:xfrm>
              <a:custGeom>
                <a:avLst/>
                <a:gdLst>
                  <a:gd name="T0" fmla="*/ 28 w 103"/>
                  <a:gd name="T1" fmla="*/ 46 h 110"/>
                  <a:gd name="T2" fmla="*/ 77 w 103"/>
                  <a:gd name="T3" fmla="*/ 46 h 110"/>
                  <a:gd name="T4" fmla="*/ 69 w 103"/>
                  <a:gd name="T5" fmla="*/ 26 h 110"/>
                  <a:gd name="T6" fmla="*/ 52 w 103"/>
                  <a:gd name="T7" fmla="*/ 19 h 110"/>
                  <a:gd name="T8" fmla="*/ 36 w 103"/>
                  <a:gd name="T9" fmla="*/ 26 h 110"/>
                  <a:gd name="T10" fmla="*/ 28 w 103"/>
                  <a:gd name="T11" fmla="*/ 46 h 110"/>
                  <a:gd name="T12" fmla="*/ 81 w 103"/>
                  <a:gd name="T13" fmla="*/ 62 h 110"/>
                  <a:gd name="T14" fmla="*/ 28 w 103"/>
                  <a:gd name="T15" fmla="*/ 62 h 110"/>
                  <a:gd name="T16" fmla="*/ 32 w 103"/>
                  <a:gd name="T17" fmla="*/ 78 h 110"/>
                  <a:gd name="T18" fmla="*/ 41 w 103"/>
                  <a:gd name="T19" fmla="*/ 88 h 110"/>
                  <a:gd name="T20" fmla="*/ 54 w 103"/>
                  <a:gd name="T21" fmla="*/ 92 h 110"/>
                  <a:gd name="T22" fmla="*/ 63 w 103"/>
                  <a:gd name="T23" fmla="*/ 91 h 110"/>
                  <a:gd name="T24" fmla="*/ 71 w 103"/>
                  <a:gd name="T25" fmla="*/ 87 h 110"/>
                  <a:gd name="T26" fmla="*/ 78 w 103"/>
                  <a:gd name="T27" fmla="*/ 82 h 110"/>
                  <a:gd name="T28" fmla="*/ 86 w 103"/>
                  <a:gd name="T29" fmla="*/ 75 h 110"/>
                  <a:gd name="T30" fmla="*/ 92 w 103"/>
                  <a:gd name="T31" fmla="*/ 73 h 110"/>
                  <a:gd name="T32" fmla="*/ 99 w 103"/>
                  <a:gd name="T33" fmla="*/ 75 h 110"/>
                  <a:gd name="T34" fmla="*/ 101 w 103"/>
                  <a:gd name="T35" fmla="*/ 82 h 110"/>
                  <a:gd name="T36" fmla="*/ 99 w 103"/>
                  <a:gd name="T37" fmla="*/ 90 h 110"/>
                  <a:gd name="T38" fmla="*/ 90 w 103"/>
                  <a:gd name="T39" fmla="*/ 99 h 110"/>
                  <a:gd name="T40" fmla="*/ 75 w 103"/>
                  <a:gd name="T41" fmla="*/ 107 h 110"/>
                  <a:gd name="T42" fmla="*/ 55 w 103"/>
                  <a:gd name="T43" fmla="*/ 110 h 110"/>
                  <a:gd name="T44" fmla="*/ 15 w 103"/>
                  <a:gd name="T45" fmla="*/ 95 h 110"/>
                  <a:gd name="T46" fmla="*/ 0 w 103"/>
                  <a:gd name="T47" fmla="*/ 55 h 110"/>
                  <a:gd name="T48" fmla="*/ 4 w 103"/>
                  <a:gd name="T49" fmla="*/ 33 h 110"/>
                  <a:gd name="T50" fmla="*/ 14 w 103"/>
                  <a:gd name="T51" fmla="*/ 15 h 110"/>
                  <a:gd name="T52" fmla="*/ 31 w 103"/>
                  <a:gd name="T53" fmla="*/ 4 h 110"/>
                  <a:gd name="T54" fmla="*/ 53 w 103"/>
                  <a:gd name="T55" fmla="*/ 0 h 110"/>
                  <a:gd name="T56" fmla="*/ 80 w 103"/>
                  <a:gd name="T57" fmla="*/ 7 h 110"/>
                  <a:gd name="T58" fmla="*/ 97 w 103"/>
                  <a:gd name="T59" fmla="*/ 24 h 110"/>
                  <a:gd name="T60" fmla="*/ 103 w 103"/>
                  <a:gd name="T61" fmla="*/ 45 h 110"/>
                  <a:gd name="T62" fmla="*/ 97 w 103"/>
                  <a:gd name="T63" fmla="*/ 59 h 110"/>
                  <a:gd name="T64" fmla="*/ 81 w 103"/>
                  <a:gd name="T65" fmla="*/ 62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3" h="110">
                    <a:moveTo>
                      <a:pt x="28" y="46"/>
                    </a:moveTo>
                    <a:lnTo>
                      <a:pt x="77" y="46"/>
                    </a:lnTo>
                    <a:cubicBezTo>
                      <a:pt x="76" y="37"/>
                      <a:pt x="74" y="30"/>
                      <a:pt x="69" y="26"/>
                    </a:cubicBezTo>
                    <a:cubicBezTo>
                      <a:pt x="65" y="21"/>
                      <a:pt x="59" y="19"/>
                      <a:pt x="52" y="19"/>
                    </a:cubicBezTo>
                    <a:cubicBezTo>
                      <a:pt x="46" y="19"/>
                      <a:pt x="40" y="21"/>
                      <a:pt x="36" y="26"/>
                    </a:cubicBezTo>
                    <a:cubicBezTo>
                      <a:pt x="32" y="30"/>
                      <a:pt x="29" y="37"/>
                      <a:pt x="28" y="46"/>
                    </a:cubicBezTo>
                    <a:close/>
                    <a:moveTo>
                      <a:pt x="81" y="62"/>
                    </a:moveTo>
                    <a:lnTo>
                      <a:pt x="28" y="62"/>
                    </a:lnTo>
                    <a:cubicBezTo>
                      <a:pt x="28" y="68"/>
                      <a:pt x="29" y="73"/>
                      <a:pt x="32" y="78"/>
                    </a:cubicBezTo>
                    <a:cubicBezTo>
                      <a:pt x="34" y="83"/>
                      <a:pt x="37" y="86"/>
                      <a:pt x="41" y="88"/>
                    </a:cubicBezTo>
                    <a:cubicBezTo>
                      <a:pt x="45" y="91"/>
                      <a:pt x="50" y="92"/>
                      <a:pt x="54" y="92"/>
                    </a:cubicBezTo>
                    <a:cubicBezTo>
                      <a:pt x="58" y="92"/>
                      <a:pt x="61" y="92"/>
                      <a:pt x="63" y="91"/>
                    </a:cubicBezTo>
                    <a:cubicBezTo>
                      <a:pt x="66" y="90"/>
                      <a:pt x="69" y="89"/>
                      <a:pt x="71" y="87"/>
                    </a:cubicBezTo>
                    <a:cubicBezTo>
                      <a:pt x="74" y="86"/>
                      <a:pt x="76" y="84"/>
                      <a:pt x="78" y="82"/>
                    </a:cubicBezTo>
                    <a:cubicBezTo>
                      <a:pt x="80" y="80"/>
                      <a:pt x="83" y="78"/>
                      <a:pt x="86" y="75"/>
                    </a:cubicBezTo>
                    <a:cubicBezTo>
                      <a:pt x="88" y="73"/>
                      <a:pt x="90" y="73"/>
                      <a:pt x="92" y="73"/>
                    </a:cubicBezTo>
                    <a:cubicBezTo>
                      <a:pt x="95" y="73"/>
                      <a:pt x="97" y="74"/>
                      <a:pt x="99" y="75"/>
                    </a:cubicBezTo>
                    <a:cubicBezTo>
                      <a:pt x="101" y="77"/>
                      <a:pt x="101" y="79"/>
                      <a:pt x="101" y="82"/>
                    </a:cubicBezTo>
                    <a:cubicBezTo>
                      <a:pt x="101" y="84"/>
                      <a:pt x="101" y="87"/>
                      <a:pt x="99" y="90"/>
                    </a:cubicBezTo>
                    <a:cubicBezTo>
                      <a:pt x="97" y="93"/>
                      <a:pt x="94" y="96"/>
                      <a:pt x="90" y="99"/>
                    </a:cubicBezTo>
                    <a:cubicBezTo>
                      <a:pt x="86" y="102"/>
                      <a:pt x="81" y="105"/>
                      <a:pt x="75" y="107"/>
                    </a:cubicBezTo>
                    <a:cubicBezTo>
                      <a:pt x="70" y="109"/>
                      <a:pt x="63" y="110"/>
                      <a:pt x="55" y="110"/>
                    </a:cubicBezTo>
                    <a:cubicBezTo>
                      <a:pt x="38" y="110"/>
                      <a:pt x="24" y="105"/>
                      <a:pt x="15" y="95"/>
                    </a:cubicBezTo>
                    <a:cubicBezTo>
                      <a:pt x="5" y="85"/>
                      <a:pt x="0" y="72"/>
                      <a:pt x="0" y="55"/>
                    </a:cubicBezTo>
                    <a:cubicBezTo>
                      <a:pt x="0" y="47"/>
                      <a:pt x="2" y="39"/>
                      <a:pt x="4" y="33"/>
                    </a:cubicBezTo>
                    <a:cubicBezTo>
                      <a:pt x="6" y="26"/>
                      <a:pt x="10" y="20"/>
                      <a:pt x="14" y="15"/>
                    </a:cubicBezTo>
                    <a:cubicBezTo>
                      <a:pt x="19" y="10"/>
                      <a:pt x="24" y="6"/>
                      <a:pt x="31" y="4"/>
                    </a:cubicBezTo>
                    <a:cubicBezTo>
                      <a:pt x="38" y="1"/>
                      <a:pt x="45" y="0"/>
                      <a:pt x="53" y="0"/>
                    </a:cubicBezTo>
                    <a:cubicBezTo>
                      <a:pt x="64" y="0"/>
                      <a:pt x="73" y="2"/>
                      <a:pt x="80" y="7"/>
                    </a:cubicBezTo>
                    <a:cubicBezTo>
                      <a:pt x="88" y="11"/>
                      <a:pt x="94" y="17"/>
                      <a:pt x="97" y="24"/>
                    </a:cubicBezTo>
                    <a:cubicBezTo>
                      <a:pt x="101" y="31"/>
                      <a:pt x="103" y="38"/>
                      <a:pt x="103" y="45"/>
                    </a:cubicBezTo>
                    <a:cubicBezTo>
                      <a:pt x="103" y="52"/>
                      <a:pt x="101" y="57"/>
                      <a:pt x="97" y="59"/>
                    </a:cubicBezTo>
                    <a:cubicBezTo>
                      <a:pt x="93" y="61"/>
                      <a:pt x="88" y="62"/>
                      <a:pt x="81" y="6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191"/>
              <p:cNvSpPr>
                <a:spLocks noEditPoints="1"/>
              </p:cNvSpPr>
              <p:nvPr/>
            </p:nvSpPr>
            <p:spPr bwMode="auto">
              <a:xfrm>
                <a:off x="3582" y="3960"/>
                <a:ext cx="51" cy="72"/>
              </a:xfrm>
              <a:custGeom>
                <a:avLst/>
                <a:gdLst>
                  <a:gd name="T0" fmla="*/ 27 w 105"/>
                  <a:gd name="T1" fmla="*/ 95 h 150"/>
                  <a:gd name="T2" fmla="*/ 30 w 105"/>
                  <a:gd name="T3" fmla="*/ 114 h 150"/>
                  <a:gd name="T4" fmla="*/ 40 w 105"/>
                  <a:gd name="T5" fmla="*/ 125 h 150"/>
                  <a:gd name="T6" fmla="*/ 53 w 105"/>
                  <a:gd name="T7" fmla="*/ 129 h 150"/>
                  <a:gd name="T8" fmla="*/ 66 w 105"/>
                  <a:gd name="T9" fmla="*/ 125 h 150"/>
                  <a:gd name="T10" fmla="*/ 75 w 105"/>
                  <a:gd name="T11" fmla="*/ 114 h 150"/>
                  <a:gd name="T12" fmla="*/ 78 w 105"/>
                  <a:gd name="T13" fmla="*/ 95 h 150"/>
                  <a:gd name="T14" fmla="*/ 75 w 105"/>
                  <a:gd name="T15" fmla="*/ 76 h 150"/>
                  <a:gd name="T16" fmla="*/ 65 w 105"/>
                  <a:gd name="T17" fmla="*/ 64 h 150"/>
                  <a:gd name="T18" fmla="*/ 52 w 105"/>
                  <a:gd name="T19" fmla="*/ 60 h 150"/>
                  <a:gd name="T20" fmla="*/ 39 w 105"/>
                  <a:gd name="T21" fmla="*/ 64 h 150"/>
                  <a:gd name="T22" fmla="*/ 30 w 105"/>
                  <a:gd name="T23" fmla="*/ 77 h 150"/>
                  <a:gd name="T24" fmla="*/ 27 w 105"/>
                  <a:gd name="T25" fmla="*/ 95 h 150"/>
                  <a:gd name="T26" fmla="*/ 80 w 105"/>
                  <a:gd name="T27" fmla="*/ 134 h 150"/>
                  <a:gd name="T28" fmla="*/ 80 w 105"/>
                  <a:gd name="T29" fmla="*/ 132 h 150"/>
                  <a:gd name="T30" fmla="*/ 69 w 105"/>
                  <a:gd name="T31" fmla="*/ 142 h 150"/>
                  <a:gd name="T32" fmla="*/ 58 w 105"/>
                  <a:gd name="T33" fmla="*/ 148 h 150"/>
                  <a:gd name="T34" fmla="*/ 44 w 105"/>
                  <a:gd name="T35" fmla="*/ 150 h 150"/>
                  <a:gd name="T36" fmla="*/ 26 w 105"/>
                  <a:gd name="T37" fmla="*/ 146 h 150"/>
                  <a:gd name="T38" fmla="*/ 12 w 105"/>
                  <a:gd name="T39" fmla="*/ 134 h 150"/>
                  <a:gd name="T40" fmla="*/ 3 w 105"/>
                  <a:gd name="T41" fmla="*/ 116 h 150"/>
                  <a:gd name="T42" fmla="*/ 0 w 105"/>
                  <a:gd name="T43" fmla="*/ 94 h 150"/>
                  <a:gd name="T44" fmla="*/ 12 w 105"/>
                  <a:gd name="T45" fmla="*/ 54 h 150"/>
                  <a:gd name="T46" fmla="*/ 45 w 105"/>
                  <a:gd name="T47" fmla="*/ 40 h 150"/>
                  <a:gd name="T48" fmla="*/ 64 w 105"/>
                  <a:gd name="T49" fmla="*/ 44 h 150"/>
                  <a:gd name="T50" fmla="*/ 80 w 105"/>
                  <a:gd name="T51" fmla="*/ 57 h 150"/>
                  <a:gd name="T52" fmla="*/ 80 w 105"/>
                  <a:gd name="T53" fmla="*/ 17 h 150"/>
                  <a:gd name="T54" fmla="*/ 83 w 105"/>
                  <a:gd name="T55" fmla="*/ 4 h 150"/>
                  <a:gd name="T56" fmla="*/ 93 w 105"/>
                  <a:gd name="T57" fmla="*/ 0 h 150"/>
                  <a:gd name="T58" fmla="*/ 102 w 105"/>
                  <a:gd name="T59" fmla="*/ 4 h 150"/>
                  <a:gd name="T60" fmla="*/ 105 w 105"/>
                  <a:gd name="T61" fmla="*/ 15 h 150"/>
                  <a:gd name="T62" fmla="*/ 105 w 105"/>
                  <a:gd name="T63" fmla="*/ 134 h 150"/>
                  <a:gd name="T64" fmla="*/ 102 w 105"/>
                  <a:gd name="T65" fmla="*/ 146 h 150"/>
                  <a:gd name="T66" fmla="*/ 93 w 105"/>
                  <a:gd name="T67" fmla="*/ 150 h 150"/>
                  <a:gd name="T68" fmla="*/ 84 w 105"/>
                  <a:gd name="T69" fmla="*/ 146 h 150"/>
                  <a:gd name="T70" fmla="*/ 80 w 105"/>
                  <a:gd name="T71" fmla="*/ 134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5" h="150">
                    <a:moveTo>
                      <a:pt x="27" y="95"/>
                    </a:moveTo>
                    <a:cubicBezTo>
                      <a:pt x="27" y="102"/>
                      <a:pt x="28" y="108"/>
                      <a:pt x="30" y="114"/>
                    </a:cubicBezTo>
                    <a:cubicBezTo>
                      <a:pt x="32" y="119"/>
                      <a:pt x="36" y="123"/>
                      <a:pt x="40" y="125"/>
                    </a:cubicBezTo>
                    <a:cubicBezTo>
                      <a:pt x="44" y="128"/>
                      <a:pt x="48" y="129"/>
                      <a:pt x="53" y="129"/>
                    </a:cubicBezTo>
                    <a:cubicBezTo>
                      <a:pt x="57" y="129"/>
                      <a:pt x="62" y="128"/>
                      <a:pt x="66" y="125"/>
                    </a:cubicBezTo>
                    <a:cubicBezTo>
                      <a:pt x="69" y="123"/>
                      <a:pt x="73" y="119"/>
                      <a:pt x="75" y="114"/>
                    </a:cubicBezTo>
                    <a:cubicBezTo>
                      <a:pt x="77" y="109"/>
                      <a:pt x="78" y="102"/>
                      <a:pt x="78" y="95"/>
                    </a:cubicBezTo>
                    <a:cubicBezTo>
                      <a:pt x="78" y="88"/>
                      <a:pt x="77" y="81"/>
                      <a:pt x="75" y="76"/>
                    </a:cubicBezTo>
                    <a:cubicBezTo>
                      <a:pt x="73" y="71"/>
                      <a:pt x="69" y="67"/>
                      <a:pt x="65" y="64"/>
                    </a:cubicBezTo>
                    <a:cubicBezTo>
                      <a:pt x="61" y="62"/>
                      <a:pt x="57" y="60"/>
                      <a:pt x="52" y="60"/>
                    </a:cubicBezTo>
                    <a:cubicBezTo>
                      <a:pt x="47" y="60"/>
                      <a:pt x="43" y="62"/>
                      <a:pt x="39" y="64"/>
                    </a:cubicBezTo>
                    <a:cubicBezTo>
                      <a:pt x="35" y="67"/>
                      <a:pt x="32" y="71"/>
                      <a:pt x="30" y="77"/>
                    </a:cubicBezTo>
                    <a:cubicBezTo>
                      <a:pt x="28" y="82"/>
                      <a:pt x="27" y="88"/>
                      <a:pt x="27" y="95"/>
                    </a:cubicBezTo>
                    <a:close/>
                    <a:moveTo>
                      <a:pt x="80" y="134"/>
                    </a:moveTo>
                    <a:lnTo>
                      <a:pt x="80" y="132"/>
                    </a:lnTo>
                    <a:cubicBezTo>
                      <a:pt x="76" y="136"/>
                      <a:pt x="73" y="139"/>
                      <a:pt x="69" y="142"/>
                    </a:cubicBezTo>
                    <a:cubicBezTo>
                      <a:pt x="66" y="145"/>
                      <a:pt x="62" y="147"/>
                      <a:pt x="58" y="148"/>
                    </a:cubicBezTo>
                    <a:cubicBezTo>
                      <a:pt x="54" y="149"/>
                      <a:pt x="49" y="150"/>
                      <a:pt x="44" y="150"/>
                    </a:cubicBezTo>
                    <a:cubicBezTo>
                      <a:pt x="38" y="150"/>
                      <a:pt x="32" y="149"/>
                      <a:pt x="26" y="146"/>
                    </a:cubicBezTo>
                    <a:cubicBezTo>
                      <a:pt x="21" y="143"/>
                      <a:pt x="16" y="139"/>
                      <a:pt x="12" y="134"/>
                    </a:cubicBezTo>
                    <a:cubicBezTo>
                      <a:pt x="8" y="129"/>
                      <a:pt x="5" y="123"/>
                      <a:pt x="3" y="116"/>
                    </a:cubicBezTo>
                    <a:cubicBezTo>
                      <a:pt x="1" y="109"/>
                      <a:pt x="0" y="102"/>
                      <a:pt x="0" y="94"/>
                    </a:cubicBezTo>
                    <a:cubicBezTo>
                      <a:pt x="0" y="77"/>
                      <a:pt x="4" y="64"/>
                      <a:pt x="12" y="54"/>
                    </a:cubicBezTo>
                    <a:cubicBezTo>
                      <a:pt x="20" y="45"/>
                      <a:pt x="31" y="40"/>
                      <a:pt x="45" y="40"/>
                    </a:cubicBezTo>
                    <a:cubicBezTo>
                      <a:pt x="52" y="40"/>
                      <a:pt x="59" y="42"/>
                      <a:pt x="64" y="44"/>
                    </a:cubicBezTo>
                    <a:cubicBezTo>
                      <a:pt x="70" y="47"/>
                      <a:pt x="75" y="51"/>
                      <a:pt x="80" y="57"/>
                    </a:cubicBezTo>
                    <a:lnTo>
                      <a:pt x="80" y="17"/>
                    </a:lnTo>
                    <a:cubicBezTo>
                      <a:pt x="80" y="11"/>
                      <a:pt x="81" y="7"/>
                      <a:pt x="83" y="4"/>
                    </a:cubicBezTo>
                    <a:cubicBezTo>
                      <a:pt x="85" y="1"/>
                      <a:pt x="89" y="0"/>
                      <a:pt x="93" y="0"/>
                    </a:cubicBezTo>
                    <a:cubicBezTo>
                      <a:pt x="97" y="0"/>
                      <a:pt x="100" y="1"/>
                      <a:pt x="102" y="4"/>
                    </a:cubicBezTo>
                    <a:cubicBezTo>
                      <a:pt x="104" y="6"/>
                      <a:pt x="105" y="10"/>
                      <a:pt x="105" y="15"/>
                    </a:cubicBezTo>
                    <a:lnTo>
                      <a:pt x="105" y="134"/>
                    </a:lnTo>
                    <a:cubicBezTo>
                      <a:pt x="105" y="140"/>
                      <a:pt x="104" y="143"/>
                      <a:pt x="102" y="146"/>
                    </a:cubicBezTo>
                    <a:cubicBezTo>
                      <a:pt x="100" y="149"/>
                      <a:pt x="96" y="150"/>
                      <a:pt x="93" y="150"/>
                    </a:cubicBezTo>
                    <a:cubicBezTo>
                      <a:pt x="89" y="150"/>
                      <a:pt x="86" y="149"/>
                      <a:pt x="84" y="146"/>
                    </a:cubicBezTo>
                    <a:cubicBezTo>
                      <a:pt x="81" y="143"/>
                      <a:pt x="80" y="139"/>
                      <a:pt x="80" y="13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192"/>
              <p:cNvSpPr>
                <a:spLocks noEditPoints="1"/>
              </p:cNvSpPr>
              <p:nvPr/>
            </p:nvSpPr>
            <p:spPr bwMode="auto">
              <a:xfrm>
                <a:off x="3661" y="3960"/>
                <a:ext cx="51" cy="72"/>
              </a:xfrm>
              <a:custGeom>
                <a:avLst/>
                <a:gdLst>
                  <a:gd name="T0" fmla="*/ 27 w 105"/>
                  <a:gd name="T1" fmla="*/ 96 h 150"/>
                  <a:gd name="T2" fmla="*/ 34 w 105"/>
                  <a:gd name="T3" fmla="*/ 120 h 150"/>
                  <a:gd name="T4" fmla="*/ 53 w 105"/>
                  <a:gd name="T5" fmla="*/ 129 h 150"/>
                  <a:gd name="T6" fmla="*/ 71 w 105"/>
                  <a:gd name="T7" fmla="*/ 120 h 150"/>
                  <a:gd name="T8" fmla="*/ 78 w 105"/>
                  <a:gd name="T9" fmla="*/ 95 h 150"/>
                  <a:gd name="T10" fmla="*/ 75 w 105"/>
                  <a:gd name="T11" fmla="*/ 76 h 150"/>
                  <a:gd name="T12" fmla="*/ 66 w 105"/>
                  <a:gd name="T13" fmla="*/ 64 h 150"/>
                  <a:gd name="T14" fmla="*/ 53 w 105"/>
                  <a:gd name="T15" fmla="*/ 60 h 150"/>
                  <a:gd name="T16" fmla="*/ 40 w 105"/>
                  <a:gd name="T17" fmla="*/ 64 h 150"/>
                  <a:gd name="T18" fmla="*/ 30 w 105"/>
                  <a:gd name="T19" fmla="*/ 77 h 150"/>
                  <a:gd name="T20" fmla="*/ 27 w 105"/>
                  <a:gd name="T21" fmla="*/ 96 h 150"/>
                  <a:gd name="T22" fmla="*/ 25 w 105"/>
                  <a:gd name="T23" fmla="*/ 15 h 150"/>
                  <a:gd name="T24" fmla="*/ 25 w 105"/>
                  <a:gd name="T25" fmla="*/ 57 h 150"/>
                  <a:gd name="T26" fmla="*/ 41 w 105"/>
                  <a:gd name="T27" fmla="*/ 45 h 150"/>
                  <a:gd name="T28" fmla="*/ 60 w 105"/>
                  <a:gd name="T29" fmla="*/ 40 h 150"/>
                  <a:gd name="T30" fmla="*/ 84 w 105"/>
                  <a:gd name="T31" fmla="*/ 47 h 150"/>
                  <a:gd name="T32" fmla="*/ 100 w 105"/>
                  <a:gd name="T33" fmla="*/ 65 h 150"/>
                  <a:gd name="T34" fmla="*/ 105 w 105"/>
                  <a:gd name="T35" fmla="*/ 94 h 150"/>
                  <a:gd name="T36" fmla="*/ 102 w 105"/>
                  <a:gd name="T37" fmla="*/ 116 h 150"/>
                  <a:gd name="T38" fmla="*/ 93 w 105"/>
                  <a:gd name="T39" fmla="*/ 134 h 150"/>
                  <a:gd name="T40" fmla="*/ 79 w 105"/>
                  <a:gd name="T41" fmla="*/ 146 h 150"/>
                  <a:gd name="T42" fmla="*/ 60 w 105"/>
                  <a:gd name="T43" fmla="*/ 150 h 150"/>
                  <a:gd name="T44" fmla="*/ 48 w 105"/>
                  <a:gd name="T45" fmla="*/ 148 h 150"/>
                  <a:gd name="T46" fmla="*/ 39 w 105"/>
                  <a:gd name="T47" fmla="*/ 145 h 150"/>
                  <a:gd name="T48" fmla="*/ 32 w 105"/>
                  <a:gd name="T49" fmla="*/ 140 h 150"/>
                  <a:gd name="T50" fmla="*/ 25 w 105"/>
                  <a:gd name="T51" fmla="*/ 132 h 150"/>
                  <a:gd name="T52" fmla="*/ 25 w 105"/>
                  <a:gd name="T53" fmla="*/ 134 h 150"/>
                  <a:gd name="T54" fmla="*/ 22 w 105"/>
                  <a:gd name="T55" fmla="*/ 146 h 150"/>
                  <a:gd name="T56" fmla="*/ 12 w 105"/>
                  <a:gd name="T57" fmla="*/ 150 h 150"/>
                  <a:gd name="T58" fmla="*/ 3 w 105"/>
                  <a:gd name="T59" fmla="*/ 146 h 150"/>
                  <a:gd name="T60" fmla="*/ 0 w 105"/>
                  <a:gd name="T61" fmla="*/ 134 h 150"/>
                  <a:gd name="T62" fmla="*/ 0 w 105"/>
                  <a:gd name="T63" fmla="*/ 17 h 150"/>
                  <a:gd name="T64" fmla="*/ 3 w 105"/>
                  <a:gd name="T65" fmla="*/ 4 h 150"/>
                  <a:gd name="T66" fmla="*/ 12 w 105"/>
                  <a:gd name="T67" fmla="*/ 0 h 150"/>
                  <a:gd name="T68" fmla="*/ 22 w 105"/>
                  <a:gd name="T69" fmla="*/ 4 h 150"/>
                  <a:gd name="T70" fmla="*/ 25 w 105"/>
                  <a:gd name="T71" fmla="*/ 15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5" h="150">
                    <a:moveTo>
                      <a:pt x="27" y="96"/>
                    </a:moveTo>
                    <a:cubicBezTo>
                      <a:pt x="27" y="106"/>
                      <a:pt x="29" y="115"/>
                      <a:pt x="34" y="120"/>
                    </a:cubicBezTo>
                    <a:cubicBezTo>
                      <a:pt x="39" y="126"/>
                      <a:pt x="45" y="129"/>
                      <a:pt x="53" y="129"/>
                    </a:cubicBezTo>
                    <a:cubicBezTo>
                      <a:pt x="60" y="129"/>
                      <a:pt x="66" y="126"/>
                      <a:pt x="71" y="120"/>
                    </a:cubicBezTo>
                    <a:cubicBezTo>
                      <a:pt x="76" y="114"/>
                      <a:pt x="78" y="106"/>
                      <a:pt x="78" y="95"/>
                    </a:cubicBezTo>
                    <a:cubicBezTo>
                      <a:pt x="78" y="88"/>
                      <a:pt x="77" y="82"/>
                      <a:pt x="75" y="76"/>
                    </a:cubicBezTo>
                    <a:cubicBezTo>
                      <a:pt x="73" y="71"/>
                      <a:pt x="70" y="67"/>
                      <a:pt x="66" y="64"/>
                    </a:cubicBezTo>
                    <a:cubicBezTo>
                      <a:pt x="63" y="62"/>
                      <a:pt x="58" y="60"/>
                      <a:pt x="53" y="60"/>
                    </a:cubicBezTo>
                    <a:cubicBezTo>
                      <a:pt x="48" y="60"/>
                      <a:pt x="44" y="62"/>
                      <a:pt x="40" y="64"/>
                    </a:cubicBezTo>
                    <a:cubicBezTo>
                      <a:pt x="36" y="67"/>
                      <a:pt x="32" y="71"/>
                      <a:pt x="30" y="77"/>
                    </a:cubicBezTo>
                    <a:cubicBezTo>
                      <a:pt x="28" y="82"/>
                      <a:pt x="27" y="88"/>
                      <a:pt x="27" y="96"/>
                    </a:cubicBezTo>
                    <a:close/>
                    <a:moveTo>
                      <a:pt x="25" y="15"/>
                    </a:moveTo>
                    <a:lnTo>
                      <a:pt x="25" y="57"/>
                    </a:lnTo>
                    <a:cubicBezTo>
                      <a:pt x="30" y="51"/>
                      <a:pt x="36" y="47"/>
                      <a:pt x="41" y="45"/>
                    </a:cubicBezTo>
                    <a:cubicBezTo>
                      <a:pt x="46" y="42"/>
                      <a:pt x="53" y="40"/>
                      <a:pt x="60" y="40"/>
                    </a:cubicBezTo>
                    <a:cubicBezTo>
                      <a:pt x="69" y="40"/>
                      <a:pt x="77" y="42"/>
                      <a:pt x="84" y="47"/>
                    </a:cubicBezTo>
                    <a:cubicBezTo>
                      <a:pt x="91" y="51"/>
                      <a:pt x="96" y="57"/>
                      <a:pt x="100" y="65"/>
                    </a:cubicBezTo>
                    <a:cubicBezTo>
                      <a:pt x="103" y="73"/>
                      <a:pt x="105" y="83"/>
                      <a:pt x="105" y="94"/>
                    </a:cubicBezTo>
                    <a:cubicBezTo>
                      <a:pt x="105" y="102"/>
                      <a:pt x="104" y="110"/>
                      <a:pt x="102" y="116"/>
                    </a:cubicBezTo>
                    <a:cubicBezTo>
                      <a:pt x="100" y="123"/>
                      <a:pt x="97" y="129"/>
                      <a:pt x="93" y="134"/>
                    </a:cubicBezTo>
                    <a:cubicBezTo>
                      <a:pt x="89" y="139"/>
                      <a:pt x="84" y="143"/>
                      <a:pt x="79" y="146"/>
                    </a:cubicBezTo>
                    <a:cubicBezTo>
                      <a:pt x="73" y="149"/>
                      <a:pt x="67" y="150"/>
                      <a:pt x="60" y="150"/>
                    </a:cubicBezTo>
                    <a:cubicBezTo>
                      <a:pt x="56" y="150"/>
                      <a:pt x="52" y="149"/>
                      <a:pt x="48" y="148"/>
                    </a:cubicBezTo>
                    <a:cubicBezTo>
                      <a:pt x="45" y="147"/>
                      <a:pt x="42" y="146"/>
                      <a:pt x="39" y="145"/>
                    </a:cubicBezTo>
                    <a:cubicBezTo>
                      <a:pt x="36" y="143"/>
                      <a:pt x="34" y="141"/>
                      <a:pt x="32" y="140"/>
                    </a:cubicBezTo>
                    <a:cubicBezTo>
                      <a:pt x="31" y="138"/>
                      <a:pt x="28" y="135"/>
                      <a:pt x="25" y="132"/>
                    </a:cubicBezTo>
                    <a:lnTo>
                      <a:pt x="25" y="134"/>
                    </a:lnTo>
                    <a:cubicBezTo>
                      <a:pt x="25" y="140"/>
                      <a:pt x="24" y="143"/>
                      <a:pt x="22" y="146"/>
                    </a:cubicBezTo>
                    <a:cubicBezTo>
                      <a:pt x="19" y="149"/>
                      <a:pt x="16" y="150"/>
                      <a:pt x="12" y="150"/>
                    </a:cubicBezTo>
                    <a:cubicBezTo>
                      <a:pt x="9" y="150"/>
                      <a:pt x="5" y="149"/>
                      <a:pt x="3" y="146"/>
                    </a:cubicBezTo>
                    <a:cubicBezTo>
                      <a:pt x="1" y="143"/>
                      <a:pt x="0" y="140"/>
                      <a:pt x="0" y="134"/>
                    </a:cubicBezTo>
                    <a:lnTo>
                      <a:pt x="0" y="17"/>
                    </a:lnTo>
                    <a:cubicBezTo>
                      <a:pt x="0" y="11"/>
                      <a:pt x="1" y="7"/>
                      <a:pt x="3" y="4"/>
                    </a:cubicBezTo>
                    <a:cubicBezTo>
                      <a:pt x="5" y="1"/>
                      <a:pt x="8" y="0"/>
                      <a:pt x="12" y="0"/>
                    </a:cubicBezTo>
                    <a:cubicBezTo>
                      <a:pt x="17" y="0"/>
                      <a:pt x="20" y="1"/>
                      <a:pt x="22" y="4"/>
                    </a:cubicBezTo>
                    <a:cubicBezTo>
                      <a:pt x="24" y="7"/>
                      <a:pt x="25" y="10"/>
                      <a:pt x="25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193"/>
              <p:cNvSpPr>
                <a:spLocks/>
              </p:cNvSpPr>
              <p:nvPr/>
            </p:nvSpPr>
            <p:spPr bwMode="auto">
              <a:xfrm>
                <a:off x="3711" y="3979"/>
                <a:ext cx="49" cy="72"/>
              </a:xfrm>
              <a:custGeom>
                <a:avLst/>
                <a:gdLst>
                  <a:gd name="T0" fmla="*/ 37 w 103"/>
                  <a:gd name="T1" fmla="*/ 113 h 150"/>
                  <a:gd name="T2" fmla="*/ 40 w 103"/>
                  <a:gd name="T3" fmla="*/ 107 h 150"/>
                  <a:gd name="T4" fmla="*/ 7 w 103"/>
                  <a:gd name="T5" fmla="*/ 24 h 150"/>
                  <a:gd name="T6" fmla="*/ 4 w 103"/>
                  <a:gd name="T7" fmla="*/ 13 h 150"/>
                  <a:gd name="T8" fmla="*/ 5 w 103"/>
                  <a:gd name="T9" fmla="*/ 7 h 150"/>
                  <a:gd name="T10" fmla="*/ 10 w 103"/>
                  <a:gd name="T11" fmla="*/ 2 h 150"/>
                  <a:gd name="T12" fmla="*/ 17 w 103"/>
                  <a:gd name="T13" fmla="*/ 0 h 150"/>
                  <a:gd name="T14" fmla="*/ 25 w 103"/>
                  <a:gd name="T15" fmla="*/ 4 h 150"/>
                  <a:gd name="T16" fmla="*/ 31 w 103"/>
                  <a:gd name="T17" fmla="*/ 14 h 150"/>
                  <a:gd name="T18" fmla="*/ 54 w 103"/>
                  <a:gd name="T19" fmla="*/ 81 h 150"/>
                  <a:gd name="T20" fmla="*/ 75 w 103"/>
                  <a:gd name="T21" fmla="*/ 19 h 150"/>
                  <a:gd name="T22" fmla="*/ 80 w 103"/>
                  <a:gd name="T23" fmla="*/ 7 h 150"/>
                  <a:gd name="T24" fmla="*/ 84 w 103"/>
                  <a:gd name="T25" fmla="*/ 2 h 150"/>
                  <a:gd name="T26" fmla="*/ 91 w 103"/>
                  <a:gd name="T27" fmla="*/ 0 h 150"/>
                  <a:gd name="T28" fmla="*/ 97 w 103"/>
                  <a:gd name="T29" fmla="*/ 2 h 150"/>
                  <a:gd name="T30" fmla="*/ 101 w 103"/>
                  <a:gd name="T31" fmla="*/ 6 h 150"/>
                  <a:gd name="T32" fmla="*/ 103 w 103"/>
                  <a:gd name="T33" fmla="*/ 12 h 150"/>
                  <a:gd name="T34" fmla="*/ 101 w 103"/>
                  <a:gd name="T35" fmla="*/ 17 h 150"/>
                  <a:gd name="T36" fmla="*/ 99 w 103"/>
                  <a:gd name="T37" fmla="*/ 24 h 150"/>
                  <a:gd name="T38" fmla="*/ 64 w 103"/>
                  <a:gd name="T39" fmla="*/ 117 h 150"/>
                  <a:gd name="T40" fmla="*/ 55 w 103"/>
                  <a:gd name="T41" fmla="*/ 136 h 150"/>
                  <a:gd name="T42" fmla="*/ 44 w 103"/>
                  <a:gd name="T43" fmla="*/ 146 h 150"/>
                  <a:gd name="T44" fmla="*/ 24 w 103"/>
                  <a:gd name="T45" fmla="*/ 150 h 150"/>
                  <a:gd name="T46" fmla="*/ 6 w 103"/>
                  <a:gd name="T47" fmla="*/ 147 h 150"/>
                  <a:gd name="T48" fmla="*/ 0 w 103"/>
                  <a:gd name="T49" fmla="*/ 138 h 150"/>
                  <a:gd name="T50" fmla="*/ 3 w 103"/>
                  <a:gd name="T51" fmla="*/ 131 h 150"/>
                  <a:gd name="T52" fmla="*/ 12 w 103"/>
                  <a:gd name="T53" fmla="*/ 128 h 150"/>
                  <a:gd name="T54" fmla="*/ 16 w 103"/>
                  <a:gd name="T55" fmla="*/ 129 h 150"/>
                  <a:gd name="T56" fmla="*/ 20 w 103"/>
                  <a:gd name="T57" fmla="*/ 130 h 150"/>
                  <a:gd name="T58" fmla="*/ 28 w 103"/>
                  <a:gd name="T59" fmla="*/ 128 h 150"/>
                  <a:gd name="T60" fmla="*/ 32 w 103"/>
                  <a:gd name="T61" fmla="*/ 123 h 150"/>
                  <a:gd name="T62" fmla="*/ 37 w 103"/>
                  <a:gd name="T63" fmla="*/ 113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3" h="150">
                    <a:moveTo>
                      <a:pt x="37" y="113"/>
                    </a:moveTo>
                    <a:lnTo>
                      <a:pt x="40" y="107"/>
                    </a:lnTo>
                    <a:lnTo>
                      <a:pt x="7" y="24"/>
                    </a:lnTo>
                    <a:cubicBezTo>
                      <a:pt x="5" y="19"/>
                      <a:pt x="4" y="15"/>
                      <a:pt x="4" y="13"/>
                    </a:cubicBezTo>
                    <a:cubicBezTo>
                      <a:pt x="4" y="11"/>
                      <a:pt x="4" y="9"/>
                      <a:pt x="5" y="7"/>
                    </a:cubicBezTo>
                    <a:cubicBezTo>
                      <a:pt x="6" y="5"/>
                      <a:pt x="8" y="3"/>
                      <a:pt x="10" y="2"/>
                    </a:cubicBezTo>
                    <a:cubicBezTo>
                      <a:pt x="12" y="1"/>
                      <a:pt x="14" y="0"/>
                      <a:pt x="17" y="0"/>
                    </a:cubicBezTo>
                    <a:cubicBezTo>
                      <a:pt x="21" y="0"/>
                      <a:pt x="24" y="1"/>
                      <a:pt x="25" y="4"/>
                    </a:cubicBezTo>
                    <a:cubicBezTo>
                      <a:pt x="27" y="6"/>
                      <a:pt x="29" y="10"/>
                      <a:pt x="31" y="14"/>
                    </a:cubicBezTo>
                    <a:lnTo>
                      <a:pt x="54" y="81"/>
                    </a:lnTo>
                    <a:lnTo>
                      <a:pt x="75" y="19"/>
                    </a:lnTo>
                    <a:cubicBezTo>
                      <a:pt x="77" y="14"/>
                      <a:pt x="79" y="10"/>
                      <a:pt x="80" y="7"/>
                    </a:cubicBezTo>
                    <a:cubicBezTo>
                      <a:pt x="81" y="4"/>
                      <a:pt x="83" y="3"/>
                      <a:pt x="84" y="2"/>
                    </a:cubicBezTo>
                    <a:cubicBezTo>
                      <a:pt x="86" y="1"/>
                      <a:pt x="88" y="0"/>
                      <a:pt x="91" y="0"/>
                    </a:cubicBezTo>
                    <a:cubicBezTo>
                      <a:pt x="93" y="0"/>
                      <a:pt x="95" y="1"/>
                      <a:pt x="97" y="2"/>
                    </a:cubicBezTo>
                    <a:cubicBezTo>
                      <a:pt x="99" y="3"/>
                      <a:pt x="100" y="4"/>
                      <a:pt x="101" y="6"/>
                    </a:cubicBezTo>
                    <a:cubicBezTo>
                      <a:pt x="102" y="8"/>
                      <a:pt x="103" y="10"/>
                      <a:pt x="103" y="12"/>
                    </a:cubicBezTo>
                    <a:cubicBezTo>
                      <a:pt x="102" y="13"/>
                      <a:pt x="102" y="15"/>
                      <a:pt x="101" y="17"/>
                    </a:cubicBezTo>
                    <a:cubicBezTo>
                      <a:pt x="101" y="20"/>
                      <a:pt x="100" y="22"/>
                      <a:pt x="99" y="24"/>
                    </a:cubicBezTo>
                    <a:lnTo>
                      <a:pt x="64" y="117"/>
                    </a:lnTo>
                    <a:cubicBezTo>
                      <a:pt x="61" y="125"/>
                      <a:pt x="58" y="131"/>
                      <a:pt x="55" y="136"/>
                    </a:cubicBezTo>
                    <a:cubicBezTo>
                      <a:pt x="52" y="140"/>
                      <a:pt x="48" y="144"/>
                      <a:pt x="44" y="146"/>
                    </a:cubicBezTo>
                    <a:cubicBezTo>
                      <a:pt x="39" y="149"/>
                      <a:pt x="32" y="150"/>
                      <a:pt x="24" y="150"/>
                    </a:cubicBezTo>
                    <a:cubicBezTo>
                      <a:pt x="16" y="150"/>
                      <a:pt x="10" y="149"/>
                      <a:pt x="6" y="147"/>
                    </a:cubicBezTo>
                    <a:cubicBezTo>
                      <a:pt x="2" y="146"/>
                      <a:pt x="0" y="143"/>
                      <a:pt x="0" y="138"/>
                    </a:cubicBezTo>
                    <a:cubicBezTo>
                      <a:pt x="0" y="135"/>
                      <a:pt x="1" y="133"/>
                      <a:pt x="3" y="131"/>
                    </a:cubicBezTo>
                    <a:cubicBezTo>
                      <a:pt x="5" y="129"/>
                      <a:pt x="8" y="128"/>
                      <a:pt x="12" y="128"/>
                    </a:cubicBezTo>
                    <a:lnTo>
                      <a:pt x="16" y="129"/>
                    </a:lnTo>
                    <a:cubicBezTo>
                      <a:pt x="18" y="129"/>
                      <a:pt x="19" y="130"/>
                      <a:pt x="20" y="130"/>
                    </a:cubicBezTo>
                    <a:cubicBezTo>
                      <a:pt x="23" y="130"/>
                      <a:pt x="26" y="129"/>
                      <a:pt x="28" y="128"/>
                    </a:cubicBezTo>
                    <a:cubicBezTo>
                      <a:pt x="29" y="127"/>
                      <a:pt x="31" y="126"/>
                      <a:pt x="32" y="123"/>
                    </a:cubicBezTo>
                    <a:cubicBezTo>
                      <a:pt x="34" y="121"/>
                      <a:pt x="36" y="118"/>
                      <a:pt x="37" y="11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194"/>
              <p:cNvSpPr>
                <a:spLocks/>
              </p:cNvSpPr>
              <p:nvPr/>
            </p:nvSpPr>
            <p:spPr bwMode="auto">
              <a:xfrm>
                <a:off x="3910" y="3960"/>
                <a:ext cx="38" cy="72"/>
              </a:xfrm>
              <a:custGeom>
                <a:avLst/>
                <a:gdLst>
                  <a:gd name="T0" fmla="*/ 14 w 79"/>
                  <a:gd name="T1" fmla="*/ 42 h 150"/>
                  <a:gd name="T2" fmla="*/ 20 w 79"/>
                  <a:gd name="T3" fmla="*/ 42 h 150"/>
                  <a:gd name="T4" fmla="*/ 20 w 79"/>
                  <a:gd name="T5" fmla="*/ 34 h 150"/>
                  <a:gd name="T6" fmla="*/ 23 w 79"/>
                  <a:gd name="T7" fmla="*/ 14 h 150"/>
                  <a:gd name="T8" fmla="*/ 34 w 79"/>
                  <a:gd name="T9" fmla="*/ 3 h 150"/>
                  <a:gd name="T10" fmla="*/ 55 w 79"/>
                  <a:gd name="T11" fmla="*/ 0 h 150"/>
                  <a:gd name="T12" fmla="*/ 79 w 79"/>
                  <a:gd name="T13" fmla="*/ 11 h 150"/>
                  <a:gd name="T14" fmla="*/ 76 w 79"/>
                  <a:gd name="T15" fmla="*/ 18 h 150"/>
                  <a:gd name="T16" fmla="*/ 71 w 79"/>
                  <a:gd name="T17" fmla="*/ 21 h 150"/>
                  <a:gd name="T18" fmla="*/ 65 w 79"/>
                  <a:gd name="T19" fmla="*/ 20 h 150"/>
                  <a:gd name="T20" fmla="*/ 59 w 79"/>
                  <a:gd name="T21" fmla="*/ 19 h 150"/>
                  <a:gd name="T22" fmla="*/ 49 w 79"/>
                  <a:gd name="T23" fmla="*/ 24 h 150"/>
                  <a:gd name="T24" fmla="*/ 47 w 79"/>
                  <a:gd name="T25" fmla="*/ 36 h 150"/>
                  <a:gd name="T26" fmla="*/ 47 w 79"/>
                  <a:gd name="T27" fmla="*/ 42 h 150"/>
                  <a:gd name="T28" fmla="*/ 54 w 79"/>
                  <a:gd name="T29" fmla="*/ 42 h 150"/>
                  <a:gd name="T30" fmla="*/ 69 w 79"/>
                  <a:gd name="T31" fmla="*/ 52 h 150"/>
                  <a:gd name="T32" fmla="*/ 65 w 79"/>
                  <a:gd name="T33" fmla="*/ 60 h 150"/>
                  <a:gd name="T34" fmla="*/ 54 w 79"/>
                  <a:gd name="T35" fmla="*/ 62 h 150"/>
                  <a:gd name="T36" fmla="*/ 47 w 79"/>
                  <a:gd name="T37" fmla="*/ 62 h 150"/>
                  <a:gd name="T38" fmla="*/ 47 w 79"/>
                  <a:gd name="T39" fmla="*/ 133 h 150"/>
                  <a:gd name="T40" fmla="*/ 43 w 79"/>
                  <a:gd name="T41" fmla="*/ 146 h 150"/>
                  <a:gd name="T42" fmla="*/ 33 w 79"/>
                  <a:gd name="T43" fmla="*/ 150 h 150"/>
                  <a:gd name="T44" fmla="*/ 24 w 79"/>
                  <a:gd name="T45" fmla="*/ 146 h 150"/>
                  <a:gd name="T46" fmla="*/ 20 w 79"/>
                  <a:gd name="T47" fmla="*/ 133 h 150"/>
                  <a:gd name="T48" fmla="*/ 20 w 79"/>
                  <a:gd name="T49" fmla="*/ 62 h 150"/>
                  <a:gd name="T50" fmla="*/ 13 w 79"/>
                  <a:gd name="T51" fmla="*/ 62 h 150"/>
                  <a:gd name="T52" fmla="*/ 3 w 79"/>
                  <a:gd name="T53" fmla="*/ 59 h 150"/>
                  <a:gd name="T54" fmla="*/ 0 w 79"/>
                  <a:gd name="T55" fmla="*/ 52 h 150"/>
                  <a:gd name="T56" fmla="*/ 14 w 79"/>
                  <a:gd name="T57" fmla="*/ 42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9" h="150">
                    <a:moveTo>
                      <a:pt x="14" y="42"/>
                    </a:moveTo>
                    <a:lnTo>
                      <a:pt x="20" y="42"/>
                    </a:lnTo>
                    <a:lnTo>
                      <a:pt x="20" y="34"/>
                    </a:lnTo>
                    <a:cubicBezTo>
                      <a:pt x="20" y="26"/>
                      <a:pt x="21" y="19"/>
                      <a:pt x="23" y="14"/>
                    </a:cubicBezTo>
                    <a:cubicBezTo>
                      <a:pt x="25" y="9"/>
                      <a:pt x="29" y="6"/>
                      <a:pt x="34" y="3"/>
                    </a:cubicBezTo>
                    <a:cubicBezTo>
                      <a:pt x="39" y="1"/>
                      <a:pt x="46" y="0"/>
                      <a:pt x="55" y="0"/>
                    </a:cubicBezTo>
                    <a:cubicBezTo>
                      <a:pt x="71" y="0"/>
                      <a:pt x="79" y="4"/>
                      <a:pt x="79" y="11"/>
                    </a:cubicBezTo>
                    <a:cubicBezTo>
                      <a:pt x="79" y="14"/>
                      <a:pt x="78" y="16"/>
                      <a:pt x="76" y="18"/>
                    </a:cubicBezTo>
                    <a:cubicBezTo>
                      <a:pt x="75" y="20"/>
                      <a:pt x="73" y="21"/>
                      <a:pt x="71" y="21"/>
                    </a:cubicBezTo>
                    <a:cubicBezTo>
                      <a:pt x="70" y="21"/>
                      <a:pt x="68" y="20"/>
                      <a:pt x="65" y="20"/>
                    </a:cubicBezTo>
                    <a:cubicBezTo>
                      <a:pt x="63" y="20"/>
                      <a:pt x="60" y="19"/>
                      <a:pt x="59" y="19"/>
                    </a:cubicBezTo>
                    <a:cubicBezTo>
                      <a:pt x="54" y="19"/>
                      <a:pt x="51" y="21"/>
                      <a:pt x="49" y="24"/>
                    </a:cubicBezTo>
                    <a:cubicBezTo>
                      <a:pt x="48" y="27"/>
                      <a:pt x="47" y="31"/>
                      <a:pt x="47" y="36"/>
                    </a:cubicBezTo>
                    <a:lnTo>
                      <a:pt x="47" y="42"/>
                    </a:lnTo>
                    <a:lnTo>
                      <a:pt x="54" y="42"/>
                    </a:lnTo>
                    <a:cubicBezTo>
                      <a:pt x="64" y="42"/>
                      <a:pt x="69" y="46"/>
                      <a:pt x="69" y="52"/>
                    </a:cubicBezTo>
                    <a:cubicBezTo>
                      <a:pt x="69" y="56"/>
                      <a:pt x="68" y="59"/>
                      <a:pt x="65" y="60"/>
                    </a:cubicBezTo>
                    <a:cubicBezTo>
                      <a:pt x="62" y="61"/>
                      <a:pt x="59" y="62"/>
                      <a:pt x="54" y="62"/>
                    </a:cubicBezTo>
                    <a:lnTo>
                      <a:pt x="47" y="62"/>
                    </a:lnTo>
                    <a:lnTo>
                      <a:pt x="47" y="133"/>
                    </a:lnTo>
                    <a:cubicBezTo>
                      <a:pt x="47" y="139"/>
                      <a:pt x="46" y="143"/>
                      <a:pt x="43" y="146"/>
                    </a:cubicBezTo>
                    <a:cubicBezTo>
                      <a:pt x="41" y="148"/>
                      <a:pt x="37" y="150"/>
                      <a:pt x="33" y="150"/>
                    </a:cubicBezTo>
                    <a:cubicBezTo>
                      <a:pt x="30" y="150"/>
                      <a:pt x="26" y="148"/>
                      <a:pt x="24" y="146"/>
                    </a:cubicBezTo>
                    <a:cubicBezTo>
                      <a:pt x="21" y="143"/>
                      <a:pt x="20" y="139"/>
                      <a:pt x="20" y="133"/>
                    </a:cubicBezTo>
                    <a:lnTo>
                      <a:pt x="20" y="62"/>
                    </a:lnTo>
                    <a:lnTo>
                      <a:pt x="13" y="62"/>
                    </a:lnTo>
                    <a:cubicBezTo>
                      <a:pt x="9" y="62"/>
                      <a:pt x="6" y="61"/>
                      <a:pt x="3" y="59"/>
                    </a:cubicBezTo>
                    <a:cubicBezTo>
                      <a:pt x="1" y="57"/>
                      <a:pt x="0" y="55"/>
                      <a:pt x="0" y="52"/>
                    </a:cubicBezTo>
                    <a:cubicBezTo>
                      <a:pt x="0" y="46"/>
                      <a:pt x="5" y="42"/>
                      <a:pt x="14" y="4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195"/>
              <p:cNvSpPr>
                <a:spLocks/>
              </p:cNvSpPr>
              <p:nvPr/>
            </p:nvSpPr>
            <p:spPr bwMode="auto">
              <a:xfrm>
                <a:off x="3946" y="3979"/>
                <a:ext cx="36" cy="53"/>
              </a:xfrm>
              <a:custGeom>
                <a:avLst/>
                <a:gdLst>
                  <a:gd name="T0" fmla="*/ 27 w 74"/>
                  <a:gd name="T1" fmla="*/ 71 h 110"/>
                  <a:gd name="T2" fmla="*/ 27 w 74"/>
                  <a:gd name="T3" fmla="*/ 93 h 110"/>
                  <a:gd name="T4" fmla="*/ 23 w 74"/>
                  <a:gd name="T5" fmla="*/ 106 h 110"/>
                  <a:gd name="T6" fmla="*/ 13 w 74"/>
                  <a:gd name="T7" fmla="*/ 110 h 110"/>
                  <a:gd name="T8" fmla="*/ 4 w 74"/>
                  <a:gd name="T9" fmla="*/ 106 h 110"/>
                  <a:gd name="T10" fmla="*/ 0 w 74"/>
                  <a:gd name="T11" fmla="*/ 93 h 110"/>
                  <a:gd name="T12" fmla="*/ 0 w 74"/>
                  <a:gd name="T13" fmla="*/ 18 h 110"/>
                  <a:gd name="T14" fmla="*/ 13 w 74"/>
                  <a:gd name="T15" fmla="*/ 0 h 110"/>
                  <a:gd name="T16" fmla="*/ 23 w 74"/>
                  <a:gd name="T17" fmla="*/ 4 h 110"/>
                  <a:gd name="T18" fmla="*/ 26 w 74"/>
                  <a:gd name="T19" fmla="*/ 17 h 110"/>
                  <a:gd name="T20" fmla="*/ 36 w 74"/>
                  <a:gd name="T21" fmla="*/ 4 h 110"/>
                  <a:gd name="T22" fmla="*/ 50 w 74"/>
                  <a:gd name="T23" fmla="*/ 0 h 110"/>
                  <a:gd name="T24" fmla="*/ 66 w 74"/>
                  <a:gd name="T25" fmla="*/ 4 h 110"/>
                  <a:gd name="T26" fmla="*/ 74 w 74"/>
                  <a:gd name="T27" fmla="*/ 16 h 110"/>
                  <a:gd name="T28" fmla="*/ 71 w 74"/>
                  <a:gd name="T29" fmla="*/ 24 h 110"/>
                  <a:gd name="T30" fmla="*/ 63 w 74"/>
                  <a:gd name="T31" fmla="*/ 27 h 110"/>
                  <a:gd name="T32" fmla="*/ 56 w 74"/>
                  <a:gd name="T33" fmla="*/ 25 h 110"/>
                  <a:gd name="T34" fmla="*/ 46 w 74"/>
                  <a:gd name="T35" fmla="*/ 23 h 110"/>
                  <a:gd name="T36" fmla="*/ 37 w 74"/>
                  <a:gd name="T37" fmla="*/ 26 h 110"/>
                  <a:gd name="T38" fmla="*/ 31 w 74"/>
                  <a:gd name="T39" fmla="*/ 36 h 110"/>
                  <a:gd name="T40" fmla="*/ 28 w 74"/>
                  <a:gd name="T41" fmla="*/ 50 h 110"/>
                  <a:gd name="T42" fmla="*/ 27 w 74"/>
                  <a:gd name="T43" fmla="*/ 7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4" h="110">
                    <a:moveTo>
                      <a:pt x="27" y="71"/>
                    </a:moveTo>
                    <a:lnTo>
                      <a:pt x="27" y="93"/>
                    </a:lnTo>
                    <a:cubicBezTo>
                      <a:pt x="27" y="99"/>
                      <a:pt x="26" y="103"/>
                      <a:pt x="23" y="106"/>
                    </a:cubicBezTo>
                    <a:cubicBezTo>
                      <a:pt x="21" y="109"/>
                      <a:pt x="17" y="110"/>
                      <a:pt x="13" y="110"/>
                    </a:cubicBezTo>
                    <a:cubicBezTo>
                      <a:pt x="9" y="110"/>
                      <a:pt x="6" y="109"/>
                      <a:pt x="4" y="106"/>
                    </a:cubicBezTo>
                    <a:cubicBezTo>
                      <a:pt x="1" y="103"/>
                      <a:pt x="0" y="99"/>
                      <a:pt x="0" y="93"/>
                    </a:cubicBezTo>
                    <a:lnTo>
                      <a:pt x="0" y="18"/>
                    </a:lnTo>
                    <a:cubicBezTo>
                      <a:pt x="0" y="6"/>
                      <a:pt x="4" y="0"/>
                      <a:pt x="13" y="0"/>
                    </a:cubicBezTo>
                    <a:cubicBezTo>
                      <a:pt x="18" y="0"/>
                      <a:pt x="21" y="1"/>
                      <a:pt x="23" y="4"/>
                    </a:cubicBezTo>
                    <a:cubicBezTo>
                      <a:pt x="25" y="7"/>
                      <a:pt x="26" y="11"/>
                      <a:pt x="26" y="17"/>
                    </a:cubicBezTo>
                    <a:cubicBezTo>
                      <a:pt x="29" y="11"/>
                      <a:pt x="33" y="7"/>
                      <a:pt x="36" y="4"/>
                    </a:cubicBezTo>
                    <a:cubicBezTo>
                      <a:pt x="40" y="1"/>
                      <a:pt x="44" y="0"/>
                      <a:pt x="50" y="0"/>
                    </a:cubicBezTo>
                    <a:cubicBezTo>
                      <a:pt x="55" y="0"/>
                      <a:pt x="61" y="1"/>
                      <a:pt x="66" y="4"/>
                    </a:cubicBezTo>
                    <a:cubicBezTo>
                      <a:pt x="72" y="7"/>
                      <a:pt x="74" y="11"/>
                      <a:pt x="74" y="16"/>
                    </a:cubicBezTo>
                    <a:cubicBezTo>
                      <a:pt x="74" y="19"/>
                      <a:pt x="73" y="22"/>
                      <a:pt x="71" y="24"/>
                    </a:cubicBezTo>
                    <a:cubicBezTo>
                      <a:pt x="69" y="26"/>
                      <a:pt x="66" y="27"/>
                      <a:pt x="63" y="27"/>
                    </a:cubicBezTo>
                    <a:cubicBezTo>
                      <a:pt x="62" y="27"/>
                      <a:pt x="60" y="26"/>
                      <a:pt x="56" y="25"/>
                    </a:cubicBezTo>
                    <a:cubicBezTo>
                      <a:pt x="52" y="24"/>
                      <a:pt x="49" y="23"/>
                      <a:pt x="46" y="23"/>
                    </a:cubicBezTo>
                    <a:cubicBezTo>
                      <a:pt x="42" y="23"/>
                      <a:pt x="39" y="24"/>
                      <a:pt x="37" y="26"/>
                    </a:cubicBezTo>
                    <a:cubicBezTo>
                      <a:pt x="34" y="29"/>
                      <a:pt x="32" y="32"/>
                      <a:pt x="31" y="36"/>
                    </a:cubicBezTo>
                    <a:cubicBezTo>
                      <a:pt x="29" y="40"/>
                      <a:pt x="28" y="45"/>
                      <a:pt x="28" y="50"/>
                    </a:cubicBezTo>
                    <a:cubicBezTo>
                      <a:pt x="27" y="56"/>
                      <a:pt x="27" y="63"/>
                      <a:pt x="27" y="7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196"/>
              <p:cNvSpPr>
                <a:spLocks noEditPoints="1"/>
              </p:cNvSpPr>
              <p:nvPr/>
            </p:nvSpPr>
            <p:spPr bwMode="auto">
              <a:xfrm>
                <a:off x="3980" y="3979"/>
                <a:ext cx="50" cy="53"/>
              </a:xfrm>
              <a:custGeom>
                <a:avLst/>
                <a:gdLst>
                  <a:gd name="T0" fmla="*/ 27 w 103"/>
                  <a:gd name="T1" fmla="*/ 46 h 110"/>
                  <a:gd name="T2" fmla="*/ 76 w 103"/>
                  <a:gd name="T3" fmla="*/ 46 h 110"/>
                  <a:gd name="T4" fmla="*/ 69 w 103"/>
                  <a:gd name="T5" fmla="*/ 26 h 110"/>
                  <a:gd name="T6" fmla="*/ 52 w 103"/>
                  <a:gd name="T7" fmla="*/ 19 h 110"/>
                  <a:gd name="T8" fmla="*/ 35 w 103"/>
                  <a:gd name="T9" fmla="*/ 26 h 110"/>
                  <a:gd name="T10" fmla="*/ 27 w 103"/>
                  <a:gd name="T11" fmla="*/ 46 h 110"/>
                  <a:gd name="T12" fmla="*/ 80 w 103"/>
                  <a:gd name="T13" fmla="*/ 62 h 110"/>
                  <a:gd name="T14" fmla="*/ 27 w 103"/>
                  <a:gd name="T15" fmla="*/ 62 h 110"/>
                  <a:gd name="T16" fmla="*/ 31 w 103"/>
                  <a:gd name="T17" fmla="*/ 78 h 110"/>
                  <a:gd name="T18" fmla="*/ 41 w 103"/>
                  <a:gd name="T19" fmla="*/ 88 h 110"/>
                  <a:gd name="T20" fmla="*/ 54 w 103"/>
                  <a:gd name="T21" fmla="*/ 92 h 110"/>
                  <a:gd name="T22" fmla="*/ 63 w 103"/>
                  <a:gd name="T23" fmla="*/ 91 h 110"/>
                  <a:gd name="T24" fmla="*/ 71 w 103"/>
                  <a:gd name="T25" fmla="*/ 87 h 110"/>
                  <a:gd name="T26" fmla="*/ 77 w 103"/>
                  <a:gd name="T27" fmla="*/ 82 h 110"/>
                  <a:gd name="T28" fmla="*/ 86 w 103"/>
                  <a:gd name="T29" fmla="*/ 75 h 110"/>
                  <a:gd name="T30" fmla="*/ 92 w 103"/>
                  <a:gd name="T31" fmla="*/ 73 h 110"/>
                  <a:gd name="T32" fmla="*/ 98 w 103"/>
                  <a:gd name="T33" fmla="*/ 75 h 110"/>
                  <a:gd name="T34" fmla="*/ 101 w 103"/>
                  <a:gd name="T35" fmla="*/ 82 h 110"/>
                  <a:gd name="T36" fmla="*/ 98 w 103"/>
                  <a:gd name="T37" fmla="*/ 90 h 110"/>
                  <a:gd name="T38" fmla="*/ 89 w 103"/>
                  <a:gd name="T39" fmla="*/ 99 h 110"/>
                  <a:gd name="T40" fmla="*/ 75 w 103"/>
                  <a:gd name="T41" fmla="*/ 107 h 110"/>
                  <a:gd name="T42" fmla="*/ 55 w 103"/>
                  <a:gd name="T43" fmla="*/ 110 h 110"/>
                  <a:gd name="T44" fmla="*/ 14 w 103"/>
                  <a:gd name="T45" fmla="*/ 95 h 110"/>
                  <a:gd name="T46" fmla="*/ 0 w 103"/>
                  <a:gd name="T47" fmla="*/ 55 h 110"/>
                  <a:gd name="T48" fmla="*/ 3 w 103"/>
                  <a:gd name="T49" fmla="*/ 33 h 110"/>
                  <a:gd name="T50" fmla="*/ 14 w 103"/>
                  <a:gd name="T51" fmla="*/ 15 h 110"/>
                  <a:gd name="T52" fmla="*/ 31 w 103"/>
                  <a:gd name="T53" fmla="*/ 4 h 110"/>
                  <a:gd name="T54" fmla="*/ 53 w 103"/>
                  <a:gd name="T55" fmla="*/ 0 h 110"/>
                  <a:gd name="T56" fmla="*/ 80 w 103"/>
                  <a:gd name="T57" fmla="*/ 7 h 110"/>
                  <a:gd name="T58" fmla="*/ 97 w 103"/>
                  <a:gd name="T59" fmla="*/ 24 h 110"/>
                  <a:gd name="T60" fmla="*/ 103 w 103"/>
                  <a:gd name="T61" fmla="*/ 45 h 110"/>
                  <a:gd name="T62" fmla="*/ 97 w 103"/>
                  <a:gd name="T63" fmla="*/ 59 h 110"/>
                  <a:gd name="T64" fmla="*/ 80 w 103"/>
                  <a:gd name="T65" fmla="*/ 62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3" h="110">
                    <a:moveTo>
                      <a:pt x="27" y="46"/>
                    </a:moveTo>
                    <a:lnTo>
                      <a:pt x="76" y="46"/>
                    </a:lnTo>
                    <a:cubicBezTo>
                      <a:pt x="76" y="37"/>
                      <a:pt x="73" y="30"/>
                      <a:pt x="69" y="26"/>
                    </a:cubicBezTo>
                    <a:cubicBezTo>
                      <a:pt x="65" y="21"/>
                      <a:pt x="59" y="19"/>
                      <a:pt x="52" y="19"/>
                    </a:cubicBezTo>
                    <a:cubicBezTo>
                      <a:pt x="45" y="19"/>
                      <a:pt x="40" y="21"/>
                      <a:pt x="35" y="26"/>
                    </a:cubicBezTo>
                    <a:cubicBezTo>
                      <a:pt x="31" y="30"/>
                      <a:pt x="28" y="37"/>
                      <a:pt x="27" y="46"/>
                    </a:cubicBezTo>
                    <a:moveTo>
                      <a:pt x="80" y="62"/>
                    </a:moveTo>
                    <a:lnTo>
                      <a:pt x="27" y="62"/>
                    </a:lnTo>
                    <a:cubicBezTo>
                      <a:pt x="27" y="68"/>
                      <a:pt x="29" y="73"/>
                      <a:pt x="31" y="78"/>
                    </a:cubicBezTo>
                    <a:cubicBezTo>
                      <a:pt x="34" y="83"/>
                      <a:pt x="37" y="86"/>
                      <a:pt x="41" y="88"/>
                    </a:cubicBezTo>
                    <a:cubicBezTo>
                      <a:pt x="45" y="91"/>
                      <a:pt x="49" y="92"/>
                      <a:pt x="54" y="92"/>
                    </a:cubicBezTo>
                    <a:cubicBezTo>
                      <a:pt x="57" y="92"/>
                      <a:pt x="60" y="92"/>
                      <a:pt x="63" y="91"/>
                    </a:cubicBezTo>
                    <a:cubicBezTo>
                      <a:pt x="65" y="90"/>
                      <a:pt x="68" y="89"/>
                      <a:pt x="71" y="87"/>
                    </a:cubicBezTo>
                    <a:cubicBezTo>
                      <a:pt x="73" y="86"/>
                      <a:pt x="75" y="84"/>
                      <a:pt x="77" y="82"/>
                    </a:cubicBezTo>
                    <a:cubicBezTo>
                      <a:pt x="80" y="80"/>
                      <a:pt x="82" y="78"/>
                      <a:pt x="86" y="75"/>
                    </a:cubicBezTo>
                    <a:cubicBezTo>
                      <a:pt x="87" y="73"/>
                      <a:pt x="89" y="73"/>
                      <a:pt x="92" y="73"/>
                    </a:cubicBezTo>
                    <a:cubicBezTo>
                      <a:pt x="94" y="73"/>
                      <a:pt x="97" y="74"/>
                      <a:pt x="98" y="75"/>
                    </a:cubicBezTo>
                    <a:cubicBezTo>
                      <a:pt x="100" y="77"/>
                      <a:pt x="101" y="79"/>
                      <a:pt x="101" y="82"/>
                    </a:cubicBezTo>
                    <a:cubicBezTo>
                      <a:pt x="101" y="84"/>
                      <a:pt x="100" y="87"/>
                      <a:pt x="98" y="90"/>
                    </a:cubicBezTo>
                    <a:cubicBezTo>
                      <a:pt x="96" y="93"/>
                      <a:pt x="93" y="96"/>
                      <a:pt x="89" y="99"/>
                    </a:cubicBezTo>
                    <a:cubicBezTo>
                      <a:pt x="86" y="102"/>
                      <a:pt x="81" y="105"/>
                      <a:pt x="75" y="107"/>
                    </a:cubicBezTo>
                    <a:cubicBezTo>
                      <a:pt x="69" y="109"/>
                      <a:pt x="62" y="110"/>
                      <a:pt x="55" y="110"/>
                    </a:cubicBezTo>
                    <a:cubicBezTo>
                      <a:pt x="37" y="110"/>
                      <a:pt x="24" y="105"/>
                      <a:pt x="14" y="95"/>
                    </a:cubicBezTo>
                    <a:cubicBezTo>
                      <a:pt x="5" y="85"/>
                      <a:pt x="0" y="72"/>
                      <a:pt x="0" y="55"/>
                    </a:cubicBezTo>
                    <a:cubicBezTo>
                      <a:pt x="0" y="47"/>
                      <a:pt x="1" y="39"/>
                      <a:pt x="3" y="33"/>
                    </a:cubicBezTo>
                    <a:cubicBezTo>
                      <a:pt x="6" y="26"/>
                      <a:pt x="9" y="20"/>
                      <a:pt x="14" y="15"/>
                    </a:cubicBezTo>
                    <a:cubicBezTo>
                      <a:pt x="18" y="10"/>
                      <a:pt x="24" y="6"/>
                      <a:pt x="31" y="4"/>
                    </a:cubicBezTo>
                    <a:cubicBezTo>
                      <a:pt x="37" y="1"/>
                      <a:pt x="45" y="0"/>
                      <a:pt x="53" y="0"/>
                    </a:cubicBezTo>
                    <a:cubicBezTo>
                      <a:pt x="63" y="0"/>
                      <a:pt x="72" y="2"/>
                      <a:pt x="80" y="7"/>
                    </a:cubicBezTo>
                    <a:cubicBezTo>
                      <a:pt x="87" y="11"/>
                      <a:pt x="93" y="17"/>
                      <a:pt x="97" y="24"/>
                    </a:cubicBezTo>
                    <a:cubicBezTo>
                      <a:pt x="101" y="31"/>
                      <a:pt x="103" y="38"/>
                      <a:pt x="103" y="45"/>
                    </a:cubicBezTo>
                    <a:cubicBezTo>
                      <a:pt x="103" y="52"/>
                      <a:pt x="101" y="57"/>
                      <a:pt x="97" y="59"/>
                    </a:cubicBezTo>
                    <a:cubicBezTo>
                      <a:pt x="93" y="61"/>
                      <a:pt x="87" y="62"/>
                      <a:pt x="80" y="6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197"/>
              <p:cNvSpPr>
                <a:spLocks noEditPoints="1"/>
              </p:cNvSpPr>
              <p:nvPr/>
            </p:nvSpPr>
            <p:spPr bwMode="auto">
              <a:xfrm>
                <a:off x="4034" y="3979"/>
                <a:ext cx="49" cy="53"/>
              </a:xfrm>
              <a:custGeom>
                <a:avLst/>
                <a:gdLst>
                  <a:gd name="T0" fmla="*/ 28 w 103"/>
                  <a:gd name="T1" fmla="*/ 46 h 110"/>
                  <a:gd name="T2" fmla="*/ 77 w 103"/>
                  <a:gd name="T3" fmla="*/ 46 h 110"/>
                  <a:gd name="T4" fmla="*/ 69 w 103"/>
                  <a:gd name="T5" fmla="*/ 26 h 110"/>
                  <a:gd name="T6" fmla="*/ 52 w 103"/>
                  <a:gd name="T7" fmla="*/ 19 h 110"/>
                  <a:gd name="T8" fmla="*/ 36 w 103"/>
                  <a:gd name="T9" fmla="*/ 26 h 110"/>
                  <a:gd name="T10" fmla="*/ 28 w 103"/>
                  <a:gd name="T11" fmla="*/ 46 h 110"/>
                  <a:gd name="T12" fmla="*/ 81 w 103"/>
                  <a:gd name="T13" fmla="*/ 62 h 110"/>
                  <a:gd name="T14" fmla="*/ 28 w 103"/>
                  <a:gd name="T15" fmla="*/ 62 h 110"/>
                  <a:gd name="T16" fmla="*/ 31 w 103"/>
                  <a:gd name="T17" fmla="*/ 78 h 110"/>
                  <a:gd name="T18" fmla="*/ 41 w 103"/>
                  <a:gd name="T19" fmla="*/ 88 h 110"/>
                  <a:gd name="T20" fmla="*/ 54 w 103"/>
                  <a:gd name="T21" fmla="*/ 92 h 110"/>
                  <a:gd name="T22" fmla="*/ 63 w 103"/>
                  <a:gd name="T23" fmla="*/ 91 h 110"/>
                  <a:gd name="T24" fmla="*/ 71 w 103"/>
                  <a:gd name="T25" fmla="*/ 87 h 110"/>
                  <a:gd name="T26" fmla="*/ 78 w 103"/>
                  <a:gd name="T27" fmla="*/ 82 h 110"/>
                  <a:gd name="T28" fmla="*/ 86 w 103"/>
                  <a:gd name="T29" fmla="*/ 75 h 110"/>
                  <a:gd name="T30" fmla="*/ 92 w 103"/>
                  <a:gd name="T31" fmla="*/ 73 h 110"/>
                  <a:gd name="T32" fmla="*/ 99 w 103"/>
                  <a:gd name="T33" fmla="*/ 75 h 110"/>
                  <a:gd name="T34" fmla="*/ 101 w 103"/>
                  <a:gd name="T35" fmla="*/ 82 h 110"/>
                  <a:gd name="T36" fmla="*/ 98 w 103"/>
                  <a:gd name="T37" fmla="*/ 90 h 110"/>
                  <a:gd name="T38" fmla="*/ 90 w 103"/>
                  <a:gd name="T39" fmla="*/ 99 h 110"/>
                  <a:gd name="T40" fmla="*/ 75 w 103"/>
                  <a:gd name="T41" fmla="*/ 107 h 110"/>
                  <a:gd name="T42" fmla="*/ 55 w 103"/>
                  <a:gd name="T43" fmla="*/ 110 h 110"/>
                  <a:gd name="T44" fmla="*/ 15 w 103"/>
                  <a:gd name="T45" fmla="*/ 95 h 110"/>
                  <a:gd name="T46" fmla="*/ 0 w 103"/>
                  <a:gd name="T47" fmla="*/ 55 h 110"/>
                  <a:gd name="T48" fmla="*/ 4 w 103"/>
                  <a:gd name="T49" fmla="*/ 33 h 110"/>
                  <a:gd name="T50" fmla="*/ 14 w 103"/>
                  <a:gd name="T51" fmla="*/ 15 h 110"/>
                  <a:gd name="T52" fmla="*/ 31 w 103"/>
                  <a:gd name="T53" fmla="*/ 4 h 110"/>
                  <a:gd name="T54" fmla="*/ 53 w 103"/>
                  <a:gd name="T55" fmla="*/ 0 h 110"/>
                  <a:gd name="T56" fmla="*/ 80 w 103"/>
                  <a:gd name="T57" fmla="*/ 7 h 110"/>
                  <a:gd name="T58" fmla="*/ 97 w 103"/>
                  <a:gd name="T59" fmla="*/ 24 h 110"/>
                  <a:gd name="T60" fmla="*/ 103 w 103"/>
                  <a:gd name="T61" fmla="*/ 45 h 110"/>
                  <a:gd name="T62" fmla="*/ 97 w 103"/>
                  <a:gd name="T63" fmla="*/ 59 h 110"/>
                  <a:gd name="T64" fmla="*/ 81 w 103"/>
                  <a:gd name="T65" fmla="*/ 62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3" h="110">
                    <a:moveTo>
                      <a:pt x="28" y="46"/>
                    </a:moveTo>
                    <a:lnTo>
                      <a:pt x="77" y="46"/>
                    </a:lnTo>
                    <a:cubicBezTo>
                      <a:pt x="76" y="37"/>
                      <a:pt x="74" y="30"/>
                      <a:pt x="69" y="26"/>
                    </a:cubicBezTo>
                    <a:cubicBezTo>
                      <a:pt x="65" y="21"/>
                      <a:pt x="59" y="19"/>
                      <a:pt x="52" y="19"/>
                    </a:cubicBezTo>
                    <a:cubicBezTo>
                      <a:pt x="45" y="19"/>
                      <a:pt x="40" y="21"/>
                      <a:pt x="36" y="26"/>
                    </a:cubicBezTo>
                    <a:cubicBezTo>
                      <a:pt x="31" y="30"/>
                      <a:pt x="29" y="37"/>
                      <a:pt x="28" y="46"/>
                    </a:cubicBezTo>
                    <a:close/>
                    <a:moveTo>
                      <a:pt x="81" y="62"/>
                    </a:moveTo>
                    <a:lnTo>
                      <a:pt x="28" y="62"/>
                    </a:lnTo>
                    <a:cubicBezTo>
                      <a:pt x="28" y="68"/>
                      <a:pt x="29" y="73"/>
                      <a:pt x="31" y="78"/>
                    </a:cubicBezTo>
                    <a:cubicBezTo>
                      <a:pt x="34" y="83"/>
                      <a:pt x="37" y="86"/>
                      <a:pt x="41" y="88"/>
                    </a:cubicBezTo>
                    <a:cubicBezTo>
                      <a:pt x="45" y="91"/>
                      <a:pt x="49" y="92"/>
                      <a:pt x="54" y="92"/>
                    </a:cubicBezTo>
                    <a:cubicBezTo>
                      <a:pt x="58" y="92"/>
                      <a:pt x="60" y="92"/>
                      <a:pt x="63" y="91"/>
                    </a:cubicBezTo>
                    <a:cubicBezTo>
                      <a:pt x="66" y="90"/>
                      <a:pt x="68" y="89"/>
                      <a:pt x="71" y="87"/>
                    </a:cubicBezTo>
                    <a:cubicBezTo>
                      <a:pt x="73" y="86"/>
                      <a:pt x="76" y="84"/>
                      <a:pt x="78" y="82"/>
                    </a:cubicBezTo>
                    <a:cubicBezTo>
                      <a:pt x="80" y="80"/>
                      <a:pt x="83" y="78"/>
                      <a:pt x="86" y="75"/>
                    </a:cubicBezTo>
                    <a:cubicBezTo>
                      <a:pt x="87" y="73"/>
                      <a:pt x="89" y="73"/>
                      <a:pt x="92" y="73"/>
                    </a:cubicBezTo>
                    <a:cubicBezTo>
                      <a:pt x="95" y="73"/>
                      <a:pt x="97" y="74"/>
                      <a:pt x="99" y="75"/>
                    </a:cubicBezTo>
                    <a:cubicBezTo>
                      <a:pt x="100" y="77"/>
                      <a:pt x="101" y="79"/>
                      <a:pt x="101" y="82"/>
                    </a:cubicBezTo>
                    <a:cubicBezTo>
                      <a:pt x="101" y="84"/>
                      <a:pt x="100" y="87"/>
                      <a:pt x="98" y="90"/>
                    </a:cubicBezTo>
                    <a:cubicBezTo>
                      <a:pt x="97" y="93"/>
                      <a:pt x="94" y="96"/>
                      <a:pt x="90" y="99"/>
                    </a:cubicBezTo>
                    <a:cubicBezTo>
                      <a:pt x="86" y="102"/>
                      <a:pt x="81" y="105"/>
                      <a:pt x="75" y="107"/>
                    </a:cubicBezTo>
                    <a:cubicBezTo>
                      <a:pt x="69" y="109"/>
                      <a:pt x="63" y="110"/>
                      <a:pt x="55" y="110"/>
                    </a:cubicBezTo>
                    <a:cubicBezTo>
                      <a:pt x="38" y="110"/>
                      <a:pt x="24" y="105"/>
                      <a:pt x="15" y="95"/>
                    </a:cubicBezTo>
                    <a:cubicBezTo>
                      <a:pt x="5" y="85"/>
                      <a:pt x="0" y="72"/>
                      <a:pt x="0" y="55"/>
                    </a:cubicBezTo>
                    <a:cubicBezTo>
                      <a:pt x="0" y="47"/>
                      <a:pt x="1" y="39"/>
                      <a:pt x="4" y="33"/>
                    </a:cubicBezTo>
                    <a:cubicBezTo>
                      <a:pt x="6" y="26"/>
                      <a:pt x="10" y="20"/>
                      <a:pt x="14" y="15"/>
                    </a:cubicBezTo>
                    <a:cubicBezTo>
                      <a:pt x="19" y="10"/>
                      <a:pt x="24" y="6"/>
                      <a:pt x="31" y="4"/>
                    </a:cubicBezTo>
                    <a:cubicBezTo>
                      <a:pt x="38" y="1"/>
                      <a:pt x="45" y="0"/>
                      <a:pt x="53" y="0"/>
                    </a:cubicBezTo>
                    <a:cubicBezTo>
                      <a:pt x="64" y="0"/>
                      <a:pt x="73" y="2"/>
                      <a:pt x="80" y="7"/>
                    </a:cubicBezTo>
                    <a:cubicBezTo>
                      <a:pt x="88" y="11"/>
                      <a:pt x="93" y="17"/>
                      <a:pt x="97" y="24"/>
                    </a:cubicBezTo>
                    <a:cubicBezTo>
                      <a:pt x="101" y="31"/>
                      <a:pt x="103" y="38"/>
                      <a:pt x="103" y="45"/>
                    </a:cubicBezTo>
                    <a:cubicBezTo>
                      <a:pt x="103" y="52"/>
                      <a:pt x="101" y="57"/>
                      <a:pt x="97" y="59"/>
                    </a:cubicBezTo>
                    <a:cubicBezTo>
                      <a:pt x="93" y="61"/>
                      <a:pt x="88" y="62"/>
                      <a:pt x="81" y="6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198"/>
              <p:cNvSpPr>
                <a:spLocks noEditPoints="1"/>
              </p:cNvSpPr>
              <p:nvPr/>
            </p:nvSpPr>
            <p:spPr bwMode="auto">
              <a:xfrm>
                <a:off x="4089" y="3979"/>
                <a:ext cx="51" cy="72"/>
              </a:xfrm>
              <a:custGeom>
                <a:avLst/>
                <a:gdLst>
                  <a:gd name="T0" fmla="*/ 79 w 106"/>
                  <a:gd name="T1" fmla="*/ 54 h 150"/>
                  <a:gd name="T2" fmla="*/ 75 w 106"/>
                  <a:gd name="T3" fmla="*/ 36 h 150"/>
                  <a:gd name="T4" fmla="*/ 66 w 106"/>
                  <a:gd name="T5" fmla="*/ 24 h 150"/>
                  <a:gd name="T6" fmla="*/ 54 w 106"/>
                  <a:gd name="T7" fmla="*/ 20 h 150"/>
                  <a:gd name="T8" fmla="*/ 35 w 106"/>
                  <a:gd name="T9" fmla="*/ 29 h 150"/>
                  <a:gd name="T10" fmla="*/ 27 w 106"/>
                  <a:gd name="T11" fmla="*/ 55 h 150"/>
                  <a:gd name="T12" fmla="*/ 35 w 106"/>
                  <a:gd name="T13" fmla="*/ 80 h 150"/>
                  <a:gd name="T14" fmla="*/ 54 w 106"/>
                  <a:gd name="T15" fmla="*/ 89 h 150"/>
                  <a:gd name="T16" fmla="*/ 66 w 106"/>
                  <a:gd name="T17" fmla="*/ 85 h 150"/>
                  <a:gd name="T18" fmla="*/ 75 w 106"/>
                  <a:gd name="T19" fmla="*/ 73 h 150"/>
                  <a:gd name="T20" fmla="*/ 79 w 106"/>
                  <a:gd name="T21" fmla="*/ 54 h 150"/>
                  <a:gd name="T22" fmla="*/ 26 w 106"/>
                  <a:gd name="T23" fmla="*/ 15 h 150"/>
                  <a:gd name="T24" fmla="*/ 26 w 106"/>
                  <a:gd name="T25" fmla="*/ 18 h 150"/>
                  <a:gd name="T26" fmla="*/ 42 w 106"/>
                  <a:gd name="T27" fmla="*/ 5 h 150"/>
                  <a:gd name="T28" fmla="*/ 60 w 106"/>
                  <a:gd name="T29" fmla="*/ 0 h 150"/>
                  <a:gd name="T30" fmla="*/ 83 w 106"/>
                  <a:gd name="T31" fmla="*/ 7 h 150"/>
                  <a:gd name="T32" fmla="*/ 100 w 106"/>
                  <a:gd name="T33" fmla="*/ 25 h 150"/>
                  <a:gd name="T34" fmla="*/ 106 w 106"/>
                  <a:gd name="T35" fmla="*/ 55 h 150"/>
                  <a:gd name="T36" fmla="*/ 102 w 106"/>
                  <a:gd name="T37" fmla="*/ 78 h 150"/>
                  <a:gd name="T38" fmla="*/ 93 w 106"/>
                  <a:gd name="T39" fmla="*/ 95 h 150"/>
                  <a:gd name="T40" fmla="*/ 78 w 106"/>
                  <a:gd name="T41" fmla="*/ 106 h 150"/>
                  <a:gd name="T42" fmla="*/ 60 w 106"/>
                  <a:gd name="T43" fmla="*/ 110 h 150"/>
                  <a:gd name="T44" fmla="*/ 41 w 106"/>
                  <a:gd name="T45" fmla="*/ 105 h 150"/>
                  <a:gd name="T46" fmla="*/ 26 w 106"/>
                  <a:gd name="T47" fmla="*/ 92 h 150"/>
                  <a:gd name="T48" fmla="*/ 26 w 106"/>
                  <a:gd name="T49" fmla="*/ 132 h 150"/>
                  <a:gd name="T50" fmla="*/ 13 w 106"/>
                  <a:gd name="T51" fmla="*/ 150 h 150"/>
                  <a:gd name="T52" fmla="*/ 3 w 106"/>
                  <a:gd name="T53" fmla="*/ 145 h 150"/>
                  <a:gd name="T54" fmla="*/ 0 w 106"/>
                  <a:gd name="T55" fmla="*/ 132 h 150"/>
                  <a:gd name="T56" fmla="*/ 0 w 106"/>
                  <a:gd name="T57" fmla="*/ 15 h 150"/>
                  <a:gd name="T58" fmla="*/ 4 w 106"/>
                  <a:gd name="T59" fmla="*/ 4 h 150"/>
                  <a:gd name="T60" fmla="*/ 13 w 106"/>
                  <a:gd name="T61" fmla="*/ 0 h 150"/>
                  <a:gd name="T62" fmla="*/ 22 w 106"/>
                  <a:gd name="T63" fmla="*/ 4 h 150"/>
                  <a:gd name="T64" fmla="*/ 26 w 106"/>
                  <a:gd name="T65" fmla="*/ 15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6" h="150">
                    <a:moveTo>
                      <a:pt x="79" y="54"/>
                    </a:moveTo>
                    <a:cubicBezTo>
                      <a:pt x="79" y="47"/>
                      <a:pt x="78" y="41"/>
                      <a:pt x="75" y="36"/>
                    </a:cubicBezTo>
                    <a:cubicBezTo>
                      <a:pt x="73" y="31"/>
                      <a:pt x="70" y="27"/>
                      <a:pt x="66" y="24"/>
                    </a:cubicBezTo>
                    <a:cubicBezTo>
                      <a:pt x="63" y="22"/>
                      <a:pt x="58" y="20"/>
                      <a:pt x="54" y="20"/>
                    </a:cubicBezTo>
                    <a:cubicBezTo>
                      <a:pt x="46" y="20"/>
                      <a:pt x="40" y="23"/>
                      <a:pt x="35" y="29"/>
                    </a:cubicBezTo>
                    <a:cubicBezTo>
                      <a:pt x="30" y="35"/>
                      <a:pt x="27" y="44"/>
                      <a:pt x="27" y="55"/>
                    </a:cubicBezTo>
                    <a:cubicBezTo>
                      <a:pt x="27" y="66"/>
                      <a:pt x="30" y="74"/>
                      <a:pt x="35" y="80"/>
                    </a:cubicBezTo>
                    <a:cubicBezTo>
                      <a:pt x="40" y="86"/>
                      <a:pt x="46" y="89"/>
                      <a:pt x="54" y="89"/>
                    </a:cubicBezTo>
                    <a:cubicBezTo>
                      <a:pt x="58" y="89"/>
                      <a:pt x="62" y="88"/>
                      <a:pt x="66" y="85"/>
                    </a:cubicBezTo>
                    <a:cubicBezTo>
                      <a:pt x="70" y="83"/>
                      <a:pt x="73" y="79"/>
                      <a:pt x="75" y="73"/>
                    </a:cubicBezTo>
                    <a:cubicBezTo>
                      <a:pt x="78" y="68"/>
                      <a:pt x="79" y="62"/>
                      <a:pt x="79" y="54"/>
                    </a:cubicBezTo>
                    <a:moveTo>
                      <a:pt x="26" y="15"/>
                    </a:moveTo>
                    <a:lnTo>
                      <a:pt x="26" y="18"/>
                    </a:lnTo>
                    <a:cubicBezTo>
                      <a:pt x="31" y="12"/>
                      <a:pt x="36" y="8"/>
                      <a:pt x="42" y="5"/>
                    </a:cubicBezTo>
                    <a:cubicBezTo>
                      <a:pt x="47" y="2"/>
                      <a:pt x="53" y="0"/>
                      <a:pt x="60" y="0"/>
                    </a:cubicBezTo>
                    <a:cubicBezTo>
                      <a:pt x="69" y="0"/>
                      <a:pt x="76" y="2"/>
                      <a:pt x="83" y="7"/>
                    </a:cubicBezTo>
                    <a:cubicBezTo>
                      <a:pt x="90" y="11"/>
                      <a:pt x="96" y="17"/>
                      <a:pt x="100" y="25"/>
                    </a:cubicBezTo>
                    <a:cubicBezTo>
                      <a:pt x="104" y="34"/>
                      <a:pt x="106" y="43"/>
                      <a:pt x="106" y="55"/>
                    </a:cubicBezTo>
                    <a:cubicBezTo>
                      <a:pt x="106" y="63"/>
                      <a:pt x="105" y="71"/>
                      <a:pt x="102" y="78"/>
                    </a:cubicBezTo>
                    <a:cubicBezTo>
                      <a:pt x="100" y="85"/>
                      <a:pt x="97" y="90"/>
                      <a:pt x="93" y="95"/>
                    </a:cubicBezTo>
                    <a:cubicBezTo>
                      <a:pt x="89" y="100"/>
                      <a:pt x="84" y="104"/>
                      <a:pt x="78" y="106"/>
                    </a:cubicBezTo>
                    <a:cubicBezTo>
                      <a:pt x="73" y="109"/>
                      <a:pt x="67" y="110"/>
                      <a:pt x="60" y="110"/>
                    </a:cubicBezTo>
                    <a:cubicBezTo>
                      <a:pt x="53" y="110"/>
                      <a:pt x="46" y="108"/>
                      <a:pt x="41" y="105"/>
                    </a:cubicBezTo>
                    <a:cubicBezTo>
                      <a:pt x="36" y="102"/>
                      <a:pt x="31" y="98"/>
                      <a:pt x="26" y="92"/>
                    </a:cubicBezTo>
                    <a:lnTo>
                      <a:pt x="26" y="132"/>
                    </a:lnTo>
                    <a:cubicBezTo>
                      <a:pt x="26" y="144"/>
                      <a:pt x="21" y="150"/>
                      <a:pt x="13" y="150"/>
                    </a:cubicBezTo>
                    <a:cubicBezTo>
                      <a:pt x="8" y="150"/>
                      <a:pt x="4" y="148"/>
                      <a:pt x="3" y="145"/>
                    </a:cubicBezTo>
                    <a:cubicBezTo>
                      <a:pt x="1" y="142"/>
                      <a:pt x="0" y="138"/>
                      <a:pt x="0" y="132"/>
                    </a:cubicBezTo>
                    <a:lnTo>
                      <a:pt x="0" y="15"/>
                    </a:lnTo>
                    <a:cubicBezTo>
                      <a:pt x="0" y="10"/>
                      <a:pt x="1" y="6"/>
                      <a:pt x="4" y="4"/>
                    </a:cubicBezTo>
                    <a:cubicBezTo>
                      <a:pt x="6" y="1"/>
                      <a:pt x="9" y="0"/>
                      <a:pt x="13" y="0"/>
                    </a:cubicBezTo>
                    <a:cubicBezTo>
                      <a:pt x="17" y="0"/>
                      <a:pt x="20" y="1"/>
                      <a:pt x="22" y="4"/>
                    </a:cubicBezTo>
                    <a:cubicBezTo>
                      <a:pt x="25" y="7"/>
                      <a:pt x="26" y="10"/>
                      <a:pt x="26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199"/>
              <p:cNvSpPr>
                <a:spLocks noEditPoints="1"/>
              </p:cNvSpPr>
              <p:nvPr/>
            </p:nvSpPr>
            <p:spPr bwMode="auto">
              <a:xfrm>
                <a:off x="4146" y="3961"/>
                <a:ext cx="13" cy="71"/>
              </a:xfrm>
              <a:custGeom>
                <a:avLst/>
                <a:gdLst>
                  <a:gd name="T0" fmla="*/ 27 w 27"/>
                  <a:gd name="T1" fmla="*/ 54 h 149"/>
                  <a:gd name="T2" fmla="*/ 27 w 27"/>
                  <a:gd name="T3" fmla="*/ 133 h 149"/>
                  <a:gd name="T4" fmla="*/ 24 w 27"/>
                  <a:gd name="T5" fmla="*/ 145 h 149"/>
                  <a:gd name="T6" fmla="*/ 14 w 27"/>
                  <a:gd name="T7" fmla="*/ 149 h 149"/>
                  <a:gd name="T8" fmla="*/ 4 w 27"/>
                  <a:gd name="T9" fmla="*/ 145 h 149"/>
                  <a:gd name="T10" fmla="*/ 0 w 27"/>
                  <a:gd name="T11" fmla="*/ 133 h 149"/>
                  <a:gd name="T12" fmla="*/ 0 w 27"/>
                  <a:gd name="T13" fmla="*/ 55 h 149"/>
                  <a:gd name="T14" fmla="*/ 4 w 27"/>
                  <a:gd name="T15" fmla="*/ 43 h 149"/>
                  <a:gd name="T16" fmla="*/ 14 w 27"/>
                  <a:gd name="T17" fmla="*/ 39 h 149"/>
                  <a:gd name="T18" fmla="*/ 24 w 27"/>
                  <a:gd name="T19" fmla="*/ 43 h 149"/>
                  <a:gd name="T20" fmla="*/ 27 w 27"/>
                  <a:gd name="T21" fmla="*/ 54 h 149"/>
                  <a:gd name="T22" fmla="*/ 14 w 27"/>
                  <a:gd name="T23" fmla="*/ 26 h 149"/>
                  <a:gd name="T24" fmla="*/ 4 w 27"/>
                  <a:gd name="T25" fmla="*/ 23 h 149"/>
                  <a:gd name="T26" fmla="*/ 0 w 27"/>
                  <a:gd name="T27" fmla="*/ 13 h 149"/>
                  <a:gd name="T28" fmla="*/ 5 w 27"/>
                  <a:gd name="T29" fmla="*/ 4 h 149"/>
                  <a:gd name="T30" fmla="*/ 14 w 27"/>
                  <a:gd name="T31" fmla="*/ 0 h 149"/>
                  <a:gd name="T32" fmla="*/ 23 w 27"/>
                  <a:gd name="T33" fmla="*/ 3 h 149"/>
                  <a:gd name="T34" fmla="*/ 27 w 27"/>
                  <a:gd name="T35" fmla="*/ 13 h 149"/>
                  <a:gd name="T36" fmla="*/ 24 w 27"/>
                  <a:gd name="T37" fmla="*/ 23 h 149"/>
                  <a:gd name="T38" fmla="*/ 14 w 27"/>
                  <a:gd name="T39" fmla="*/ 26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" h="149">
                    <a:moveTo>
                      <a:pt x="27" y="54"/>
                    </a:moveTo>
                    <a:lnTo>
                      <a:pt x="27" y="133"/>
                    </a:lnTo>
                    <a:cubicBezTo>
                      <a:pt x="27" y="138"/>
                      <a:pt x="26" y="142"/>
                      <a:pt x="24" y="145"/>
                    </a:cubicBezTo>
                    <a:cubicBezTo>
                      <a:pt x="21" y="148"/>
                      <a:pt x="18" y="149"/>
                      <a:pt x="14" y="149"/>
                    </a:cubicBezTo>
                    <a:cubicBezTo>
                      <a:pt x="10" y="149"/>
                      <a:pt x="7" y="147"/>
                      <a:pt x="4" y="145"/>
                    </a:cubicBezTo>
                    <a:cubicBezTo>
                      <a:pt x="2" y="142"/>
                      <a:pt x="0" y="138"/>
                      <a:pt x="0" y="133"/>
                    </a:cubicBezTo>
                    <a:lnTo>
                      <a:pt x="0" y="55"/>
                    </a:lnTo>
                    <a:cubicBezTo>
                      <a:pt x="0" y="50"/>
                      <a:pt x="2" y="46"/>
                      <a:pt x="4" y="43"/>
                    </a:cubicBezTo>
                    <a:cubicBezTo>
                      <a:pt x="7" y="40"/>
                      <a:pt x="10" y="39"/>
                      <a:pt x="14" y="39"/>
                    </a:cubicBezTo>
                    <a:cubicBezTo>
                      <a:pt x="18" y="39"/>
                      <a:pt x="21" y="40"/>
                      <a:pt x="24" y="43"/>
                    </a:cubicBezTo>
                    <a:cubicBezTo>
                      <a:pt x="26" y="46"/>
                      <a:pt x="27" y="50"/>
                      <a:pt x="27" y="54"/>
                    </a:cubicBezTo>
                    <a:close/>
                    <a:moveTo>
                      <a:pt x="14" y="26"/>
                    </a:moveTo>
                    <a:cubicBezTo>
                      <a:pt x="10" y="26"/>
                      <a:pt x="7" y="25"/>
                      <a:pt x="4" y="23"/>
                    </a:cubicBezTo>
                    <a:cubicBezTo>
                      <a:pt x="2" y="21"/>
                      <a:pt x="0" y="17"/>
                      <a:pt x="0" y="13"/>
                    </a:cubicBezTo>
                    <a:cubicBezTo>
                      <a:pt x="0" y="9"/>
                      <a:pt x="2" y="6"/>
                      <a:pt x="5" y="4"/>
                    </a:cubicBezTo>
                    <a:cubicBezTo>
                      <a:pt x="7" y="1"/>
                      <a:pt x="10" y="0"/>
                      <a:pt x="14" y="0"/>
                    </a:cubicBezTo>
                    <a:cubicBezTo>
                      <a:pt x="18" y="0"/>
                      <a:pt x="21" y="1"/>
                      <a:pt x="23" y="3"/>
                    </a:cubicBezTo>
                    <a:cubicBezTo>
                      <a:pt x="26" y="6"/>
                      <a:pt x="27" y="9"/>
                      <a:pt x="27" y="13"/>
                    </a:cubicBezTo>
                    <a:cubicBezTo>
                      <a:pt x="27" y="17"/>
                      <a:pt x="26" y="21"/>
                      <a:pt x="24" y="23"/>
                    </a:cubicBezTo>
                    <a:cubicBezTo>
                      <a:pt x="21" y="25"/>
                      <a:pt x="18" y="26"/>
                      <a:pt x="14" y="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200"/>
              <p:cNvSpPr>
                <a:spLocks/>
              </p:cNvSpPr>
              <p:nvPr/>
            </p:nvSpPr>
            <p:spPr bwMode="auto">
              <a:xfrm>
                <a:off x="4169" y="3960"/>
                <a:ext cx="45" cy="72"/>
              </a:xfrm>
              <a:custGeom>
                <a:avLst/>
                <a:gdLst>
                  <a:gd name="T0" fmla="*/ 66 w 93"/>
                  <a:gd name="T1" fmla="*/ 138 h 150"/>
                  <a:gd name="T2" fmla="*/ 42 w 93"/>
                  <a:gd name="T3" fmla="*/ 98 h 150"/>
                  <a:gd name="T4" fmla="*/ 27 w 93"/>
                  <a:gd name="T5" fmla="*/ 112 h 150"/>
                  <a:gd name="T6" fmla="*/ 27 w 93"/>
                  <a:gd name="T7" fmla="*/ 134 h 150"/>
                  <a:gd name="T8" fmla="*/ 23 w 93"/>
                  <a:gd name="T9" fmla="*/ 146 h 150"/>
                  <a:gd name="T10" fmla="*/ 13 w 93"/>
                  <a:gd name="T11" fmla="*/ 150 h 150"/>
                  <a:gd name="T12" fmla="*/ 4 w 93"/>
                  <a:gd name="T13" fmla="*/ 146 h 150"/>
                  <a:gd name="T14" fmla="*/ 0 w 93"/>
                  <a:gd name="T15" fmla="*/ 133 h 150"/>
                  <a:gd name="T16" fmla="*/ 0 w 93"/>
                  <a:gd name="T17" fmla="*/ 18 h 150"/>
                  <a:gd name="T18" fmla="*/ 4 w 93"/>
                  <a:gd name="T19" fmla="*/ 5 h 150"/>
                  <a:gd name="T20" fmla="*/ 13 w 93"/>
                  <a:gd name="T21" fmla="*/ 0 h 150"/>
                  <a:gd name="T22" fmla="*/ 23 w 93"/>
                  <a:gd name="T23" fmla="*/ 4 h 150"/>
                  <a:gd name="T24" fmla="*/ 27 w 93"/>
                  <a:gd name="T25" fmla="*/ 17 h 150"/>
                  <a:gd name="T26" fmla="*/ 27 w 93"/>
                  <a:gd name="T27" fmla="*/ 82 h 150"/>
                  <a:gd name="T28" fmla="*/ 57 w 93"/>
                  <a:gd name="T29" fmla="*/ 50 h 150"/>
                  <a:gd name="T30" fmla="*/ 66 w 93"/>
                  <a:gd name="T31" fmla="*/ 42 h 150"/>
                  <a:gd name="T32" fmla="*/ 73 w 93"/>
                  <a:gd name="T33" fmla="*/ 40 h 150"/>
                  <a:gd name="T34" fmla="*/ 82 w 93"/>
                  <a:gd name="T35" fmla="*/ 43 h 150"/>
                  <a:gd name="T36" fmla="*/ 85 w 93"/>
                  <a:gd name="T37" fmla="*/ 51 h 150"/>
                  <a:gd name="T38" fmla="*/ 74 w 93"/>
                  <a:gd name="T39" fmla="*/ 67 h 150"/>
                  <a:gd name="T40" fmla="*/ 60 w 93"/>
                  <a:gd name="T41" fmla="*/ 80 h 150"/>
                  <a:gd name="T42" fmla="*/ 87 w 93"/>
                  <a:gd name="T43" fmla="*/ 124 h 150"/>
                  <a:gd name="T44" fmla="*/ 92 w 93"/>
                  <a:gd name="T45" fmla="*/ 131 h 150"/>
                  <a:gd name="T46" fmla="*/ 93 w 93"/>
                  <a:gd name="T47" fmla="*/ 136 h 150"/>
                  <a:gd name="T48" fmla="*/ 90 w 93"/>
                  <a:gd name="T49" fmla="*/ 146 h 150"/>
                  <a:gd name="T50" fmla="*/ 80 w 93"/>
                  <a:gd name="T51" fmla="*/ 150 h 150"/>
                  <a:gd name="T52" fmla="*/ 73 w 93"/>
                  <a:gd name="T53" fmla="*/ 147 h 150"/>
                  <a:gd name="T54" fmla="*/ 66 w 93"/>
                  <a:gd name="T55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3" h="150">
                    <a:moveTo>
                      <a:pt x="66" y="138"/>
                    </a:moveTo>
                    <a:lnTo>
                      <a:pt x="42" y="98"/>
                    </a:lnTo>
                    <a:lnTo>
                      <a:pt x="27" y="112"/>
                    </a:lnTo>
                    <a:lnTo>
                      <a:pt x="27" y="134"/>
                    </a:lnTo>
                    <a:cubicBezTo>
                      <a:pt x="27" y="139"/>
                      <a:pt x="26" y="143"/>
                      <a:pt x="23" y="146"/>
                    </a:cubicBezTo>
                    <a:cubicBezTo>
                      <a:pt x="20" y="148"/>
                      <a:pt x="17" y="150"/>
                      <a:pt x="13" y="150"/>
                    </a:cubicBezTo>
                    <a:cubicBezTo>
                      <a:pt x="9" y="150"/>
                      <a:pt x="6" y="149"/>
                      <a:pt x="4" y="146"/>
                    </a:cubicBezTo>
                    <a:cubicBezTo>
                      <a:pt x="1" y="143"/>
                      <a:pt x="0" y="139"/>
                      <a:pt x="0" y="133"/>
                    </a:cubicBezTo>
                    <a:lnTo>
                      <a:pt x="0" y="18"/>
                    </a:lnTo>
                    <a:cubicBezTo>
                      <a:pt x="0" y="12"/>
                      <a:pt x="1" y="8"/>
                      <a:pt x="4" y="5"/>
                    </a:cubicBezTo>
                    <a:cubicBezTo>
                      <a:pt x="6" y="1"/>
                      <a:pt x="9" y="0"/>
                      <a:pt x="13" y="0"/>
                    </a:cubicBezTo>
                    <a:cubicBezTo>
                      <a:pt x="18" y="0"/>
                      <a:pt x="21" y="1"/>
                      <a:pt x="23" y="4"/>
                    </a:cubicBezTo>
                    <a:cubicBezTo>
                      <a:pt x="26" y="7"/>
                      <a:pt x="27" y="11"/>
                      <a:pt x="27" y="17"/>
                    </a:cubicBezTo>
                    <a:lnTo>
                      <a:pt x="27" y="82"/>
                    </a:lnTo>
                    <a:lnTo>
                      <a:pt x="57" y="50"/>
                    </a:lnTo>
                    <a:cubicBezTo>
                      <a:pt x="61" y="46"/>
                      <a:pt x="64" y="44"/>
                      <a:pt x="66" y="42"/>
                    </a:cubicBezTo>
                    <a:cubicBezTo>
                      <a:pt x="68" y="41"/>
                      <a:pt x="70" y="40"/>
                      <a:pt x="73" y="40"/>
                    </a:cubicBezTo>
                    <a:cubicBezTo>
                      <a:pt x="77" y="40"/>
                      <a:pt x="79" y="41"/>
                      <a:pt x="82" y="43"/>
                    </a:cubicBezTo>
                    <a:cubicBezTo>
                      <a:pt x="84" y="45"/>
                      <a:pt x="85" y="48"/>
                      <a:pt x="85" y="51"/>
                    </a:cubicBezTo>
                    <a:cubicBezTo>
                      <a:pt x="85" y="55"/>
                      <a:pt x="81" y="61"/>
                      <a:pt x="74" y="67"/>
                    </a:cubicBezTo>
                    <a:lnTo>
                      <a:pt x="60" y="80"/>
                    </a:lnTo>
                    <a:lnTo>
                      <a:pt x="87" y="124"/>
                    </a:lnTo>
                    <a:cubicBezTo>
                      <a:pt x="89" y="127"/>
                      <a:pt x="91" y="130"/>
                      <a:pt x="92" y="131"/>
                    </a:cubicBezTo>
                    <a:cubicBezTo>
                      <a:pt x="93" y="133"/>
                      <a:pt x="93" y="135"/>
                      <a:pt x="93" y="136"/>
                    </a:cubicBezTo>
                    <a:cubicBezTo>
                      <a:pt x="93" y="140"/>
                      <a:pt x="92" y="144"/>
                      <a:pt x="90" y="146"/>
                    </a:cubicBezTo>
                    <a:cubicBezTo>
                      <a:pt x="87" y="149"/>
                      <a:pt x="84" y="150"/>
                      <a:pt x="80" y="150"/>
                    </a:cubicBezTo>
                    <a:cubicBezTo>
                      <a:pt x="77" y="150"/>
                      <a:pt x="75" y="149"/>
                      <a:pt x="73" y="147"/>
                    </a:cubicBezTo>
                    <a:cubicBezTo>
                      <a:pt x="71" y="145"/>
                      <a:pt x="69" y="142"/>
                      <a:pt x="66" y="1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201"/>
              <p:cNvSpPr>
                <a:spLocks/>
              </p:cNvSpPr>
              <p:nvPr/>
            </p:nvSpPr>
            <p:spPr bwMode="auto">
              <a:xfrm>
                <a:off x="4222" y="4018"/>
                <a:ext cx="14" cy="14"/>
              </a:xfrm>
              <a:custGeom>
                <a:avLst/>
                <a:gdLst>
                  <a:gd name="T0" fmla="*/ 15 w 30"/>
                  <a:gd name="T1" fmla="*/ 30 h 30"/>
                  <a:gd name="T2" fmla="*/ 5 w 30"/>
                  <a:gd name="T3" fmla="*/ 26 h 30"/>
                  <a:gd name="T4" fmla="*/ 0 w 30"/>
                  <a:gd name="T5" fmla="*/ 15 h 30"/>
                  <a:gd name="T6" fmla="*/ 4 w 30"/>
                  <a:gd name="T7" fmla="*/ 4 h 30"/>
                  <a:gd name="T8" fmla="*/ 15 w 30"/>
                  <a:gd name="T9" fmla="*/ 0 h 30"/>
                  <a:gd name="T10" fmla="*/ 26 w 30"/>
                  <a:gd name="T11" fmla="*/ 4 h 30"/>
                  <a:gd name="T12" fmla="*/ 30 w 30"/>
                  <a:gd name="T13" fmla="*/ 15 h 30"/>
                  <a:gd name="T14" fmla="*/ 26 w 30"/>
                  <a:gd name="T15" fmla="*/ 26 h 30"/>
                  <a:gd name="T16" fmla="*/ 15 w 30"/>
                  <a:gd name="T1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" h="30">
                    <a:moveTo>
                      <a:pt x="15" y="30"/>
                    </a:moveTo>
                    <a:cubicBezTo>
                      <a:pt x="11" y="30"/>
                      <a:pt x="8" y="29"/>
                      <a:pt x="5" y="26"/>
                    </a:cubicBezTo>
                    <a:cubicBezTo>
                      <a:pt x="2" y="23"/>
                      <a:pt x="0" y="20"/>
                      <a:pt x="0" y="15"/>
                    </a:cubicBezTo>
                    <a:cubicBezTo>
                      <a:pt x="0" y="11"/>
                      <a:pt x="2" y="7"/>
                      <a:pt x="4" y="4"/>
                    </a:cubicBezTo>
                    <a:cubicBezTo>
                      <a:pt x="7" y="2"/>
                      <a:pt x="11" y="0"/>
                      <a:pt x="15" y="0"/>
                    </a:cubicBezTo>
                    <a:cubicBezTo>
                      <a:pt x="19" y="0"/>
                      <a:pt x="23" y="2"/>
                      <a:pt x="26" y="4"/>
                    </a:cubicBezTo>
                    <a:cubicBezTo>
                      <a:pt x="29" y="7"/>
                      <a:pt x="30" y="11"/>
                      <a:pt x="30" y="15"/>
                    </a:cubicBezTo>
                    <a:cubicBezTo>
                      <a:pt x="30" y="20"/>
                      <a:pt x="29" y="23"/>
                      <a:pt x="26" y="26"/>
                    </a:cubicBezTo>
                    <a:cubicBezTo>
                      <a:pt x="23" y="29"/>
                      <a:pt x="19" y="30"/>
                      <a:pt x="15" y="3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202"/>
              <p:cNvSpPr>
                <a:spLocks/>
              </p:cNvSpPr>
              <p:nvPr/>
            </p:nvSpPr>
            <p:spPr bwMode="auto">
              <a:xfrm>
                <a:off x="4244" y="3979"/>
                <a:ext cx="50" cy="53"/>
              </a:xfrm>
              <a:custGeom>
                <a:avLst/>
                <a:gdLst>
                  <a:gd name="T0" fmla="*/ 103 w 103"/>
                  <a:gd name="T1" fmla="*/ 76 h 110"/>
                  <a:gd name="T2" fmla="*/ 100 w 103"/>
                  <a:gd name="T3" fmla="*/ 87 h 110"/>
                  <a:gd name="T4" fmla="*/ 90 w 103"/>
                  <a:gd name="T5" fmla="*/ 98 h 110"/>
                  <a:gd name="T6" fmla="*/ 75 w 103"/>
                  <a:gd name="T7" fmla="*/ 107 h 110"/>
                  <a:gd name="T8" fmla="*/ 54 w 103"/>
                  <a:gd name="T9" fmla="*/ 110 h 110"/>
                  <a:gd name="T10" fmla="*/ 14 w 103"/>
                  <a:gd name="T11" fmla="*/ 95 h 110"/>
                  <a:gd name="T12" fmla="*/ 0 w 103"/>
                  <a:gd name="T13" fmla="*/ 56 h 110"/>
                  <a:gd name="T14" fmla="*/ 7 w 103"/>
                  <a:gd name="T15" fmla="*/ 27 h 110"/>
                  <a:gd name="T16" fmla="*/ 25 w 103"/>
                  <a:gd name="T17" fmla="*/ 7 h 110"/>
                  <a:gd name="T18" fmla="*/ 55 w 103"/>
                  <a:gd name="T19" fmla="*/ 0 h 110"/>
                  <a:gd name="T20" fmla="*/ 74 w 103"/>
                  <a:gd name="T21" fmla="*/ 3 h 110"/>
                  <a:gd name="T22" fmla="*/ 89 w 103"/>
                  <a:gd name="T23" fmla="*/ 11 h 110"/>
                  <a:gd name="T24" fmla="*/ 98 w 103"/>
                  <a:gd name="T25" fmla="*/ 21 h 110"/>
                  <a:gd name="T26" fmla="*/ 101 w 103"/>
                  <a:gd name="T27" fmla="*/ 31 h 110"/>
                  <a:gd name="T28" fmla="*/ 98 w 103"/>
                  <a:gd name="T29" fmla="*/ 40 h 110"/>
                  <a:gd name="T30" fmla="*/ 89 w 103"/>
                  <a:gd name="T31" fmla="*/ 43 h 110"/>
                  <a:gd name="T32" fmla="*/ 83 w 103"/>
                  <a:gd name="T33" fmla="*/ 41 h 110"/>
                  <a:gd name="T34" fmla="*/ 78 w 103"/>
                  <a:gd name="T35" fmla="*/ 36 h 110"/>
                  <a:gd name="T36" fmla="*/ 68 w 103"/>
                  <a:gd name="T37" fmla="*/ 24 h 110"/>
                  <a:gd name="T38" fmla="*/ 54 w 103"/>
                  <a:gd name="T39" fmla="*/ 21 h 110"/>
                  <a:gd name="T40" fmla="*/ 35 w 103"/>
                  <a:gd name="T41" fmla="*/ 30 h 110"/>
                  <a:gd name="T42" fmla="*/ 28 w 103"/>
                  <a:gd name="T43" fmla="*/ 56 h 110"/>
                  <a:gd name="T44" fmla="*/ 29 w 103"/>
                  <a:gd name="T45" fmla="*/ 70 h 110"/>
                  <a:gd name="T46" fmla="*/ 35 w 103"/>
                  <a:gd name="T47" fmla="*/ 80 h 110"/>
                  <a:gd name="T48" fmla="*/ 43 w 103"/>
                  <a:gd name="T49" fmla="*/ 87 h 110"/>
                  <a:gd name="T50" fmla="*/ 55 w 103"/>
                  <a:gd name="T51" fmla="*/ 90 h 110"/>
                  <a:gd name="T52" fmla="*/ 68 w 103"/>
                  <a:gd name="T53" fmla="*/ 86 h 110"/>
                  <a:gd name="T54" fmla="*/ 79 w 103"/>
                  <a:gd name="T55" fmla="*/ 74 h 110"/>
                  <a:gd name="T56" fmla="*/ 84 w 103"/>
                  <a:gd name="T57" fmla="*/ 67 h 110"/>
                  <a:gd name="T58" fmla="*/ 91 w 103"/>
                  <a:gd name="T59" fmla="*/ 65 h 110"/>
                  <a:gd name="T60" fmla="*/ 99 w 103"/>
                  <a:gd name="T61" fmla="*/ 68 h 110"/>
                  <a:gd name="T62" fmla="*/ 103 w 103"/>
                  <a:gd name="T63" fmla="*/ 76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3" h="110">
                    <a:moveTo>
                      <a:pt x="103" y="76"/>
                    </a:moveTo>
                    <a:cubicBezTo>
                      <a:pt x="103" y="80"/>
                      <a:pt x="102" y="83"/>
                      <a:pt x="100" y="87"/>
                    </a:cubicBezTo>
                    <a:cubicBezTo>
                      <a:pt x="98" y="91"/>
                      <a:pt x="94" y="95"/>
                      <a:pt x="90" y="98"/>
                    </a:cubicBezTo>
                    <a:cubicBezTo>
                      <a:pt x="86" y="102"/>
                      <a:pt x="81" y="104"/>
                      <a:pt x="75" y="107"/>
                    </a:cubicBezTo>
                    <a:cubicBezTo>
                      <a:pt x="69" y="109"/>
                      <a:pt x="61" y="110"/>
                      <a:pt x="54" y="110"/>
                    </a:cubicBezTo>
                    <a:cubicBezTo>
                      <a:pt x="37" y="110"/>
                      <a:pt x="24" y="105"/>
                      <a:pt x="14" y="95"/>
                    </a:cubicBezTo>
                    <a:cubicBezTo>
                      <a:pt x="5" y="85"/>
                      <a:pt x="0" y="72"/>
                      <a:pt x="0" y="56"/>
                    </a:cubicBezTo>
                    <a:cubicBezTo>
                      <a:pt x="0" y="45"/>
                      <a:pt x="3" y="35"/>
                      <a:pt x="7" y="27"/>
                    </a:cubicBezTo>
                    <a:cubicBezTo>
                      <a:pt x="11" y="18"/>
                      <a:pt x="17" y="11"/>
                      <a:pt x="25" y="7"/>
                    </a:cubicBezTo>
                    <a:cubicBezTo>
                      <a:pt x="34" y="2"/>
                      <a:pt x="43" y="0"/>
                      <a:pt x="55" y="0"/>
                    </a:cubicBezTo>
                    <a:cubicBezTo>
                      <a:pt x="62" y="0"/>
                      <a:pt x="68" y="1"/>
                      <a:pt x="74" y="3"/>
                    </a:cubicBezTo>
                    <a:cubicBezTo>
                      <a:pt x="80" y="5"/>
                      <a:pt x="85" y="8"/>
                      <a:pt x="89" y="11"/>
                    </a:cubicBezTo>
                    <a:cubicBezTo>
                      <a:pt x="93" y="14"/>
                      <a:pt x="96" y="18"/>
                      <a:pt x="98" y="21"/>
                    </a:cubicBezTo>
                    <a:cubicBezTo>
                      <a:pt x="100" y="25"/>
                      <a:pt x="101" y="28"/>
                      <a:pt x="101" y="31"/>
                    </a:cubicBezTo>
                    <a:cubicBezTo>
                      <a:pt x="101" y="35"/>
                      <a:pt x="100" y="37"/>
                      <a:pt x="98" y="40"/>
                    </a:cubicBezTo>
                    <a:cubicBezTo>
                      <a:pt x="95" y="42"/>
                      <a:pt x="92" y="43"/>
                      <a:pt x="89" y="43"/>
                    </a:cubicBezTo>
                    <a:cubicBezTo>
                      <a:pt x="87" y="43"/>
                      <a:pt x="85" y="42"/>
                      <a:pt x="83" y="41"/>
                    </a:cubicBezTo>
                    <a:cubicBezTo>
                      <a:pt x="82" y="40"/>
                      <a:pt x="80" y="38"/>
                      <a:pt x="78" y="36"/>
                    </a:cubicBezTo>
                    <a:cubicBezTo>
                      <a:pt x="75" y="31"/>
                      <a:pt x="72" y="27"/>
                      <a:pt x="68" y="24"/>
                    </a:cubicBezTo>
                    <a:cubicBezTo>
                      <a:pt x="64" y="22"/>
                      <a:pt x="60" y="21"/>
                      <a:pt x="54" y="21"/>
                    </a:cubicBezTo>
                    <a:cubicBezTo>
                      <a:pt x="46" y="21"/>
                      <a:pt x="40" y="24"/>
                      <a:pt x="35" y="30"/>
                    </a:cubicBezTo>
                    <a:cubicBezTo>
                      <a:pt x="30" y="36"/>
                      <a:pt x="28" y="45"/>
                      <a:pt x="28" y="56"/>
                    </a:cubicBezTo>
                    <a:cubicBezTo>
                      <a:pt x="28" y="61"/>
                      <a:pt x="28" y="65"/>
                      <a:pt x="29" y="70"/>
                    </a:cubicBezTo>
                    <a:cubicBezTo>
                      <a:pt x="31" y="74"/>
                      <a:pt x="32" y="77"/>
                      <a:pt x="35" y="80"/>
                    </a:cubicBezTo>
                    <a:cubicBezTo>
                      <a:pt x="37" y="83"/>
                      <a:pt x="40" y="86"/>
                      <a:pt x="43" y="87"/>
                    </a:cubicBezTo>
                    <a:cubicBezTo>
                      <a:pt x="47" y="89"/>
                      <a:pt x="51" y="90"/>
                      <a:pt x="55" y="90"/>
                    </a:cubicBezTo>
                    <a:cubicBezTo>
                      <a:pt x="60" y="90"/>
                      <a:pt x="65" y="88"/>
                      <a:pt x="68" y="86"/>
                    </a:cubicBezTo>
                    <a:cubicBezTo>
                      <a:pt x="72" y="83"/>
                      <a:pt x="76" y="80"/>
                      <a:pt x="79" y="74"/>
                    </a:cubicBezTo>
                    <a:cubicBezTo>
                      <a:pt x="80" y="71"/>
                      <a:pt x="82" y="69"/>
                      <a:pt x="84" y="67"/>
                    </a:cubicBezTo>
                    <a:cubicBezTo>
                      <a:pt x="86" y="66"/>
                      <a:pt x="88" y="65"/>
                      <a:pt x="91" y="65"/>
                    </a:cubicBezTo>
                    <a:cubicBezTo>
                      <a:pt x="94" y="65"/>
                      <a:pt x="97" y="66"/>
                      <a:pt x="99" y="68"/>
                    </a:cubicBezTo>
                    <a:cubicBezTo>
                      <a:pt x="101" y="71"/>
                      <a:pt x="103" y="74"/>
                      <a:pt x="103" y="7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203"/>
              <p:cNvSpPr>
                <a:spLocks noEditPoints="1"/>
              </p:cNvSpPr>
              <p:nvPr/>
            </p:nvSpPr>
            <p:spPr bwMode="auto">
              <a:xfrm>
                <a:off x="4298" y="3979"/>
                <a:ext cx="51" cy="53"/>
              </a:xfrm>
              <a:custGeom>
                <a:avLst/>
                <a:gdLst>
                  <a:gd name="T0" fmla="*/ 80 w 107"/>
                  <a:gd name="T1" fmla="*/ 55 h 110"/>
                  <a:gd name="T2" fmla="*/ 73 w 107"/>
                  <a:gd name="T3" fmla="*/ 29 h 110"/>
                  <a:gd name="T4" fmla="*/ 53 w 107"/>
                  <a:gd name="T5" fmla="*/ 20 h 110"/>
                  <a:gd name="T6" fmla="*/ 39 w 107"/>
                  <a:gd name="T7" fmla="*/ 24 h 110"/>
                  <a:gd name="T8" fmla="*/ 30 w 107"/>
                  <a:gd name="T9" fmla="*/ 36 h 110"/>
                  <a:gd name="T10" fmla="*/ 27 w 107"/>
                  <a:gd name="T11" fmla="*/ 55 h 110"/>
                  <a:gd name="T12" fmla="*/ 30 w 107"/>
                  <a:gd name="T13" fmla="*/ 73 h 110"/>
                  <a:gd name="T14" fmla="*/ 39 w 107"/>
                  <a:gd name="T15" fmla="*/ 86 h 110"/>
                  <a:gd name="T16" fmla="*/ 53 w 107"/>
                  <a:gd name="T17" fmla="*/ 90 h 110"/>
                  <a:gd name="T18" fmla="*/ 73 w 107"/>
                  <a:gd name="T19" fmla="*/ 81 h 110"/>
                  <a:gd name="T20" fmla="*/ 80 w 107"/>
                  <a:gd name="T21" fmla="*/ 55 h 110"/>
                  <a:gd name="T22" fmla="*/ 107 w 107"/>
                  <a:gd name="T23" fmla="*/ 55 h 110"/>
                  <a:gd name="T24" fmla="*/ 103 w 107"/>
                  <a:gd name="T25" fmla="*/ 77 h 110"/>
                  <a:gd name="T26" fmla="*/ 93 w 107"/>
                  <a:gd name="T27" fmla="*/ 95 h 110"/>
                  <a:gd name="T28" fmla="*/ 76 w 107"/>
                  <a:gd name="T29" fmla="*/ 106 h 110"/>
                  <a:gd name="T30" fmla="*/ 53 w 107"/>
                  <a:gd name="T31" fmla="*/ 110 h 110"/>
                  <a:gd name="T32" fmla="*/ 31 w 107"/>
                  <a:gd name="T33" fmla="*/ 106 h 110"/>
                  <a:gd name="T34" fmla="*/ 14 w 107"/>
                  <a:gd name="T35" fmla="*/ 95 h 110"/>
                  <a:gd name="T36" fmla="*/ 3 w 107"/>
                  <a:gd name="T37" fmla="*/ 77 h 110"/>
                  <a:gd name="T38" fmla="*/ 0 w 107"/>
                  <a:gd name="T39" fmla="*/ 55 h 110"/>
                  <a:gd name="T40" fmla="*/ 3 w 107"/>
                  <a:gd name="T41" fmla="*/ 33 h 110"/>
                  <a:gd name="T42" fmla="*/ 14 w 107"/>
                  <a:gd name="T43" fmla="*/ 15 h 110"/>
                  <a:gd name="T44" fmla="*/ 31 w 107"/>
                  <a:gd name="T45" fmla="*/ 4 h 110"/>
                  <a:gd name="T46" fmla="*/ 53 w 107"/>
                  <a:gd name="T47" fmla="*/ 0 h 110"/>
                  <a:gd name="T48" fmla="*/ 76 w 107"/>
                  <a:gd name="T49" fmla="*/ 4 h 110"/>
                  <a:gd name="T50" fmla="*/ 93 w 107"/>
                  <a:gd name="T51" fmla="*/ 15 h 110"/>
                  <a:gd name="T52" fmla="*/ 103 w 107"/>
                  <a:gd name="T53" fmla="*/ 33 h 110"/>
                  <a:gd name="T54" fmla="*/ 107 w 107"/>
                  <a:gd name="T55" fmla="*/ 55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7" h="110">
                    <a:moveTo>
                      <a:pt x="80" y="55"/>
                    </a:moveTo>
                    <a:cubicBezTo>
                      <a:pt x="80" y="44"/>
                      <a:pt x="78" y="35"/>
                      <a:pt x="73" y="29"/>
                    </a:cubicBezTo>
                    <a:cubicBezTo>
                      <a:pt x="68" y="23"/>
                      <a:pt x="61" y="20"/>
                      <a:pt x="53" y="20"/>
                    </a:cubicBezTo>
                    <a:cubicBezTo>
                      <a:pt x="48" y="20"/>
                      <a:pt x="43" y="21"/>
                      <a:pt x="39" y="24"/>
                    </a:cubicBezTo>
                    <a:cubicBezTo>
                      <a:pt x="35" y="27"/>
                      <a:pt x="32" y="31"/>
                      <a:pt x="30" y="36"/>
                    </a:cubicBezTo>
                    <a:cubicBezTo>
                      <a:pt x="28" y="42"/>
                      <a:pt x="27" y="48"/>
                      <a:pt x="27" y="55"/>
                    </a:cubicBezTo>
                    <a:cubicBezTo>
                      <a:pt x="27" y="62"/>
                      <a:pt x="28" y="68"/>
                      <a:pt x="30" y="73"/>
                    </a:cubicBezTo>
                    <a:cubicBezTo>
                      <a:pt x="32" y="79"/>
                      <a:pt x="35" y="83"/>
                      <a:pt x="39" y="86"/>
                    </a:cubicBezTo>
                    <a:cubicBezTo>
                      <a:pt x="43" y="88"/>
                      <a:pt x="48" y="90"/>
                      <a:pt x="53" y="90"/>
                    </a:cubicBezTo>
                    <a:cubicBezTo>
                      <a:pt x="61" y="90"/>
                      <a:pt x="68" y="87"/>
                      <a:pt x="73" y="81"/>
                    </a:cubicBezTo>
                    <a:cubicBezTo>
                      <a:pt x="78" y="74"/>
                      <a:pt x="80" y="66"/>
                      <a:pt x="80" y="55"/>
                    </a:cubicBezTo>
                    <a:close/>
                    <a:moveTo>
                      <a:pt x="107" y="55"/>
                    </a:moveTo>
                    <a:cubicBezTo>
                      <a:pt x="107" y="63"/>
                      <a:pt x="106" y="70"/>
                      <a:pt x="103" y="77"/>
                    </a:cubicBezTo>
                    <a:cubicBezTo>
                      <a:pt x="101" y="84"/>
                      <a:pt x="97" y="90"/>
                      <a:pt x="93" y="95"/>
                    </a:cubicBezTo>
                    <a:cubicBezTo>
                      <a:pt x="88" y="100"/>
                      <a:pt x="82" y="103"/>
                      <a:pt x="76" y="106"/>
                    </a:cubicBezTo>
                    <a:cubicBezTo>
                      <a:pt x="69" y="109"/>
                      <a:pt x="61" y="110"/>
                      <a:pt x="53" y="110"/>
                    </a:cubicBezTo>
                    <a:cubicBezTo>
                      <a:pt x="45" y="110"/>
                      <a:pt x="38" y="109"/>
                      <a:pt x="31" y="106"/>
                    </a:cubicBezTo>
                    <a:cubicBezTo>
                      <a:pt x="25" y="103"/>
                      <a:pt x="19" y="100"/>
                      <a:pt x="14" y="95"/>
                    </a:cubicBezTo>
                    <a:cubicBezTo>
                      <a:pt x="9" y="90"/>
                      <a:pt x="6" y="84"/>
                      <a:pt x="3" y="77"/>
                    </a:cubicBezTo>
                    <a:cubicBezTo>
                      <a:pt x="1" y="70"/>
                      <a:pt x="0" y="63"/>
                      <a:pt x="0" y="55"/>
                    </a:cubicBezTo>
                    <a:cubicBezTo>
                      <a:pt x="0" y="47"/>
                      <a:pt x="1" y="39"/>
                      <a:pt x="3" y="33"/>
                    </a:cubicBezTo>
                    <a:cubicBezTo>
                      <a:pt x="6" y="26"/>
                      <a:pt x="9" y="20"/>
                      <a:pt x="14" y="15"/>
                    </a:cubicBezTo>
                    <a:cubicBezTo>
                      <a:pt x="19" y="10"/>
                      <a:pt x="25" y="7"/>
                      <a:pt x="31" y="4"/>
                    </a:cubicBezTo>
                    <a:cubicBezTo>
                      <a:pt x="38" y="1"/>
                      <a:pt x="45" y="0"/>
                      <a:pt x="53" y="0"/>
                    </a:cubicBezTo>
                    <a:cubicBezTo>
                      <a:pt x="61" y="0"/>
                      <a:pt x="69" y="1"/>
                      <a:pt x="76" y="4"/>
                    </a:cubicBezTo>
                    <a:cubicBezTo>
                      <a:pt x="82" y="7"/>
                      <a:pt x="88" y="10"/>
                      <a:pt x="93" y="15"/>
                    </a:cubicBezTo>
                    <a:cubicBezTo>
                      <a:pt x="97" y="20"/>
                      <a:pt x="101" y="26"/>
                      <a:pt x="103" y="33"/>
                    </a:cubicBezTo>
                    <a:cubicBezTo>
                      <a:pt x="106" y="39"/>
                      <a:pt x="107" y="47"/>
                      <a:pt x="107" y="5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204"/>
              <p:cNvSpPr>
                <a:spLocks/>
              </p:cNvSpPr>
              <p:nvPr/>
            </p:nvSpPr>
            <p:spPr bwMode="auto">
              <a:xfrm>
                <a:off x="4355" y="3979"/>
                <a:ext cx="74" cy="53"/>
              </a:xfrm>
              <a:custGeom>
                <a:avLst/>
                <a:gdLst>
                  <a:gd name="T0" fmla="*/ 91 w 154"/>
                  <a:gd name="T1" fmla="*/ 57 h 110"/>
                  <a:gd name="T2" fmla="*/ 91 w 154"/>
                  <a:gd name="T3" fmla="*/ 93 h 110"/>
                  <a:gd name="T4" fmla="*/ 87 w 154"/>
                  <a:gd name="T5" fmla="*/ 106 h 110"/>
                  <a:gd name="T6" fmla="*/ 77 w 154"/>
                  <a:gd name="T7" fmla="*/ 110 h 110"/>
                  <a:gd name="T8" fmla="*/ 67 w 154"/>
                  <a:gd name="T9" fmla="*/ 106 h 110"/>
                  <a:gd name="T10" fmla="*/ 63 w 154"/>
                  <a:gd name="T11" fmla="*/ 93 h 110"/>
                  <a:gd name="T12" fmla="*/ 63 w 154"/>
                  <a:gd name="T13" fmla="*/ 50 h 110"/>
                  <a:gd name="T14" fmla="*/ 63 w 154"/>
                  <a:gd name="T15" fmla="*/ 34 h 110"/>
                  <a:gd name="T16" fmla="*/ 59 w 154"/>
                  <a:gd name="T17" fmla="*/ 25 h 110"/>
                  <a:gd name="T18" fmla="*/ 49 w 154"/>
                  <a:gd name="T19" fmla="*/ 21 h 110"/>
                  <a:gd name="T20" fmla="*/ 32 w 154"/>
                  <a:gd name="T21" fmla="*/ 30 h 110"/>
                  <a:gd name="T22" fmla="*/ 28 w 154"/>
                  <a:gd name="T23" fmla="*/ 56 h 110"/>
                  <a:gd name="T24" fmla="*/ 28 w 154"/>
                  <a:gd name="T25" fmla="*/ 93 h 110"/>
                  <a:gd name="T26" fmla="*/ 24 w 154"/>
                  <a:gd name="T27" fmla="*/ 106 h 110"/>
                  <a:gd name="T28" fmla="*/ 14 w 154"/>
                  <a:gd name="T29" fmla="*/ 110 h 110"/>
                  <a:gd name="T30" fmla="*/ 4 w 154"/>
                  <a:gd name="T31" fmla="*/ 106 h 110"/>
                  <a:gd name="T32" fmla="*/ 0 w 154"/>
                  <a:gd name="T33" fmla="*/ 93 h 110"/>
                  <a:gd name="T34" fmla="*/ 0 w 154"/>
                  <a:gd name="T35" fmla="*/ 16 h 110"/>
                  <a:gd name="T36" fmla="*/ 3 w 154"/>
                  <a:gd name="T37" fmla="*/ 4 h 110"/>
                  <a:gd name="T38" fmla="*/ 13 w 154"/>
                  <a:gd name="T39" fmla="*/ 0 h 110"/>
                  <a:gd name="T40" fmla="*/ 22 w 154"/>
                  <a:gd name="T41" fmla="*/ 4 h 110"/>
                  <a:gd name="T42" fmla="*/ 25 w 154"/>
                  <a:gd name="T43" fmla="*/ 14 h 110"/>
                  <a:gd name="T44" fmla="*/ 25 w 154"/>
                  <a:gd name="T45" fmla="*/ 17 h 110"/>
                  <a:gd name="T46" fmla="*/ 41 w 154"/>
                  <a:gd name="T47" fmla="*/ 4 h 110"/>
                  <a:gd name="T48" fmla="*/ 58 w 154"/>
                  <a:gd name="T49" fmla="*/ 0 h 110"/>
                  <a:gd name="T50" fmla="*/ 76 w 154"/>
                  <a:gd name="T51" fmla="*/ 4 h 110"/>
                  <a:gd name="T52" fmla="*/ 88 w 154"/>
                  <a:gd name="T53" fmla="*/ 17 h 110"/>
                  <a:gd name="T54" fmla="*/ 103 w 154"/>
                  <a:gd name="T55" fmla="*/ 4 h 110"/>
                  <a:gd name="T56" fmla="*/ 120 w 154"/>
                  <a:gd name="T57" fmla="*/ 0 h 110"/>
                  <a:gd name="T58" fmla="*/ 139 w 154"/>
                  <a:gd name="T59" fmla="*/ 5 h 110"/>
                  <a:gd name="T60" fmla="*/ 151 w 154"/>
                  <a:gd name="T61" fmla="*/ 17 h 110"/>
                  <a:gd name="T62" fmla="*/ 154 w 154"/>
                  <a:gd name="T63" fmla="*/ 40 h 110"/>
                  <a:gd name="T64" fmla="*/ 154 w 154"/>
                  <a:gd name="T65" fmla="*/ 93 h 110"/>
                  <a:gd name="T66" fmla="*/ 151 w 154"/>
                  <a:gd name="T67" fmla="*/ 106 h 110"/>
                  <a:gd name="T68" fmla="*/ 140 w 154"/>
                  <a:gd name="T69" fmla="*/ 110 h 110"/>
                  <a:gd name="T70" fmla="*/ 130 w 154"/>
                  <a:gd name="T71" fmla="*/ 106 h 110"/>
                  <a:gd name="T72" fmla="*/ 126 w 154"/>
                  <a:gd name="T73" fmla="*/ 93 h 110"/>
                  <a:gd name="T74" fmla="*/ 126 w 154"/>
                  <a:gd name="T75" fmla="*/ 47 h 110"/>
                  <a:gd name="T76" fmla="*/ 126 w 154"/>
                  <a:gd name="T77" fmla="*/ 34 h 110"/>
                  <a:gd name="T78" fmla="*/ 122 w 154"/>
                  <a:gd name="T79" fmla="*/ 25 h 110"/>
                  <a:gd name="T80" fmla="*/ 112 w 154"/>
                  <a:gd name="T81" fmla="*/ 21 h 110"/>
                  <a:gd name="T82" fmla="*/ 102 w 154"/>
                  <a:gd name="T83" fmla="*/ 24 h 110"/>
                  <a:gd name="T84" fmla="*/ 94 w 154"/>
                  <a:gd name="T85" fmla="*/ 33 h 110"/>
                  <a:gd name="T86" fmla="*/ 91 w 154"/>
                  <a:gd name="T87" fmla="*/ 57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4" h="110">
                    <a:moveTo>
                      <a:pt x="91" y="57"/>
                    </a:moveTo>
                    <a:lnTo>
                      <a:pt x="91" y="93"/>
                    </a:lnTo>
                    <a:cubicBezTo>
                      <a:pt x="91" y="99"/>
                      <a:pt x="90" y="103"/>
                      <a:pt x="87" y="106"/>
                    </a:cubicBezTo>
                    <a:cubicBezTo>
                      <a:pt x="85" y="108"/>
                      <a:pt x="81" y="110"/>
                      <a:pt x="77" y="110"/>
                    </a:cubicBezTo>
                    <a:cubicBezTo>
                      <a:pt x="73" y="110"/>
                      <a:pt x="70" y="108"/>
                      <a:pt x="67" y="106"/>
                    </a:cubicBezTo>
                    <a:cubicBezTo>
                      <a:pt x="65" y="103"/>
                      <a:pt x="63" y="99"/>
                      <a:pt x="63" y="93"/>
                    </a:cubicBezTo>
                    <a:lnTo>
                      <a:pt x="63" y="50"/>
                    </a:lnTo>
                    <a:cubicBezTo>
                      <a:pt x="63" y="43"/>
                      <a:pt x="63" y="38"/>
                      <a:pt x="63" y="34"/>
                    </a:cubicBezTo>
                    <a:cubicBezTo>
                      <a:pt x="62" y="30"/>
                      <a:pt x="61" y="27"/>
                      <a:pt x="59" y="25"/>
                    </a:cubicBezTo>
                    <a:cubicBezTo>
                      <a:pt x="57" y="22"/>
                      <a:pt x="54" y="21"/>
                      <a:pt x="49" y="21"/>
                    </a:cubicBezTo>
                    <a:cubicBezTo>
                      <a:pt x="40" y="21"/>
                      <a:pt x="35" y="24"/>
                      <a:pt x="32" y="30"/>
                    </a:cubicBezTo>
                    <a:cubicBezTo>
                      <a:pt x="29" y="36"/>
                      <a:pt x="28" y="45"/>
                      <a:pt x="28" y="56"/>
                    </a:cubicBezTo>
                    <a:lnTo>
                      <a:pt x="28" y="93"/>
                    </a:lnTo>
                    <a:cubicBezTo>
                      <a:pt x="28" y="98"/>
                      <a:pt x="26" y="103"/>
                      <a:pt x="24" y="106"/>
                    </a:cubicBezTo>
                    <a:cubicBezTo>
                      <a:pt x="21" y="108"/>
                      <a:pt x="18" y="110"/>
                      <a:pt x="14" y="110"/>
                    </a:cubicBezTo>
                    <a:cubicBezTo>
                      <a:pt x="10" y="110"/>
                      <a:pt x="6" y="108"/>
                      <a:pt x="4" y="106"/>
                    </a:cubicBezTo>
                    <a:cubicBezTo>
                      <a:pt x="1" y="103"/>
                      <a:pt x="0" y="98"/>
                      <a:pt x="0" y="93"/>
                    </a:cubicBezTo>
                    <a:lnTo>
                      <a:pt x="0" y="16"/>
                    </a:lnTo>
                    <a:cubicBezTo>
                      <a:pt x="0" y="10"/>
                      <a:pt x="1" y="7"/>
                      <a:pt x="3" y="4"/>
                    </a:cubicBezTo>
                    <a:cubicBezTo>
                      <a:pt x="6" y="1"/>
                      <a:pt x="9" y="0"/>
                      <a:pt x="13" y="0"/>
                    </a:cubicBezTo>
                    <a:cubicBezTo>
                      <a:pt x="16" y="0"/>
                      <a:pt x="19" y="1"/>
                      <a:pt x="22" y="4"/>
                    </a:cubicBezTo>
                    <a:cubicBezTo>
                      <a:pt x="24" y="6"/>
                      <a:pt x="25" y="10"/>
                      <a:pt x="25" y="14"/>
                    </a:cubicBezTo>
                    <a:lnTo>
                      <a:pt x="25" y="17"/>
                    </a:lnTo>
                    <a:cubicBezTo>
                      <a:pt x="30" y="11"/>
                      <a:pt x="35" y="7"/>
                      <a:pt x="41" y="4"/>
                    </a:cubicBezTo>
                    <a:cubicBezTo>
                      <a:pt x="46" y="2"/>
                      <a:pt x="52" y="0"/>
                      <a:pt x="58" y="0"/>
                    </a:cubicBezTo>
                    <a:cubicBezTo>
                      <a:pt x="65" y="0"/>
                      <a:pt x="71" y="2"/>
                      <a:pt x="76" y="4"/>
                    </a:cubicBezTo>
                    <a:cubicBezTo>
                      <a:pt x="81" y="7"/>
                      <a:pt x="85" y="11"/>
                      <a:pt x="88" y="17"/>
                    </a:cubicBezTo>
                    <a:cubicBezTo>
                      <a:pt x="93" y="11"/>
                      <a:pt x="97" y="7"/>
                      <a:pt x="103" y="4"/>
                    </a:cubicBezTo>
                    <a:cubicBezTo>
                      <a:pt x="108" y="2"/>
                      <a:pt x="114" y="0"/>
                      <a:pt x="120" y="0"/>
                    </a:cubicBezTo>
                    <a:cubicBezTo>
                      <a:pt x="127" y="0"/>
                      <a:pt x="134" y="2"/>
                      <a:pt x="139" y="5"/>
                    </a:cubicBezTo>
                    <a:cubicBezTo>
                      <a:pt x="144" y="8"/>
                      <a:pt x="148" y="12"/>
                      <a:pt x="151" y="17"/>
                    </a:cubicBezTo>
                    <a:cubicBezTo>
                      <a:pt x="153" y="22"/>
                      <a:pt x="154" y="30"/>
                      <a:pt x="154" y="40"/>
                    </a:cubicBezTo>
                    <a:lnTo>
                      <a:pt x="154" y="93"/>
                    </a:lnTo>
                    <a:cubicBezTo>
                      <a:pt x="154" y="99"/>
                      <a:pt x="153" y="103"/>
                      <a:pt x="151" y="106"/>
                    </a:cubicBezTo>
                    <a:cubicBezTo>
                      <a:pt x="148" y="108"/>
                      <a:pt x="145" y="110"/>
                      <a:pt x="140" y="110"/>
                    </a:cubicBezTo>
                    <a:cubicBezTo>
                      <a:pt x="136" y="110"/>
                      <a:pt x="133" y="108"/>
                      <a:pt x="130" y="106"/>
                    </a:cubicBezTo>
                    <a:cubicBezTo>
                      <a:pt x="128" y="103"/>
                      <a:pt x="126" y="98"/>
                      <a:pt x="126" y="93"/>
                    </a:cubicBezTo>
                    <a:lnTo>
                      <a:pt x="126" y="47"/>
                    </a:lnTo>
                    <a:cubicBezTo>
                      <a:pt x="126" y="42"/>
                      <a:pt x="126" y="37"/>
                      <a:pt x="126" y="34"/>
                    </a:cubicBezTo>
                    <a:cubicBezTo>
                      <a:pt x="125" y="30"/>
                      <a:pt x="124" y="27"/>
                      <a:pt x="122" y="25"/>
                    </a:cubicBezTo>
                    <a:cubicBezTo>
                      <a:pt x="120" y="22"/>
                      <a:pt x="116" y="21"/>
                      <a:pt x="112" y="21"/>
                    </a:cubicBezTo>
                    <a:cubicBezTo>
                      <a:pt x="108" y="21"/>
                      <a:pt x="105" y="22"/>
                      <a:pt x="102" y="24"/>
                    </a:cubicBezTo>
                    <a:cubicBezTo>
                      <a:pt x="98" y="26"/>
                      <a:pt x="96" y="29"/>
                      <a:pt x="94" y="33"/>
                    </a:cubicBezTo>
                    <a:cubicBezTo>
                      <a:pt x="92" y="37"/>
                      <a:pt x="91" y="45"/>
                      <a:pt x="91" y="5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205"/>
              <p:cNvSpPr>
                <a:spLocks/>
              </p:cNvSpPr>
              <p:nvPr/>
            </p:nvSpPr>
            <p:spPr bwMode="auto">
              <a:xfrm>
                <a:off x="3795" y="400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206"/>
              <p:cNvSpPr>
                <a:spLocks/>
              </p:cNvSpPr>
              <p:nvPr/>
            </p:nvSpPr>
            <p:spPr bwMode="auto">
              <a:xfrm>
                <a:off x="3795" y="4003"/>
                <a:ext cx="1" cy="4"/>
              </a:xfrm>
              <a:custGeom>
                <a:avLst/>
                <a:gdLst>
                  <a:gd name="T0" fmla="*/ 1 w 1"/>
                  <a:gd name="T1" fmla="*/ 7 h 7"/>
                  <a:gd name="T2" fmla="*/ 1 w 1"/>
                  <a:gd name="T3" fmla="*/ 7 h 7"/>
                  <a:gd name="T4" fmla="*/ 0 w 1"/>
                  <a:gd name="T5" fmla="*/ 0 h 7"/>
                  <a:gd name="T6" fmla="*/ 1 w 1"/>
                  <a:gd name="T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7">
                    <a:moveTo>
                      <a:pt x="1" y="7"/>
                    </a:moveTo>
                    <a:lnTo>
                      <a:pt x="1" y="7"/>
                    </a:lnTo>
                    <a:cubicBezTo>
                      <a:pt x="1" y="5"/>
                      <a:pt x="0" y="2"/>
                      <a:pt x="0" y="0"/>
                    </a:cubicBezTo>
                    <a:cubicBezTo>
                      <a:pt x="0" y="2"/>
                      <a:pt x="1" y="5"/>
                      <a:pt x="1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Freeform 208"/>
            <p:cNvSpPr>
              <a:spLocks/>
            </p:cNvSpPr>
            <p:nvPr/>
          </p:nvSpPr>
          <p:spPr bwMode="auto">
            <a:xfrm>
              <a:off x="3800" y="401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09"/>
            <p:cNvSpPr>
              <a:spLocks/>
            </p:cNvSpPr>
            <p:nvPr/>
          </p:nvSpPr>
          <p:spPr bwMode="auto">
            <a:xfrm>
              <a:off x="3800" y="4017"/>
              <a:ext cx="0" cy="1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10"/>
            <p:cNvSpPr>
              <a:spLocks/>
            </p:cNvSpPr>
            <p:nvPr/>
          </p:nvSpPr>
          <p:spPr bwMode="auto">
            <a:xfrm>
              <a:off x="3797" y="4012"/>
              <a:ext cx="2" cy="5"/>
            </a:xfrm>
            <a:custGeom>
              <a:avLst/>
              <a:gdLst>
                <a:gd name="T0" fmla="*/ 0 w 4"/>
                <a:gd name="T1" fmla="*/ 0 h 12"/>
                <a:gd name="T2" fmla="*/ 4 w 4"/>
                <a:gd name="T3" fmla="*/ 12 h 12"/>
                <a:gd name="T4" fmla="*/ 0 w 4"/>
                <a:gd name="T5" fmla="*/ 0 h 12"/>
                <a:gd name="T6" fmla="*/ 0 w 4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2">
                  <a:moveTo>
                    <a:pt x="0" y="0"/>
                  </a:moveTo>
                  <a:cubicBezTo>
                    <a:pt x="1" y="4"/>
                    <a:pt x="3" y="8"/>
                    <a:pt x="4" y="12"/>
                  </a:cubicBezTo>
                  <a:cubicBezTo>
                    <a:pt x="3" y="8"/>
                    <a:pt x="1" y="4"/>
                    <a:pt x="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11"/>
            <p:cNvSpPr>
              <a:spLocks/>
            </p:cNvSpPr>
            <p:nvPr/>
          </p:nvSpPr>
          <p:spPr bwMode="auto">
            <a:xfrm>
              <a:off x="3822" y="3936"/>
              <a:ext cx="30" cy="21"/>
            </a:xfrm>
            <a:custGeom>
              <a:avLst/>
              <a:gdLst>
                <a:gd name="T0" fmla="*/ 48 w 63"/>
                <a:gd name="T1" fmla="*/ 35 h 43"/>
                <a:gd name="T2" fmla="*/ 62 w 63"/>
                <a:gd name="T3" fmla="*/ 36 h 43"/>
                <a:gd name="T4" fmla="*/ 63 w 63"/>
                <a:gd name="T5" fmla="*/ 28 h 43"/>
                <a:gd name="T6" fmla="*/ 35 w 63"/>
                <a:gd name="T7" fmla="*/ 26 h 43"/>
                <a:gd name="T8" fmla="*/ 34 w 63"/>
                <a:gd name="T9" fmla="*/ 21 h 43"/>
                <a:gd name="T10" fmla="*/ 42 w 63"/>
                <a:gd name="T11" fmla="*/ 11 h 43"/>
                <a:gd name="T12" fmla="*/ 31 w 63"/>
                <a:gd name="T13" fmla="*/ 0 h 43"/>
                <a:gd name="T14" fmla="*/ 20 w 63"/>
                <a:gd name="T15" fmla="*/ 11 h 43"/>
                <a:gd name="T16" fmla="*/ 29 w 63"/>
                <a:gd name="T17" fmla="*/ 21 h 43"/>
                <a:gd name="T18" fmla="*/ 30 w 63"/>
                <a:gd name="T19" fmla="*/ 26 h 43"/>
                <a:gd name="T20" fmla="*/ 0 w 63"/>
                <a:gd name="T21" fmla="*/ 35 h 43"/>
                <a:gd name="T22" fmla="*/ 2 w 63"/>
                <a:gd name="T23" fmla="*/ 43 h 43"/>
                <a:gd name="T24" fmla="*/ 30 w 63"/>
                <a:gd name="T25" fmla="*/ 36 h 43"/>
                <a:gd name="T26" fmla="*/ 48 w 63"/>
                <a:gd name="T27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" h="43">
                  <a:moveTo>
                    <a:pt x="48" y="35"/>
                  </a:moveTo>
                  <a:cubicBezTo>
                    <a:pt x="54" y="35"/>
                    <a:pt x="57" y="35"/>
                    <a:pt x="62" y="36"/>
                  </a:cubicBezTo>
                  <a:lnTo>
                    <a:pt x="63" y="28"/>
                  </a:lnTo>
                  <a:cubicBezTo>
                    <a:pt x="63" y="28"/>
                    <a:pt x="51" y="24"/>
                    <a:pt x="35" y="26"/>
                  </a:cubicBezTo>
                  <a:lnTo>
                    <a:pt x="34" y="21"/>
                  </a:lnTo>
                  <a:cubicBezTo>
                    <a:pt x="39" y="20"/>
                    <a:pt x="42" y="16"/>
                    <a:pt x="42" y="11"/>
                  </a:cubicBezTo>
                  <a:cubicBezTo>
                    <a:pt x="42" y="5"/>
                    <a:pt x="37" y="0"/>
                    <a:pt x="31" y="0"/>
                  </a:cubicBezTo>
                  <a:cubicBezTo>
                    <a:pt x="25" y="0"/>
                    <a:pt x="20" y="5"/>
                    <a:pt x="20" y="11"/>
                  </a:cubicBezTo>
                  <a:cubicBezTo>
                    <a:pt x="20" y="16"/>
                    <a:pt x="24" y="20"/>
                    <a:pt x="29" y="21"/>
                  </a:cubicBezTo>
                  <a:lnTo>
                    <a:pt x="30" y="26"/>
                  </a:lnTo>
                  <a:cubicBezTo>
                    <a:pt x="13" y="29"/>
                    <a:pt x="0" y="35"/>
                    <a:pt x="0" y="35"/>
                  </a:cubicBezTo>
                  <a:lnTo>
                    <a:pt x="2" y="43"/>
                  </a:lnTo>
                  <a:cubicBezTo>
                    <a:pt x="13" y="39"/>
                    <a:pt x="22" y="37"/>
                    <a:pt x="30" y="36"/>
                  </a:cubicBezTo>
                  <a:cubicBezTo>
                    <a:pt x="38" y="35"/>
                    <a:pt x="44" y="35"/>
                    <a:pt x="48" y="3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12"/>
            <p:cNvSpPr>
              <a:spLocks/>
            </p:cNvSpPr>
            <p:nvPr/>
          </p:nvSpPr>
          <p:spPr bwMode="auto">
            <a:xfrm>
              <a:off x="3777" y="3969"/>
              <a:ext cx="24" cy="26"/>
            </a:xfrm>
            <a:custGeom>
              <a:avLst/>
              <a:gdLst>
                <a:gd name="T0" fmla="*/ 48 w 49"/>
                <a:gd name="T1" fmla="*/ 7 h 55"/>
                <a:gd name="T2" fmla="*/ 48 w 49"/>
                <a:gd name="T3" fmla="*/ 7 h 55"/>
                <a:gd name="T4" fmla="*/ 49 w 49"/>
                <a:gd name="T5" fmla="*/ 6 h 55"/>
                <a:gd name="T6" fmla="*/ 46 w 49"/>
                <a:gd name="T7" fmla="*/ 3 h 55"/>
                <a:gd name="T8" fmla="*/ 41 w 49"/>
                <a:gd name="T9" fmla="*/ 0 h 55"/>
                <a:gd name="T10" fmla="*/ 26 w 49"/>
                <a:gd name="T11" fmla="*/ 21 h 55"/>
                <a:gd name="T12" fmla="*/ 25 w 49"/>
                <a:gd name="T13" fmla="*/ 20 h 55"/>
                <a:gd name="T14" fmla="*/ 17 w 49"/>
                <a:gd name="T15" fmla="*/ 17 h 55"/>
                <a:gd name="T16" fmla="*/ 17 w 49"/>
                <a:gd name="T17" fmla="*/ 17 h 55"/>
                <a:gd name="T18" fmla="*/ 13 w 49"/>
                <a:gd name="T19" fmla="*/ 15 h 55"/>
                <a:gd name="T20" fmla="*/ 14 w 49"/>
                <a:gd name="T21" fmla="*/ 11 h 55"/>
                <a:gd name="T22" fmla="*/ 7 w 49"/>
                <a:gd name="T23" fmla="*/ 4 h 55"/>
                <a:gd name="T24" fmla="*/ 0 w 49"/>
                <a:gd name="T25" fmla="*/ 11 h 55"/>
                <a:gd name="T26" fmla="*/ 7 w 49"/>
                <a:gd name="T27" fmla="*/ 18 h 55"/>
                <a:gd name="T28" fmla="*/ 9 w 49"/>
                <a:gd name="T29" fmla="*/ 17 h 55"/>
                <a:gd name="T30" fmla="*/ 17 w 49"/>
                <a:gd name="T31" fmla="*/ 21 h 55"/>
                <a:gd name="T32" fmla="*/ 22 w 49"/>
                <a:gd name="T33" fmla="*/ 23 h 55"/>
                <a:gd name="T34" fmla="*/ 24 w 49"/>
                <a:gd name="T35" fmla="*/ 27 h 55"/>
                <a:gd name="T36" fmla="*/ 24 w 49"/>
                <a:gd name="T37" fmla="*/ 27 h 55"/>
                <a:gd name="T38" fmla="*/ 20 w 49"/>
                <a:gd name="T39" fmla="*/ 55 h 55"/>
                <a:gd name="T40" fmla="*/ 31 w 49"/>
                <a:gd name="T41" fmla="*/ 55 h 55"/>
                <a:gd name="T42" fmla="*/ 35 w 49"/>
                <a:gd name="T43" fmla="*/ 32 h 55"/>
                <a:gd name="T44" fmla="*/ 48 w 49"/>
                <a:gd name="T45" fmla="*/ 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" h="55">
                  <a:moveTo>
                    <a:pt x="48" y="7"/>
                  </a:moveTo>
                  <a:lnTo>
                    <a:pt x="48" y="7"/>
                  </a:lnTo>
                  <a:lnTo>
                    <a:pt x="49" y="6"/>
                  </a:lnTo>
                  <a:lnTo>
                    <a:pt x="46" y="3"/>
                  </a:lnTo>
                  <a:lnTo>
                    <a:pt x="41" y="0"/>
                  </a:lnTo>
                  <a:cubicBezTo>
                    <a:pt x="41" y="0"/>
                    <a:pt x="33" y="7"/>
                    <a:pt x="26" y="21"/>
                  </a:cubicBezTo>
                  <a:lnTo>
                    <a:pt x="25" y="20"/>
                  </a:lnTo>
                  <a:cubicBezTo>
                    <a:pt x="23" y="18"/>
                    <a:pt x="21" y="16"/>
                    <a:pt x="17" y="17"/>
                  </a:cubicBezTo>
                  <a:lnTo>
                    <a:pt x="17" y="17"/>
                  </a:lnTo>
                  <a:cubicBezTo>
                    <a:pt x="15" y="17"/>
                    <a:pt x="14" y="16"/>
                    <a:pt x="13" y="15"/>
                  </a:cubicBezTo>
                  <a:cubicBezTo>
                    <a:pt x="14" y="14"/>
                    <a:pt x="14" y="12"/>
                    <a:pt x="14" y="11"/>
                  </a:cubicBezTo>
                  <a:cubicBezTo>
                    <a:pt x="14" y="7"/>
                    <a:pt x="11" y="4"/>
                    <a:pt x="7" y="4"/>
                  </a:cubicBezTo>
                  <a:cubicBezTo>
                    <a:pt x="4" y="4"/>
                    <a:pt x="0" y="7"/>
                    <a:pt x="0" y="11"/>
                  </a:cubicBezTo>
                  <a:cubicBezTo>
                    <a:pt x="0" y="15"/>
                    <a:pt x="4" y="18"/>
                    <a:pt x="7" y="18"/>
                  </a:cubicBezTo>
                  <a:lnTo>
                    <a:pt x="9" y="17"/>
                  </a:lnTo>
                  <a:cubicBezTo>
                    <a:pt x="11" y="19"/>
                    <a:pt x="14" y="21"/>
                    <a:pt x="17" y="21"/>
                  </a:cubicBezTo>
                  <a:cubicBezTo>
                    <a:pt x="20" y="21"/>
                    <a:pt x="21" y="21"/>
                    <a:pt x="22" y="23"/>
                  </a:cubicBezTo>
                  <a:lnTo>
                    <a:pt x="24" y="27"/>
                  </a:lnTo>
                  <a:lnTo>
                    <a:pt x="24" y="27"/>
                  </a:lnTo>
                  <a:cubicBezTo>
                    <a:pt x="19" y="39"/>
                    <a:pt x="20" y="55"/>
                    <a:pt x="20" y="55"/>
                  </a:cubicBezTo>
                  <a:lnTo>
                    <a:pt x="31" y="55"/>
                  </a:lnTo>
                  <a:cubicBezTo>
                    <a:pt x="32" y="50"/>
                    <a:pt x="32" y="40"/>
                    <a:pt x="35" y="32"/>
                  </a:cubicBezTo>
                  <a:cubicBezTo>
                    <a:pt x="41" y="17"/>
                    <a:pt x="48" y="8"/>
                    <a:pt x="48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13"/>
            <p:cNvSpPr>
              <a:spLocks/>
            </p:cNvSpPr>
            <p:nvPr/>
          </p:nvSpPr>
          <p:spPr bwMode="auto">
            <a:xfrm>
              <a:off x="3872" y="3957"/>
              <a:ext cx="23" cy="27"/>
            </a:xfrm>
            <a:custGeom>
              <a:avLst/>
              <a:gdLst>
                <a:gd name="T0" fmla="*/ 41 w 48"/>
                <a:gd name="T1" fmla="*/ 0 h 55"/>
                <a:gd name="T2" fmla="*/ 34 w 48"/>
                <a:gd name="T3" fmla="*/ 7 h 55"/>
                <a:gd name="T4" fmla="*/ 35 w 48"/>
                <a:gd name="T5" fmla="*/ 9 h 55"/>
                <a:gd name="T6" fmla="*/ 31 w 48"/>
                <a:gd name="T7" fmla="*/ 17 h 55"/>
                <a:gd name="T8" fmla="*/ 29 w 48"/>
                <a:gd name="T9" fmla="*/ 22 h 55"/>
                <a:gd name="T10" fmla="*/ 26 w 48"/>
                <a:gd name="T11" fmla="*/ 23 h 55"/>
                <a:gd name="T12" fmla="*/ 8 w 48"/>
                <a:gd name="T13" fmla="*/ 5 h 55"/>
                <a:gd name="T14" fmla="*/ 0 w 48"/>
                <a:gd name="T15" fmla="*/ 13 h 55"/>
                <a:gd name="T16" fmla="*/ 18 w 48"/>
                <a:gd name="T17" fmla="*/ 34 h 55"/>
                <a:gd name="T18" fmla="*/ 30 w 48"/>
                <a:gd name="T19" fmla="*/ 55 h 55"/>
                <a:gd name="T20" fmla="*/ 41 w 48"/>
                <a:gd name="T21" fmla="*/ 50 h 55"/>
                <a:gd name="T22" fmla="*/ 29 w 48"/>
                <a:gd name="T23" fmla="*/ 27 h 55"/>
                <a:gd name="T24" fmla="*/ 32 w 48"/>
                <a:gd name="T25" fmla="*/ 25 h 55"/>
                <a:gd name="T26" fmla="*/ 35 w 48"/>
                <a:gd name="T27" fmla="*/ 17 h 55"/>
                <a:gd name="T28" fmla="*/ 37 w 48"/>
                <a:gd name="T29" fmla="*/ 13 h 55"/>
                <a:gd name="T30" fmla="*/ 41 w 48"/>
                <a:gd name="T31" fmla="*/ 14 h 55"/>
                <a:gd name="T32" fmla="*/ 48 w 48"/>
                <a:gd name="T33" fmla="*/ 7 h 55"/>
                <a:gd name="T34" fmla="*/ 41 w 48"/>
                <a:gd name="T35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55">
                  <a:moveTo>
                    <a:pt x="41" y="0"/>
                  </a:moveTo>
                  <a:cubicBezTo>
                    <a:pt x="37" y="0"/>
                    <a:pt x="34" y="3"/>
                    <a:pt x="34" y="7"/>
                  </a:cubicBezTo>
                  <a:lnTo>
                    <a:pt x="35" y="9"/>
                  </a:lnTo>
                  <a:cubicBezTo>
                    <a:pt x="33" y="11"/>
                    <a:pt x="31" y="13"/>
                    <a:pt x="31" y="17"/>
                  </a:cubicBezTo>
                  <a:cubicBezTo>
                    <a:pt x="31" y="19"/>
                    <a:pt x="31" y="21"/>
                    <a:pt x="29" y="22"/>
                  </a:cubicBezTo>
                  <a:lnTo>
                    <a:pt x="26" y="23"/>
                  </a:lnTo>
                  <a:cubicBezTo>
                    <a:pt x="18" y="12"/>
                    <a:pt x="8" y="5"/>
                    <a:pt x="8" y="5"/>
                  </a:cubicBezTo>
                  <a:lnTo>
                    <a:pt x="0" y="13"/>
                  </a:lnTo>
                  <a:cubicBezTo>
                    <a:pt x="6" y="19"/>
                    <a:pt x="12" y="26"/>
                    <a:pt x="18" y="34"/>
                  </a:cubicBezTo>
                  <a:cubicBezTo>
                    <a:pt x="22" y="40"/>
                    <a:pt x="26" y="47"/>
                    <a:pt x="30" y="55"/>
                  </a:cubicBezTo>
                  <a:lnTo>
                    <a:pt x="41" y="50"/>
                  </a:lnTo>
                  <a:cubicBezTo>
                    <a:pt x="41" y="50"/>
                    <a:pt x="36" y="38"/>
                    <a:pt x="29" y="27"/>
                  </a:cubicBezTo>
                  <a:lnTo>
                    <a:pt x="32" y="25"/>
                  </a:lnTo>
                  <a:cubicBezTo>
                    <a:pt x="34" y="23"/>
                    <a:pt x="35" y="21"/>
                    <a:pt x="35" y="17"/>
                  </a:cubicBezTo>
                  <a:cubicBezTo>
                    <a:pt x="35" y="15"/>
                    <a:pt x="36" y="14"/>
                    <a:pt x="37" y="13"/>
                  </a:cubicBezTo>
                  <a:cubicBezTo>
                    <a:pt x="38" y="14"/>
                    <a:pt x="40" y="14"/>
                    <a:pt x="41" y="14"/>
                  </a:cubicBezTo>
                  <a:cubicBezTo>
                    <a:pt x="45" y="14"/>
                    <a:pt x="48" y="11"/>
                    <a:pt x="48" y="7"/>
                  </a:cubicBezTo>
                  <a:cubicBezTo>
                    <a:pt x="48" y="3"/>
                    <a:pt x="45" y="0"/>
                    <a:pt x="41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14"/>
            <p:cNvSpPr>
              <a:spLocks/>
            </p:cNvSpPr>
            <p:nvPr/>
          </p:nvSpPr>
          <p:spPr bwMode="auto">
            <a:xfrm>
              <a:off x="3797" y="3998"/>
              <a:ext cx="91" cy="40"/>
            </a:xfrm>
            <a:custGeom>
              <a:avLst/>
              <a:gdLst>
                <a:gd name="T0" fmla="*/ 169 w 189"/>
                <a:gd name="T1" fmla="*/ 11 h 83"/>
                <a:gd name="T2" fmla="*/ 98 w 189"/>
                <a:gd name="T3" fmla="*/ 32 h 83"/>
                <a:gd name="T4" fmla="*/ 62 w 189"/>
                <a:gd name="T5" fmla="*/ 34 h 83"/>
                <a:gd name="T6" fmla="*/ 25 w 189"/>
                <a:gd name="T7" fmla="*/ 32 h 83"/>
                <a:gd name="T8" fmla="*/ 0 w 189"/>
                <a:gd name="T9" fmla="*/ 28 h 83"/>
                <a:gd name="T10" fmla="*/ 4 w 189"/>
                <a:gd name="T11" fmla="*/ 40 h 83"/>
                <a:gd name="T12" fmla="*/ 5 w 189"/>
                <a:gd name="T13" fmla="*/ 40 h 83"/>
                <a:gd name="T14" fmla="*/ 5 w 189"/>
                <a:gd name="T15" fmla="*/ 41 h 83"/>
                <a:gd name="T16" fmla="*/ 6 w 189"/>
                <a:gd name="T17" fmla="*/ 43 h 83"/>
                <a:gd name="T18" fmla="*/ 6 w 189"/>
                <a:gd name="T19" fmla="*/ 43 h 83"/>
                <a:gd name="T20" fmla="*/ 17 w 189"/>
                <a:gd name="T21" fmla="*/ 59 h 83"/>
                <a:gd name="T22" fmla="*/ 48 w 189"/>
                <a:gd name="T23" fmla="*/ 78 h 83"/>
                <a:gd name="T24" fmla="*/ 48 w 189"/>
                <a:gd name="T25" fmla="*/ 78 h 83"/>
                <a:gd name="T26" fmla="*/ 48 w 189"/>
                <a:gd name="T27" fmla="*/ 78 h 83"/>
                <a:gd name="T28" fmla="*/ 83 w 189"/>
                <a:gd name="T29" fmla="*/ 83 h 83"/>
                <a:gd name="T30" fmla="*/ 142 w 189"/>
                <a:gd name="T31" fmla="*/ 71 h 83"/>
                <a:gd name="T32" fmla="*/ 176 w 189"/>
                <a:gd name="T33" fmla="*/ 43 h 83"/>
                <a:gd name="T34" fmla="*/ 187 w 189"/>
                <a:gd name="T35" fmla="*/ 19 h 83"/>
                <a:gd name="T36" fmla="*/ 188 w 189"/>
                <a:gd name="T37" fmla="*/ 0 h 83"/>
                <a:gd name="T38" fmla="*/ 169 w 189"/>
                <a:gd name="T39" fmla="*/ 1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9" h="83">
                  <a:moveTo>
                    <a:pt x="169" y="11"/>
                  </a:moveTo>
                  <a:cubicBezTo>
                    <a:pt x="154" y="18"/>
                    <a:pt x="130" y="28"/>
                    <a:pt x="98" y="32"/>
                  </a:cubicBezTo>
                  <a:cubicBezTo>
                    <a:pt x="85" y="34"/>
                    <a:pt x="73" y="34"/>
                    <a:pt x="62" y="34"/>
                  </a:cubicBezTo>
                  <a:cubicBezTo>
                    <a:pt x="48" y="34"/>
                    <a:pt x="35" y="33"/>
                    <a:pt x="25" y="32"/>
                  </a:cubicBezTo>
                  <a:cubicBezTo>
                    <a:pt x="14" y="31"/>
                    <a:pt x="5" y="29"/>
                    <a:pt x="0" y="28"/>
                  </a:cubicBezTo>
                  <a:cubicBezTo>
                    <a:pt x="1" y="32"/>
                    <a:pt x="3" y="36"/>
                    <a:pt x="4" y="40"/>
                  </a:cubicBezTo>
                  <a:lnTo>
                    <a:pt x="5" y="40"/>
                  </a:lnTo>
                  <a:lnTo>
                    <a:pt x="5" y="41"/>
                  </a:lnTo>
                  <a:lnTo>
                    <a:pt x="6" y="43"/>
                  </a:lnTo>
                  <a:lnTo>
                    <a:pt x="6" y="43"/>
                  </a:lnTo>
                  <a:cubicBezTo>
                    <a:pt x="9" y="49"/>
                    <a:pt x="13" y="55"/>
                    <a:pt x="17" y="59"/>
                  </a:cubicBezTo>
                  <a:cubicBezTo>
                    <a:pt x="32" y="76"/>
                    <a:pt x="48" y="78"/>
                    <a:pt x="48" y="78"/>
                  </a:cubicBezTo>
                  <a:lnTo>
                    <a:pt x="48" y="78"/>
                  </a:lnTo>
                  <a:lnTo>
                    <a:pt x="48" y="78"/>
                  </a:lnTo>
                  <a:cubicBezTo>
                    <a:pt x="48" y="78"/>
                    <a:pt x="62" y="83"/>
                    <a:pt x="83" y="83"/>
                  </a:cubicBezTo>
                  <a:cubicBezTo>
                    <a:pt x="103" y="83"/>
                    <a:pt x="123" y="79"/>
                    <a:pt x="142" y="71"/>
                  </a:cubicBezTo>
                  <a:cubicBezTo>
                    <a:pt x="156" y="64"/>
                    <a:pt x="169" y="53"/>
                    <a:pt x="176" y="43"/>
                  </a:cubicBezTo>
                  <a:cubicBezTo>
                    <a:pt x="181" y="35"/>
                    <a:pt x="184" y="27"/>
                    <a:pt x="187" y="19"/>
                  </a:cubicBezTo>
                  <a:cubicBezTo>
                    <a:pt x="188" y="15"/>
                    <a:pt x="189" y="7"/>
                    <a:pt x="188" y="0"/>
                  </a:cubicBezTo>
                  <a:cubicBezTo>
                    <a:pt x="184" y="3"/>
                    <a:pt x="177" y="7"/>
                    <a:pt x="169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5"/>
            <p:cNvSpPr>
              <a:spLocks noEditPoints="1"/>
            </p:cNvSpPr>
            <p:nvPr/>
          </p:nvSpPr>
          <p:spPr bwMode="auto">
            <a:xfrm>
              <a:off x="3795" y="3956"/>
              <a:ext cx="92" cy="57"/>
            </a:xfrm>
            <a:custGeom>
              <a:avLst/>
              <a:gdLst>
                <a:gd name="T0" fmla="*/ 58 w 191"/>
                <a:gd name="T1" fmla="*/ 30 h 118"/>
                <a:gd name="T2" fmla="*/ 87 w 191"/>
                <a:gd name="T3" fmla="*/ 59 h 118"/>
                <a:gd name="T4" fmla="*/ 58 w 191"/>
                <a:gd name="T5" fmla="*/ 89 h 118"/>
                <a:gd name="T6" fmla="*/ 28 w 191"/>
                <a:gd name="T7" fmla="*/ 59 h 118"/>
                <a:gd name="T8" fmla="*/ 58 w 191"/>
                <a:gd name="T9" fmla="*/ 30 h 118"/>
                <a:gd name="T10" fmla="*/ 143 w 191"/>
                <a:gd name="T11" fmla="*/ 31 h 118"/>
                <a:gd name="T12" fmla="*/ 162 w 191"/>
                <a:gd name="T13" fmla="*/ 49 h 118"/>
                <a:gd name="T14" fmla="*/ 143 w 191"/>
                <a:gd name="T15" fmla="*/ 67 h 118"/>
                <a:gd name="T16" fmla="*/ 125 w 191"/>
                <a:gd name="T17" fmla="*/ 49 h 118"/>
                <a:gd name="T18" fmla="*/ 143 w 191"/>
                <a:gd name="T19" fmla="*/ 31 h 118"/>
                <a:gd name="T20" fmla="*/ 16 w 191"/>
                <a:gd name="T21" fmla="*/ 38 h 118"/>
                <a:gd name="T22" fmla="*/ 4 w 191"/>
                <a:gd name="T23" fmla="*/ 61 h 118"/>
                <a:gd name="T24" fmla="*/ 0 w 191"/>
                <a:gd name="T25" fmla="*/ 87 h 118"/>
                <a:gd name="T26" fmla="*/ 0 w 191"/>
                <a:gd name="T27" fmla="*/ 87 h 118"/>
                <a:gd name="T28" fmla="*/ 1 w 191"/>
                <a:gd name="T29" fmla="*/ 97 h 118"/>
                <a:gd name="T30" fmla="*/ 1 w 191"/>
                <a:gd name="T31" fmla="*/ 97 h 118"/>
                <a:gd name="T32" fmla="*/ 1 w 191"/>
                <a:gd name="T33" fmla="*/ 99 h 118"/>
                <a:gd name="T34" fmla="*/ 2 w 191"/>
                <a:gd name="T35" fmla="*/ 106 h 118"/>
                <a:gd name="T36" fmla="*/ 102 w 191"/>
                <a:gd name="T37" fmla="*/ 111 h 118"/>
                <a:gd name="T38" fmla="*/ 169 w 191"/>
                <a:gd name="T39" fmla="*/ 91 h 118"/>
                <a:gd name="T40" fmla="*/ 191 w 191"/>
                <a:gd name="T41" fmla="*/ 78 h 118"/>
                <a:gd name="T42" fmla="*/ 173 w 191"/>
                <a:gd name="T43" fmla="*/ 40 h 118"/>
                <a:gd name="T44" fmla="*/ 118 w 191"/>
                <a:gd name="T45" fmla="*/ 1 h 118"/>
                <a:gd name="T46" fmla="*/ 105 w 191"/>
                <a:gd name="T47" fmla="*/ 0 h 118"/>
                <a:gd name="T48" fmla="*/ 87 w 191"/>
                <a:gd name="T49" fmla="*/ 1 h 118"/>
                <a:gd name="T50" fmla="*/ 61 w 191"/>
                <a:gd name="T51" fmla="*/ 7 h 118"/>
                <a:gd name="T52" fmla="*/ 24 w 191"/>
                <a:gd name="T53" fmla="*/ 29 h 118"/>
                <a:gd name="T54" fmla="*/ 24 w 191"/>
                <a:gd name="T55" fmla="*/ 29 h 118"/>
                <a:gd name="T56" fmla="*/ 16 w 191"/>
                <a:gd name="T57" fmla="*/ 3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1" h="118">
                  <a:moveTo>
                    <a:pt x="58" y="30"/>
                  </a:moveTo>
                  <a:cubicBezTo>
                    <a:pt x="74" y="30"/>
                    <a:pt x="87" y="43"/>
                    <a:pt x="87" y="59"/>
                  </a:cubicBezTo>
                  <a:cubicBezTo>
                    <a:pt x="87" y="76"/>
                    <a:pt x="74" y="89"/>
                    <a:pt x="58" y="89"/>
                  </a:cubicBezTo>
                  <a:cubicBezTo>
                    <a:pt x="41" y="89"/>
                    <a:pt x="28" y="76"/>
                    <a:pt x="28" y="59"/>
                  </a:cubicBezTo>
                  <a:cubicBezTo>
                    <a:pt x="28" y="43"/>
                    <a:pt x="41" y="30"/>
                    <a:pt x="58" y="30"/>
                  </a:cubicBezTo>
                  <a:close/>
                  <a:moveTo>
                    <a:pt x="143" y="31"/>
                  </a:moveTo>
                  <a:cubicBezTo>
                    <a:pt x="153" y="31"/>
                    <a:pt x="162" y="39"/>
                    <a:pt x="162" y="49"/>
                  </a:cubicBezTo>
                  <a:cubicBezTo>
                    <a:pt x="162" y="59"/>
                    <a:pt x="153" y="67"/>
                    <a:pt x="143" y="67"/>
                  </a:cubicBezTo>
                  <a:cubicBezTo>
                    <a:pt x="133" y="67"/>
                    <a:pt x="125" y="59"/>
                    <a:pt x="125" y="49"/>
                  </a:cubicBezTo>
                  <a:cubicBezTo>
                    <a:pt x="125" y="39"/>
                    <a:pt x="133" y="31"/>
                    <a:pt x="143" y="31"/>
                  </a:cubicBezTo>
                  <a:close/>
                  <a:moveTo>
                    <a:pt x="16" y="38"/>
                  </a:moveTo>
                  <a:cubicBezTo>
                    <a:pt x="15" y="38"/>
                    <a:pt x="9" y="47"/>
                    <a:pt x="4" y="61"/>
                  </a:cubicBezTo>
                  <a:cubicBezTo>
                    <a:pt x="0" y="71"/>
                    <a:pt x="0" y="87"/>
                    <a:pt x="0" y="87"/>
                  </a:cubicBezTo>
                  <a:lnTo>
                    <a:pt x="0" y="87"/>
                  </a:lnTo>
                  <a:cubicBezTo>
                    <a:pt x="0" y="90"/>
                    <a:pt x="0" y="94"/>
                    <a:pt x="1" y="97"/>
                  </a:cubicBezTo>
                  <a:lnTo>
                    <a:pt x="1" y="97"/>
                  </a:lnTo>
                  <a:lnTo>
                    <a:pt x="1" y="99"/>
                  </a:lnTo>
                  <a:cubicBezTo>
                    <a:pt x="1" y="101"/>
                    <a:pt x="2" y="104"/>
                    <a:pt x="2" y="106"/>
                  </a:cubicBezTo>
                  <a:cubicBezTo>
                    <a:pt x="10" y="108"/>
                    <a:pt x="53" y="118"/>
                    <a:pt x="102" y="111"/>
                  </a:cubicBezTo>
                  <a:cubicBezTo>
                    <a:pt x="132" y="107"/>
                    <a:pt x="155" y="98"/>
                    <a:pt x="169" y="91"/>
                  </a:cubicBezTo>
                  <a:cubicBezTo>
                    <a:pt x="181" y="86"/>
                    <a:pt x="189" y="80"/>
                    <a:pt x="191" y="78"/>
                  </a:cubicBezTo>
                  <a:cubicBezTo>
                    <a:pt x="189" y="68"/>
                    <a:pt x="181" y="51"/>
                    <a:pt x="173" y="40"/>
                  </a:cubicBezTo>
                  <a:cubicBezTo>
                    <a:pt x="152" y="11"/>
                    <a:pt x="130" y="3"/>
                    <a:pt x="118" y="1"/>
                  </a:cubicBezTo>
                  <a:cubicBezTo>
                    <a:pt x="114" y="0"/>
                    <a:pt x="110" y="0"/>
                    <a:pt x="105" y="0"/>
                  </a:cubicBezTo>
                  <a:cubicBezTo>
                    <a:pt x="101" y="0"/>
                    <a:pt x="95" y="0"/>
                    <a:pt x="87" y="1"/>
                  </a:cubicBezTo>
                  <a:cubicBezTo>
                    <a:pt x="80" y="2"/>
                    <a:pt x="71" y="4"/>
                    <a:pt x="61" y="7"/>
                  </a:cubicBezTo>
                  <a:cubicBezTo>
                    <a:pt x="47" y="12"/>
                    <a:pt x="34" y="19"/>
                    <a:pt x="24" y="29"/>
                  </a:cubicBezTo>
                  <a:lnTo>
                    <a:pt x="24" y="29"/>
                  </a:lnTo>
                  <a:cubicBezTo>
                    <a:pt x="22" y="30"/>
                    <a:pt x="19" y="33"/>
                    <a:pt x="16" y="3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898790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34699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2" name="Diapositive think-cell" r:id="rId5" imgW="592" imgH="595" progId="TCLayout.ActiveDocument.1">
                  <p:embed/>
                </p:oleObj>
              </mc:Choice>
              <mc:Fallback>
                <p:oleObj name="Diapositive think-cell" r:id="rId5" imgW="592" imgH="595" progId="TCLayout.ActiveDocument.1">
                  <p:embed/>
                  <p:pic>
                    <p:nvPicPr>
                      <p:cNvPr id="5" name="Obje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62" b="23097"/>
          <a:stretch/>
        </p:blipFill>
        <p:spPr>
          <a:xfrm>
            <a:off x="0" y="1442153"/>
            <a:ext cx="12188698" cy="4290989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 rot="10800000">
            <a:off x="0" y="1442155"/>
            <a:ext cx="12192000" cy="4290987"/>
          </a:xfrm>
          <a:prstGeom prst="rect">
            <a:avLst/>
          </a:prstGeom>
          <a:solidFill>
            <a:schemeClr val="accent2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0" name="Rectangle 529"/>
          <p:cNvSpPr/>
          <p:nvPr/>
        </p:nvSpPr>
        <p:spPr>
          <a:xfrm>
            <a:off x="334963" y="206624"/>
            <a:ext cx="1159351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What does it do?  - Make it simple to use through the best technology – QR Codes </a:t>
            </a:r>
          </a:p>
        </p:txBody>
      </p:sp>
      <p:pic>
        <p:nvPicPr>
          <p:cNvPr id="23" name="Image 2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982373"/>
            <a:ext cx="1174243" cy="542252"/>
          </a:xfrm>
          <a:prstGeom prst="rect">
            <a:avLst/>
          </a:prstGeom>
        </p:spPr>
      </p:pic>
      <p:sp>
        <p:nvSpPr>
          <p:cNvPr id="24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rgbClr val="A136A0"/>
                </a:solidFill>
                <a:latin typeface="Lato Medium"/>
                <a:ea typeface="Lato Medium"/>
                <a:cs typeface="Lato Medium"/>
              </a:rPr>
              <a:t>be-safetech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.c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</a:t>
            </a:r>
            <a:r>
              <a:rPr lang="en-US" b="1" dirty="0">
                <a:solidFill>
                  <a:srgbClr val="FEC232"/>
                </a:solidFill>
                <a:latin typeface="Montserrat"/>
              </a:rPr>
              <a:t>| </a:t>
            </a:r>
            <a:fld id="{DABD2AA5-CABB-4467-8A69-C511B00C377E}" type="slidenum">
              <a:rPr lang="en-US" b="1" dirty="0" smtClean="0">
                <a:solidFill>
                  <a:srgbClr val="A136A0"/>
                </a:solidFill>
                <a:latin typeface="Montserrat"/>
              </a:rPr>
              <a:pPr algn="l" rtl="1"/>
              <a:t>13</a:t>
            </a:fld>
            <a:endParaRPr lang="en-US" b="1" dirty="0">
              <a:solidFill>
                <a:srgbClr val="A136A0"/>
              </a:solidFill>
              <a:latin typeface="Montserra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A7B630F-898C-4F9C-A970-53A8E920BFF2}"/>
              </a:ext>
            </a:extLst>
          </p:cNvPr>
          <p:cNvSpPr/>
          <p:nvPr/>
        </p:nvSpPr>
        <p:spPr>
          <a:xfrm>
            <a:off x="5183997" y="1680267"/>
            <a:ext cx="6744477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067"/>
              </a:spcAft>
              <a:buSzPct val="100000"/>
              <a:buBlip>
                <a:blip r:embed="rId9"/>
              </a:buBlip>
            </a:pPr>
            <a:r>
              <a:rPr lang="en-GB" sz="160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Be Safe use QR Codes through the whole of its platform allowing </a:t>
            </a:r>
          </a:p>
          <a:p>
            <a:pPr marL="380990" indent="-380990">
              <a:spcAft>
                <a:spcPts val="1067"/>
              </a:spcAft>
              <a:buSzPct val="100000"/>
              <a:buBlip>
                <a:blip r:embed="rId9"/>
              </a:buBlip>
            </a:pPr>
            <a:r>
              <a:rPr lang="en-GB" sz="160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Simple sign on  </a:t>
            </a:r>
          </a:p>
          <a:p>
            <a:pPr marL="380990" indent="-380990">
              <a:spcAft>
                <a:spcPts val="1067"/>
              </a:spcAft>
              <a:buSzPct val="100000"/>
              <a:buBlip>
                <a:blip r:embed="rId9"/>
              </a:buBlip>
            </a:pPr>
            <a:r>
              <a:rPr lang="en-GB" sz="160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Fast access to equipment - just scan the QR and you will be identified and allowed access (assuming your profile allows access)</a:t>
            </a:r>
          </a:p>
          <a:p>
            <a:pPr marL="380990" indent="-380990">
              <a:spcAft>
                <a:spcPts val="1067"/>
              </a:spcAft>
              <a:buSzPct val="100000"/>
              <a:buBlip>
                <a:blip r:embed="rId9"/>
              </a:buBlip>
            </a:pPr>
            <a:r>
              <a:rPr lang="en-GB" sz="160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Check the validity of equipment – scan the QR and you will be provided the history and maintainability of a machine, tool, or device</a:t>
            </a:r>
          </a:p>
          <a:p>
            <a:pPr marL="380990" indent="-380990">
              <a:spcAft>
                <a:spcPts val="1067"/>
              </a:spcAft>
              <a:buSzPct val="100000"/>
              <a:buBlip>
                <a:blip r:embed="rId9"/>
              </a:buBlip>
            </a:pPr>
            <a:r>
              <a:rPr lang="en-GB" sz="160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Need to track HAVS – scan the QR on a device and this will evoke the HAV’s virtual calculator for your profile </a:t>
            </a:r>
          </a:p>
          <a:p>
            <a:pPr marL="380990" indent="-380990">
              <a:spcAft>
                <a:spcPts val="1067"/>
              </a:spcAft>
              <a:buSzPct val="100000"/>
              <a:buBlip>
                <a:blip r:embed="rId9"/>
              </a:buBlip>
            </a:pPr>
            <a:r>
              <a:rPr lang="en-GB" sz="160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ll QR Code data is stored to enable The Compliance Genie™ to produce management data</a:t>
            </a:r>
          </a:p>
          <a:p>
            <a:pPr marL="380990" indent="-380990">
              <a:spcAft>
                <a:spcPts val="1067"/>
              </a:spcAft>
              <a:buSzPct val="100000"/>
              <a:buBlip>
                <a:blip r:embed="rId9"/>
              </a:buBlip>
            </a:pPr>
            <a:r>
              <a:rPr lang="en-GB" sz="160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Our QR Code technology has countless potential functionalities </a:t>
            </a:r>
          </a:p>
        </p:txBody>
      </p:sp>
      <p:grpSp>
        <p:nvGrpSpPr>
          <p:cNvPr id="127" name="Groupe 126"/>
          <p:cNvGrpSpPr/>
          <p:nvPr/>
        </p:nvGrpSpPr>
        <p:grpSpPr>
          <a:xfrm>
            <a:off x="1350328" y="1333268"/>
            <a:ext cx="2246312" cy="4508757"/>
            <a:chOff x="4764088" y="1468438"/>
            <a:chExt cx="2652712" cy="5324475"/>
          </a:xfrm>
        </p:grpSpPr>
        <p:sp>
          <p:nvSpPr>
            <p:cNvPr id="128" name="Rectangle 127"/>
            <p:cNvSpPr/>
            <p:nvPr/>
          </p:nvSpPr>
          <p:spPr>
            <a:xfrm>
              <a:off x="4921250" y="1788886"/>
              <a:ext cx="2357438" cy="4887685"/>
            </a:xfrm>
            <a:prstGeom prst="rect">
              <a:avLst/>
            </a:prstGeom>
            <a:gradFill>
              <a:gsLst>
                <a:gs pos="100000">
                  <a:srgbClr val="A136A0"/>
                </a:gs>
                <a:gs pos="0">
                  <a:srgbClr val="7030A0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Rectangle 25"/>
            <p:cNvSpPr>
              <a:spLocks noChangeArrowheads="1"/>
            </p:cNvSpPr>
            <p:nvPr/>
          </p:nvSpPr>
          <p:spPr bwMode="auto">
            <a:xfrm>
              <a:off x="4921250" y="1577975"/>
              <a:ext cx="2357438" cy="304800"/>
            </a:xfrm>
            <a:prstGeom prst="rect">
              <a:avLst/>
            </a:prstGeom>
            <a:solidFill>
              <a:srgbClr val="161A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26"/>
            <p:cNvSpPr>
              <a:spLocks/>
            </p:cNvSpPr>
            <p:nvPr/>
          </p:nvSpPr>
          <p:spPr bwMode="auto">
            <a:xfrm>
              <a:off x="7315200" y="2719388"/>
              <a:ext cx="101600" cy="633413"/>
            </a:xfrm>
            <a:custGeom>
              <a:avLst/>
              <a:gdLst>
                <a:gd name="T0" fmla="*/ 213 w 297"/>
                <a:gd name="T1" fmla="*/ 0 h 1850"/>
                <a:gd name="T2" fmla="*/ 0 w 297"/>
                <a:gd name="T3" fmla="*/ 0 h 1850"/>
                <a:gd name="T4" fmla="*/ 0 w 297"/>
                <a:gd name="T5" fmla="*/ 1850 h 1850"/>
                <a:gd name="T6" fmla="*/ 213 w 297"/>
                <a:gd name="T7" fmla="*/ 1850 h 1850"/>
                <a:gd name="T8" fmla="*/ 297 w 297"/>
                <a:gd name="T9" fmla="*/ 1766 h 1850"/>
                <a:gd name="T10" fmla="*/ 297 w 297"/>
                <a:gd name="T11" fmla="*/ 84 h 1850"/>
                <a:gd name="T12" fmla="*/ 213 w 297"/>
                <a:gd name="T13" fmla="*/ 0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7" h="1850">
                  <a:moveTo>
                    <a:pt x="213" y="0"/>
                  </a:moveTo>
                  <a:lnTo>
                    <a:pt x="0" y="0"/>
                  </a:lnTo>
                  <a:lnTo>
                    <a:pt x="0" y="1850"/>
                  </a:lnTo>
                  <a:lnTo>
                    <a:pt x="213" y="1850"/>
                  </a:lnTo>
                  <a:cubicBezTo>
                    <a:pt x="259" y="1850"/>
                    <a:pt x="297" y="1813"/>
                    <a:pt x="297" y="1766"/>
                  </a:cubicBezTo>
                  <a:lnTo>
                    <a:pt x="297" y="84"/>
                  </a:lnTo>
                  <a:cubicBezTo>
                    <a:pt x="297" y="38"/>
                    <a:pt x="259" y="0"/>
                    <a:pt x="213" y="0"/>
                  </a:cubicBezTo>
                  <a:close/>
                </a:path>
              </a:pathLst>
            </a:custGeom>
            <a:solidFill>
              <a:srgbClr val="161A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27"/>
            <p:cNvSpPr>
              <a:spLocks/>
            </p:cNvSpPr>
            <p:nvPr/>
          </p:nvSpPr>
          <p:spPr bwMode="auto">
            <a:xfrm>
              <a:off x="4764088" y="3078163"/>
              <a:ext cx="101600" cy="376238"/>
            </a:xfrm>
            <a:custGeom>
              <a:avLst/>
              <a:gdLst>
                <a:gd name="T0" fmla="*/ 84 w 297"/>
                <a:gd name="T1" fmla="*/ 0 h 1099"/>
                <a:gd name="T2" fmla="*/ 297 w 297"/>
                <a:gd name="T3" fmla="*/ 0 h 1099"/>
                <a:gd name="T4" fmla="*/ 297 w 297"/>
                <a:gd name="T5" fmla="*/ 1099 h 1099"/>
                <a:gd name="T6" fmla="*/ 84 w 297"/>
                <a:gd name="T7" fmla="*/ 1099 h 1099"/>
                <a:gd name="T8" fmla="*/ 0 w 297"/>
                <a:gd name="T9" fmla="*/ 1015 h 1099"/>
                <a:gd name="T10" fmla="*/ 0 w 297"/>
                <a:gd name="T11" fmla="*/ 85 h 1099"/>
                <a:gd name="T12" fmla="*/ 84 w 297"/>
                <a:gd name="T13" fmla="*/ 0 h 10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7" h="1099">
                  <a:moveTo>
                    <a:pt x="84" y="0"/>
                  </a:moveTo>
                  <a:lnTo>
                    <a:pt x="297" y="0"/>
                  </a:lnTo>
                  <a:lnTo>
                    <a:pt x="297" y="1099"/>
                  </a:lnTo>
                  <a:lnTo>
                    <a:pt x="84" y="1099"/>
                  </a:lnTo>
                  <a:cubicBezTo>
                    <a:pt x="38" y="1099"/>
                    <a:pt x="0" y="1061"/>
                    <a:pt x="0" y="1015"/>
                  </a:cubicBezTo>
                  <a:lnTo>
                    <a:pt x="0" y="85"/>
                  </a:lnTo>
                  <a:cubicBezTo>
                    <a:pt x="0" y="38"/>
                    <a:pt x="38" y="0"/>
                    <a:pt x="84" y="0"/>
                  </a:cubicBezTo>
                </a:path>
              </a:pathLst>
            </a:custGeom>
            <a:solidFill>
              <a:srgbClr val="161A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28"/>
            <p:cNvSpPr>
              <a:spLocks/>
            </p:cNvSpPr>
            <p:nvPr/>
          </p:nvSpPr>
          <p:spPr bwMode="auto">
            <a:xfrm>
              <a:off x="4764088" y="2568575"/>
              <a:ext cx="101600" cy="376238"/>
            </a:xfrm>
            <a:custGeom>
              <a:avLst/>
              <a:gdLst>
                <a:gd name="T0" fmla="*/ 84 w 297"/>
                <a:gd name="T1" fmla="*/ 0 h 1098"/>
                <a:gd name="T2" fmla="*/ 297 w 297"/>
                <a:gd name="T3" fmla="*/ 0 h 1098"/>
                <a:gd name="T4" fmla="*/ 297 w 297"/>
                <a:gd name="T5" fmla="*/ 1098 h 1098"/>
                <a:gd name="T6" fmla="*/ 84 w 297"/>
                <a:gd name="T7" fmla="*/ 1098 h 1098"/>
                <a:gd name="T8" fmla="*/ 0 w 297"/>
                <a:gd name="T9" fmla="*/ 1014 h 1098"/>
                <a:gd name="T10" fmla="*/ 0 w 297"/>
                <a:gd name="T11" fmla="*/ 84 h 1098"/>
                <a:gd name="T12" fmla="*/ 84 w 297"/>
                <a:gd name="T13" fmla="*/ 0 h 1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7" h="1098">
                  <a:moveTo>
                    <a:pt x="84" y="0"/>
                  </a:moveTo>
                  <a:lnTo>
                    <a:pt x="297" y="0"/>
                  </a:lnTo>
                  <a:lnTo>
                    <a:pt x="297" y="1098"/>
                  </a:lnTo>
                  <a:lnTo>
                    <a:pt x="84" y="1098"/>
                  </a:lnTo>
                  <a:cubicBezTo>
                    <a:pt x="38" y="1098"/>
                    <a:pt x="0" y="1061"/>
                    <a:pt x="0" y="1014"/>
                  </a:cubicBezTo>
                  <a:lnTo>
                    <a:pt x="0" y="84"/>
                  </a:lnTo>
                  <a:cubicBezTo>
                    <a:pt x="0" y="37"/>
                    <a:pt x="38" y="0"/>
                    <a:pt x="84" y="0"/>
                  </a:cubicBezTo>
                </a:path>
              </a:pathLst>
            </a:custGeom>
            <a:solidFill>
              <a:srgbClr val="161A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29"/>
            <p:cNvSpPr>
              <a:spLocks/>
            </p:cNvSpPr>
            <p:nvPr/>
          </p:nvSpPr>
          <p:spPr bwMode="auto">
            <a:xfrm>
              <a:off x="4775200" y="2192338"/>
              <a:ext cx="103188" cy="198438"/>
            </a:xfrm>
            <a:custGeom>
              <a:avLst/>
              <a:gdLst>
                <a:gd name="T0" fmla="*/ 85 w 297"/>
                <a:gd name="T1" fmla="*/ 0 h 580"/>
                <a:gd name="T2" fmla="*/ 297 w 297"/>
                <a:gd name="T3" fmla="*/ 0 h 580"/>
                <a:gd name="T4" fmla="*/ 297 w 297"/>
                <a:gd name="T5" fmla="*/ 580 h 580"/>
                <a:gd name="T6" fmla="*/ 85 w 297"/>
                <a:gd name="T7" fmla="*/ 580 h 580"/>
                <a:gd name="T8" fmla="*/ 0 w 297"/>
                <a:gd name="T9" fmla="*/ 495 h 580"/>
                <a:gd name="T10" fmla="*/ 0 w 297"/>
                <a:gd name="T11" fmla="*/ 84 h 580"/>
                <a:gd name="T12" fmla="*/ 85 w 297"/>
                <a:gd name="T13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7" h="580">
                  <a:moveTo>
                    <a:pt x="85" y="0"/>
                  </a:moveTo>
                  <a:lnTo>
                    <a:pt x="297" y="0"/>
                  </a:lnTo>
                  <a:lnTo>
                    <a:pt x="297" y="580"/>
                  </a:lnTo>
                  <a:lnTo>
                    <a:pt x="85" y="580"/>
                  </a:lnTo>
                  <a:cubicBezTo>
                    <a:pt x="38" y="580"/>
                    <a:pt x="0" y="542"/>
                    <a:pt x="0" y="495"/>
                  </a:cubicBezTo>
                  <a:lnTo>
                    <a:pt x="0" y="84"/>
                  </a:lnTo>
                  <a:cubicBezTo>
                    <a:pt x="0" y="38"/>
                    <a:pt x="38" y="0"/>
                    <a:pt x="85" y="0"/>
                  </a:cubicBezTo>
                  <a:close/>
                </a:path>
              </a:pathLst>
            </a:custGeom>
            <a:solidFill>
              <a:srgbClr val="161A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0"/>
            <p:cNvSpPr>
              <a:spLocks noChangeArrowheads="1"/>
            </p:cNvSpPr>
            <p:nvPr/>
          </p:nvSpPr>
          <p:spPr bwMode="auto">
            <a:xfrm>
              <a:off x="5464175" y="1565275"/>
              <a:ext cx="1257300" cy="23813"/>
            </a:xfrm>
            <a:prstGeom prst="rect">
              <a:avLst/>
            </a:prstGeom>
            <a:solidFill>
              <a:srgbClr val="161A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5"/>
            <p:cNvSpPr>
              <a:spLocks noEditPoints="1"/>
            </p:cNvSpPr>
            <p:nvPr/>
          </p:nvSpPr>
          <p:spPr bwMode="auto">
            <a:xfrm>
              <a:off x="4800600" y="4848225"/>
              <a:ext cx="2584450" cy="430213"/>
            </a:xfrm>
            <a:custGeom>
              <a:avLst/>
              <a:gdLst>
                <a:gd name="T0" fmla="*/ 7548 w 7548"/>
                <a:gd name="T1" fmla="*/ 1255 h 1255"/>
                <a:gd name="T2" fmla="*/ 7200 w 7548"/>
                <a:gd name="T3" fmla="*/ 1255 h 1255"/>
                <a:gd name="T4" fmla="*/ 7200 w 7548"/>
                <a:gd name="T5" fmla="*/ 12 h 1255"/>
                <a:gd name="T6" fmla="*/ 7548 w 7548"/>
                <a:gd name="T7" fmla="*/ 12 h 1255"/>
                <a:gd name="T8" fmla="*/ 7548 w 7548"/>
                <a:gd name="T9" fmla="*/ 1255 h 1255"/>
                <a:gd name="T10" fmla="*/ 347 w 7548"/>
                <a:gd name="T11" fmla="*/ 1244 h 1255"/>
                <a:gd name="T12" fmla="*/ 0 w 7548"/>
                <a:gd name="T13" fmla="*/ 1243 h 1255"/>
                <a:gd name="T14" fmla="*/ 0 w 7548"/>
                <a:gd name="T15" fmla="*/ 0 h 1255"/>
                <a:gd name="T16" fmla="*/ 347 w 7548"/>
                <a:gd name="T17" fmla="*/ 0 h 1255"/>
                <a:gd name="T18" fmla="*/ 347 w 7548"/>
                <a:gd name="T19" fmla="*/ 1244 h 1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48" h="1255">
                  <a:moveTo>
                    <a:pt x="7548" y="1255"/>
                  </a:moveTo>
                  <a:lnTo>
                    <a:pt x="7200" y="1255"/>
                  </a:lnTo>
                  <a:lnTo>
                    <a:pt x="7200" y="12"/>
                  </a:lnTo>
                  <a:lnTo>
                    <a:pt x="7548" y="12"/>
                  </a:lnTo>
                  <a:lnTo>
                    <a:pt x="7548" y="1255"/>
                  </a:lnTo>
                  <a:moveTo>
                    <a:pt x="347" y="1244"/>
                  </a:moveTo>
                  <a:lnTo>
                    <a:pt x="0" y="1243"/>
                  </a:lnTo>
                  <a:lnTo>
                    <a:pt x="0" y="0"/>
                  </a:lnTo>
                  <a:lnTo>
                    <a:pt x="347" y="0"/>
                  </a:lnTo>
                  <a:lnTo>
                    <a:pt x="347" y="1244"/>
                  </a:lnTo>
                  <a:close/>
                </a:path>
              </a:pathLst>
            </a:custGeom>
            <a:solidFill>
              <a:srgbClr val="161A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1"/>
            <p:cNvSpPr>
              <a:spLocks noEditPoints="1"/>
            </p:cNvSpPr>
            <p:nvPr/>
          </p:nvSpPr>
          <p:spPr bwMode="auto">
            <a:xfrm>
              <a:off x="4800600" y="1468438"/>
              <a:ext cx="2584450" cy="5324475"/>
            </a:xfrm>
            <a:custGeom>
              <a:avLst/>
              <a:gdLst>
                <a:gd name="T0" fmla="*/ 7195 w 7548"/>
                <a:gd name="T1" fmla="*/ 14536 h 15549"/>
                <a:gd name="T2" fmla="*/ 6535 w 7548"/>
                <a:gd name="T3" fmla="*/ 15196 h 15549"/>
                <a:gd name="T4" fmla="*/ 1012 w 7548"/>
                <a:gd name="T5" fmla="*/ 15196 h 15549"/>
                <a:gd name="T6" fmla="*/ 353 w 7548"/>
                <a:gd name="T7" fmla="*/ 14536 h 15549"/>
                <a:gd name="T8" fmla="*/ 353 w 7548"/>
                <a:gd name="T9" fmla="*/ 1013 h 15549"/>
                <a:gd name="T10" fmla="*/ 1012 w 7548"/>
                <a:gd name="T11" fmla="*/ 353 h 15549"/>
                <a:gd name="T12" fmla="*/ 1719 w 7548"/>
                <a:gd name="T13" fmla="*/ 353 h 15549"/>
                <a:gd name="T14" fmla="*/ 1869 w 7548"/>
                <a:gd name="T15" fmla="*/ 413 h 15549"/>
                <a:gd name="T16" fmla="*/ 5678 w 7548"/>
                <a:gd name="T17" fmla="*/ 413 h 15549"/>
                <a:gd name="T18" fmla="*/ 5828 w 7548"/>
                <a:gd name="T19" fmla="*/ 353 h 15549"/>
                <a:gd name="T20" fmla="*/ 6535 w 7548"/>
                <a:gd name="T21" fmla="*/ 353 h 15549"/>
                <a:gd name="T22" fmla="*/ 7195 w 7548"/>
                <a:gd name="T23" fmla="*/ 1013 h 15549"/>
                <a:gd name="T24" fmla="*/ 7195 w 7548"/>
                <a:gd name="T25" fmla="*/ 14536 h 15549"/>
                <a:gd name="T26" fmla="*/ 6535 w 7548"/>
                <a:gd name="T27" fmla="*/ 0 h 15549"/>
                <a:gd name="T28" fmla="*/ 1012 w 7548"/>
                <a:gd name="T29" fmla="*/ 0 h 15549"/>
                <a:gd name="T30" fmla="*/ 0 w 7548"/>
                <a:gd name="T31" fmla="*/ 1013 h 15549"/>
                <a:gd name="T32" fmla="*/ 0 w 7548"/>
                <a:gd name="T33" fmla="*/ 14536 h 15549"/>
                <a:gd name="T34" fmla="*/ 1012 w 7548"/>
                <a:gd name="T35" fmla="*/ 15549 h 15549"/>
                <a:gd name="T36" fmla="*/ 6535 w 7548"/>
                <a:gd name="T37" fmla="*/ 15549 h 15549"/>
                <a:gd name="T38" fmla="*/ 7548 w 7548"/>
                <a:gd name="T39" fmla="*/ 14536 h 15549"/>
                <a:gd name="T40" fmla="*/ 7548 w 7548"/>
                <a:gd name="T41" fmla="*/ 1013 h 15549"/>
                <a:gd name="T42" fmla="*/ 6535 w 7548"/>
                <a:gd name="T43" fmla="*/ 0 h 15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48" h="15549">
                  <a:moveTo>
                    <a:pt x="7195" y="14536"/>
                  </a:moveTo>
                  <a:cubicBezTo>
                    <a:pt x="7195" y="14900"/>
                    <a:pt x="6899" y="15196"/>
                    <a:pt x="6535" y="15196"/>
                  </a:cubicBezTo>
                  <a:lnTo>
                    <a:pt x="1012" y="15196"/>
                  </a:lnTo>
                  <a:cubicBezTo>
                    <a:pt x="648" y="15196"/>
                    <a:pt x="353" y="14900"/>
                    <a:pt x="353" y="14536"/>
                  </a:cubicBezTo>
                  <a:lnTo>
                    <a:pt x="353" y="1013"/>
                  </a:lnTo>
                  <a:cubicBezTo>
                    <a:pt x="353" y="649"/>
                    <a:pt x="648" y="353"/>
                    <a:pt x="1012" y="353"/>
                  </a:cubicBezTo>
                  <a:lnTo>
                    <a:pt x="1719" y="353"/>
                  </a:lnTo>
                  <a:cubicBezTo>
                    <a:pt x="1778" y="353"/>
                    <a:pt x="1830" y="376"/>
                    <a:pt x="1869" y="413"/>
                  </a:cubicBezTo>
                  <a:lnTo>
                    <a:pt x="5678" y="413"/>
                  </a:lnTo>
                  <a:cubicBezTo>
                    <a:pt x="5717" y="376"/>
                    <a:pt x="5770" y="353"/>
                    <a:pt x="5828" y="353"/>
                  </a:cubicBezTo>
                  <a:lnTo>
                    <a:pt x="6535" y="353"/>
                  </a:lnTo>
                  <a:cubicBezTo>
                    <a:pt x="6899" y="353"/>
                    <a:pt x="7195" y="649"/>
                    <a:pt x="7195" y="1013"/>
                  </a:cubicBezTo>
                  <a:lnTo>
                    <a:pt x="7195" y="14536"/>
                  </a:lnTo>
                  <a:close/>
                  <a:moveTo>
                    <a:pt x="6535" y="0"/>
                  </a:moveTo>
                  <a:lnTo>
                    <a:pt x="1012" y="0"/>
                  </a:lnTo>
                  <a:cubicBezTo>
                    <a:pt x="454" y="0"/>
                    <a:pt x="0" y="454"/>
                    <a:pt x="0" y="1013"/>
                  </a:cubicBezTo>
                  <a:lnTo>
                    <a:pt x="0" y="14536"/>
                  </a:lnTo>
                  <a:cubicBezTo>
                    <a:pt x="0" y="15094"/>
                    <a:pt x="454" y="15549"/>
                    <a:pt x="1012" y="15549"/>
                  </a:cubicBezTo>
                  <a:lnTo>
                    <a:pt x="6535" y="15549"/>
                  </a:lnTo>
                  <a:cubicBezTo>
                    <a:pt x="7093" y="15549"/>
                    <a:pt x="7548" y="15094"/>
                    <a:pt x="7548" y="14536"/>
                  </a:cubicBezTo>
                  <a:lnTo>
                    <a:pt x="7548" y="1013"/>
                  </a:lnTo>
                  <a:cubicBezTo>
                    <a:pt x="7548" y="454"/>
                    <a:pt x="7093" y="0"/>
                    <a:pt x="6535" y="0"/>
                  </a:cubicBezTo>
                  <a:close/>
                </a:path>
              </a:pathLst>
            </a:custGeom>
            <a:solidFill>
              <a:srgbClr val="161A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49"/>
            <p:cNvSpPr>
              <a:spLocks/>
            </p:cNvSpPr>
            <p:nvPr/>
          </p:nvSpPr>
          <p:spPr bwMode="auto">
            <a:xfrm>
              <a:off x="5235575" y="2570163"/>
              <a:ext cx="487363" cy="495300"/>
            </a:xfrm>
            <a:custGeom>
              <a:avLst/>
              <a:gdLst>
                <a:gd name="T0" fmla="*/ 1357 w 1424"/>
                <a:gd name="T1" fmla="*/ 1 h 1446"/>
                <a:gd name="T2" fmla="*/ 1329 w 1424"/>
                <a:gd name="T3" fmla="*/ 0 h 1446"/>
                <a:gd name="T4" fmla="*/ 591 w 1424"/>
                <a:gd name="T5" fmla="*/ 0 h 1446"/>
                <a:gd name="T6" fmla="*/ 411 w 1424"/>
                <a:gd name="T7" fmla="*/ 28 h 1446"/>
                <a:gd name="T8" fmla="*/ 1 w 1424"/>
                <a:gd name="T9" fmla="*/ 608 h 1446"/>
                <a:gd name="T10" fmla="*/ 0 w 1424"/>
                <a:gd name="T11" fmla="*/ 947 h 1446"/>
                <a:gd name="T12" fmla="*/ 1 w 1424"/>
                <a:gd name="T13" fmla="*/ 947 h 1446"/>
                <a:gd name="T14" fmla="*/ 1 w 1424"/>
                <a:gd name="T15" fmla="*/ 1337 h 1446"/>
                <a:gd name="T16" fmla="*/ 7 w 1424"/>
                <a:gd name="T17" fmla="*/ 1388 h 1446"/>
                <a:gd name="T18" fmla="*/ 90 w 1424"/>
                <a:gd name="T19" fmla="*/ 1442 h 1446"/>
                <a:gd name="T20" fmla="*/ 158 w 1424"/>
                <a:gd name="T21" fmla="*/ 1375 h 1446"/>
                <a:gd name="T22" fmla="*/ 159 w 1424"/>
                <a:gd name="T23" fmla="*/ 1328 h 1446"/>
                <a:gd name="T24" fmla="*/ 160 w 1424"/>
                <a:gd name="T25" fmla="*/ 608 h 1446"/>
                <a:gd name="T26" fmla="*/ 173 w 1424"/>
                <a:gd name="T27" fmla="*/ 492 h 1446"/>
                <a:gd name="T28" fmla="*/ 601 w 1424"/>
                <a:gd name="T29" fmla="*/ 158 h 1446"/>
                <a:gd name="T30" fmla="*/ 1301 w 1424"/>
                <a:gd name="T31" fmla="*/ 158 h 1446"/>
                <a:gd name="T32" fmla="*/ 1362 w 1424"/>
                <a:gd name="T33" fmla="*/ 154 h 1446"/>
                <a:gd name="T34" fmla="*/ 1423 w 1424"/>
                <a:gd name="T35" fmla="*/ 76 h 1446"/>
                <a:gd name="T36" fmla="*/ 1357 w 1424"/>
                <a:gd name="T37" fmla="*/ 1 h 1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24" h="1446">
                  <a:moveTo>
                    <a:pt x="1357" y="1"/>
                  </a:moveTo>
                  <a:cubicBezTo>
                    <a:pt x="1348" y="0"/>
                    <a:pt x="1338" y="0"/>
                    <a:pt x="1329" y="0"/>
                  </a:cubicBezTo>
                  <a:cubicBezTo>
                    <a:pt x="1083" y="0"/>
                    <a:pt x="837" y="0"/>
                    <a:pt x="591" y="0"/>
                  </a:cubicBezTo>
                  <a:cubicBezTo>
                    <a:pt x="530" y="0"/>
                    <a:pt x="469" y="9"/>
                    <a:pt x="411" y="28"/>
                  </a:cubicBezTo>
                  <a:cubicBezTo>
                    <a:pt x="160" y="112"/>
                    <a:pt x="2" y="335"/>
                    <a:pt x="1" y="608"/>
                  </a:cubicBezTo>
                  <a:cubicBezTo>
                    <a:pt x="0" y="721"/>
                    <a:pt x="0" y="834"/>
                    <a:pt x="0" y="947"/>
                  </a:cubicBezTo>
                  <a:lnTo>
                    <a:pt x="1" y="947"/>
                  </a:lnTo>
                  <a:cubicBezTo>
                    <a:pt x="1" y="1077"/>
                    <a:pt x="0" y="1207"/>
                    <a:pt x="1" y="1337"/>
                  </a:cubicBezTo>
                  <a:cubicBezTo>
                    <a:pt x="1" y="1354"/>
                    <a:pt x="2" y="1372"/>
                    <a:pt x="7" y="1388"/>
                  </a:cubicBezTo>
                  <a:cubicBezTo>
                    <a:pt x="17" y="1425"/>
                    <a:pt x="52" y="1446"/>
                    <a:pt x="90" y="1442"/>
                  </a:cubicBezTo>
                  <a:cubicBezTo>
                    <a:pt x="126" y="1438"/>
                    <a:pt x="154" y="1411"/>
                    <a:pt x="158" y="1375"/>
                  </a:cubicBezTo>
                  <a:cubicBezTo>
                    <a:pt x="160" y="1359"/>
                    <a:pt x="159" y="1343"/>
                    <a:pt x="159" y="1328"/>
                  </a:cubicBezTo>
                  <a:cubicBezTo>
                    <a:pt x="159" y="1088"/>
                    <a:pt x="159" y="848"/>
                    <a:pt x="160" y="608"/>
                  </a:cubicBezTo>
                  <a:cubicBezTo>
                    <a:pt x="160" y="569"/>
                    <a:pt x="164" y="530"/>
                    <a:pt x="173" y="492"/>
                  </a:cubicBezTo>
                  <a:cubicBezTo>
                    <a:pt x="221" y="291"/>
                    <a:pt x="392" y="159"/>
                    <a:pt x="601" y="158"/>
                  </a:cubicBezTo>
                  <a:cubicBezTo>
                    <a:pt x="834" y="157"/>
                    <a:pt x="1068" y="158"/>
                    <a:pt x="1301" y="158"/>
                  </a:cubicBezTo>
                  <a:cubicBezTo>
                    <a:pt x="1322" y="158"/>
                    <a:pt x="1342" y="158"/>
                    <a:pt x="1362" y="154"/>
                  </a:cubicBezTo>
                  <a:cubicBezTo>
                    <a:pt x="1400" y="146"/>
                    <a:pt x="1424" y="114"/>
                    <a:pt x="1423" y="76"/>
                  </a:cubicBezTo>
                  <a:cubicBezTo>
                    <a:pt x="1421" y="37"/>
                    <a:pt x="1396" y="7"/>
                    <a:pt x="1357" y="1"/>
                  </a:cubicBezTo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50"/>
            <p:cNvSpPr>
              <a:spLocks/>
            </p:cNvSpPr>
            <p:nvPr/>
          </p:nvSpPr>
          <p:spPr bwMode="auto">
            <a:xfrm>
              <a:off x="6500813" y="2568575"/>
              <a:ext cx="444500" cy="496888"/>
            </a:xfrm>
            <a:custGeom>
              <a:avLst/>
              <a:gdLst>
                <a:gd name="T0" fmla="*/ 1159 w 1298"/>
                <a:gd name="T1" fmla="*/ 215 h 1448"/>
                <a:gd name="T2" fmla="*/ 716 w 1298"/>
                <a:gd name="T3" fmla="*/ 2 h 1448"/>
                <a:gd name="T4" fmla="*/ 255 w 1298"/>
                <a:gd name="T5" fmla="*/ 1 h 1448"/>
                <a:gd name="T6" fmla="*/ 81 w 1298"/>
                <a:gd name="T7" fmla="*/ 2 h 1448"/>
                <a:gd name="T8" fmla="*/ 1 w 1298"/>
                <a:gd name="T9" fmla="*/ 78 h 1448"/>
                <a:gd name="T10" fmla="*/ 77 w 1298"/>
                <a:gd name="T11" fmla="*/ 159 h 1448"/>
                <a:gd name="T12" fmla="*/ 114 w 1298"/>
                <a:gd name="T13" fmla="*/ 160 h 1448"/>
                <a:gd name="T14" fmla="*/ 702 w 1298"/>
                <a:gd name="T15" fmla="*/ 160 h 1448"/>
                <a:gd name="T16" fmla="*/ 1050 w 1298"/>
                <a:gd name="T17" fmla="*/ 334 h 1448"/>
                <a:gd name="T18" fmla="*/ 1137 w 1298"/>
                <a:gd name="T19" fmla="*/ 587 h 1448"/>
                <a:gd name="T20" fmla="*/ 1138 w 1298"/>
                <a:gd name="T21" fmla="*/ 1316 h 1448"/>
                <a:gd name="T22" fmla="*/ 1139 w 1298"/>
                <a:gd name="T23" fmla="*/ 1372 h 1448"/>
                <a:gd name="T24" fmla="*/ 1208 w 1298"/>
                <a:gd name="T25" fmla="*/ 1444 h 1448"/>
                <a:gd name="T26" fmla="*/ 1293 w 1298"/>
                <a:gd name="T27" fmla="*/ 1385 h 1448"/>
                <a:gd name="T28" fmla="*/ 1297 w 1298"/>
                <a:gd name="T29" fmla="*/ 1339 h 1448"/>
                <a:gd name="T30" fmla="*/ 1297 w 1298"/>
                <a:gd name="T31" fmla="*/ 963 h 1448"/>
                <a:gd name="T32" fmla="*/ 1297 w 1298"/>
                <a:gd name="T33" fmla="*/ 963 h 1448"/>
                <a:gd name="T34" fmla="*/ 1297 w 1298"/>
                <a:gd name="T35" fmla="*/ 596 h 1448"/>
                <a:gd name="T36" fmla="*/ 1159 w 1298"/>
                <a:gd name="T37" fmla="*/ 215 h 1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98" h="1448">
                  <a:moveTo>
                    <a:pt x="1159" y="215"/>
                  </a:moveTo>
                  <a:cubicBezTo>
                    <a:pt x="1043" y="79"/>
                    <a:pt x="895" y="5"/>
                    <a:pt x="716" y="2"/>
                  </a:cubicBezTo>
                  <a:cubicBezTo>
                    <a:pt x="562" y="0"/>
                    <a:pt x="408" y="1"/>
                    <a:pt x="255" y="1"/>
                  </a:cubicBezTo>
                  <a:cubicBezTo>
                    <a:pt x="197" y="1"/>
                    <a:pt x="139" y="0"/>
                    <a:pt x="81" y="2"/>
                  </a:cubicBezTo>
                  <a:cubicBezTo>
                    <a:pt x="35" y="3"/>
                    <a:pt x="2" y="36"/>
                    <a:pt x="1" y="78"/>
                  </a:cubicBezTo>
                  <a:cubicBezTo>
                    <a:pt x="0" y="120"/>
                    <a:pt x="31" y="154"/>
                    <a:pt x="77" y="159"/>
                  </a:cubicBezTo>
                  <a:cubicBezTo>
                    <a:pt x="89" y="160"/>
                    <a:pt x="102" y="160"/>
                    <a:pt x="114" y="160"/>
                  </a:cubicBezTo>
                  <a:cubicBezTo>
                    <a:pt x="310" y="160"/>
                    <a:pt x="506" y="160"/>
                    <a:pt x="702" y="160"/>
                  </a:cubicBezTo>
                  <a:cubicBezTo>
                    <a:pt x="846" y="161"/>
                    <a:pt x="963" y="220"/>
                    <a:pt x="1050" y="334"/>
                  </a:cubicBezTo>
                  <a:cubicBezTo>
                    <a:pt x="1107" y="408"/>
                    <a:pt x="1137" y="493"/>
                    <a:pt x="1137" y="587"/>
                  </a:cubicBezTo>
                  <a:cubicBezTo>
                    <a:pt x="1138" y="830"/>
                    <a:pt x="1138" y="1073"/>
                    <a:pt x="1138" y="1316"/>
                  </a:cubicBezTo>
                  <a:cubicBezTo>
                    <a:pt x="1138" y="1335"/>
                    <a:pt x="1137" y="1354"/>
                    <a:pt x="1139" y="1372"/>
                  </a:cubicBezTo>
                  <a:cubicBezTo>
                    <a:pt x="1143" y="1411"/>
                    <a:pt x="1171" y="1440"/>
                    <a:pt x="1208" y="1444"/>
                  </a:cubicBezTo>
                  <a:cubicBezTo>
                    <a:pt x="1248" y="1448"/>
                    <a:pt x="1282" y="1425"/>
                    <a:pt x="1293" y="1385"/>
                  </a:cubicBezTo>
                  <a:cubicBezTo>
                    <a:pt x="1297" y="1370"/>
                    <a:pt x="1297" y="1354"/>
                    <a:pt x="1297" y="1339"/>
                  </a:cubicBezTo>
                  <a:cubicBezTo>
                    <a:pt x="1297" y="1213"/>
                    <a:pt x="1297" y="1088"/>
                    <a:pt x="1297" y="963"/>
                  </a:cubicBezTo>
                  <a:lnTo>
                    <a:pt x="1297" y="963"/>
                  </a:lnTo>
                  <a:cubicBezTo>
                    <a:pt x="1297" y="840"/>
                    <a:pt x="1298" y="718"/>
                    <a:pt x="1297" y="596"/>
                  </a:cubicBezTo>
                  <a:cubicBezTo>
                    <a:pt x="1295" y="453"/>
                    <a:pt x="1252" y="324"/>
                    <a:pt x="1159" y="215"/>
                  </a:cubicBezTo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51"/>
            <p:cNvSpPr>
              <a:spLocks/>
            </p:cNvSpPr>
            <p:nvPr/>
          </p:nvSpPr>
          <p:spPr bwMode="auto">
            <a:xfrm>
              <a:off x="5235575" y="3841750"/>
              <a:ext cx="487363" cy="436563"/>
            </a:xfrm>
            <a:custGeom>
              <a:avLst/>
              <a:gdLst>
                <a:gd name="T0" fmla="*/ 1351 w 1424"/>
                <a:gd name="T1" fmla="*/ 1117 h 1276"/>
                <a:gd name="T2" fmla="*/ 1313 w 1424"/>
                <a:gd name="T3" fmla="*/ 1116 h 1276"/>
                <a:gd name="T4" fmla="*/ 589 w 1424"/>
                <a:gd name="T5" fmla="*/ 1115 h 1276"/>
                <a:gd name="T6" fmla="*/ 473 w 1424"/>
                <a:gd name="T7" fmla="*/ 1098 h 1276"/>
                <a:gd name="T8" fmla="*/ 159 w 1424"/>
                <a:gd name="T9" fmla="*/ 677 h 1276"/>
                <a:gd name="T10" fmla="*/ 159 w 1424"/>
                <a:gd name="T11" fmla="*/ 112 h 1276"/>
                <a:gd name="T12" fmla="*/ 159 w 1424"/>
                <a:gd name="T13" fmla="*/ 75 h 1276"/>
                <a:gd name="T14" fmla="*/ 86 w 1424"/>
                <a:gd name="T15" fmla="*/ 3 h 1276"/>
                <a:gd name="T16" fmla="*/ 5 w 1424"/>
                <a:gd name="T17" fmla="*/ 65 h 1276"/>
                <a:gd name="T18" fmla="*/ 1 w 1424"/>
                <a:gd name="T19" fmla="*/ 112 h 1276"/>
                <a:gd name="T20" fmla="*/ 1 w 1424"/>
                <a:gd name="T21" fmla="*/ 662 h 1276"/>
                <a:gd name="T22" fmla="*/ 12 w 1424"/>
                <a:gd name="T23" fmla="*/ 788 h 1276"/>
                <a:gd name="T24" fmla="*/ 602 w 1424"/>
                <a:gd name="T25" fmla="*/ 1275 h 1276"/>
                <a:gd name="T26" fmla="*/ 946 w 1424"/>
                <a:gd name="T27" fmla="*/ 1275 h 1276"/>
                <a:gd name="T28" fmla="*/ 1219 w 1424"/>
                <a:gd name="T29" fmla="*/ 1275 h 1276"/>
                <a:gd name="T30" fmla="*/ 1346 w 1424"/>
                <a:gd name="T31" fmla="*/ 1274 h 1276"/>
                <a:gd name="T32" fmla="*/ 1423 w 1424"/>
                <a:gd name="T33" fmla="*/ 1196 h 1276"/>
                <a:gd name="T34" fmla="*/ 1351 w 1424"/>
                <a:gd name="T35" fmla="*/ 1117 h 1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24" h="1276">
                  <a:moveTo>
                    <a:pt x="1351" y="1117"/>
                  </a:moveTo>
                  <a:cubicBezTo>
                    <a:pt x="1339" y="1115"/>
                    <a:pt x="1326" y="1116"/>
                    <a:pt x="1313" y="1116"/>
                  </a:cubicBezTo>
                  <a:cubicBezTo>
                    <a:pt x="1072" y="1116"/>
                    <a:pt x="830" y="1117"/>
                    <a:pt x="589" y="1115"/>
                  </a:cubicBezTo>
                  <a:cubicBezTo>
                    <a:pt x="550" y="1115"/>
                    <a:pt x="511" y="1109"/>
                    <a:pt x="473" y="1098"/>
                  </a:cubicBezTo>
                  <a:cubicBezTo>
                    <a:pt x="286" y="1044"/>
                    <a:pt x="160" y="876"/>
                    <a:pt x="159" y="677"/>
                  </a:cubicBezTo>
                  <a:cubicBezTo>
                    <a:pt x="158" y="489"/>
                    <a:pt x="159" y="301"/>
                    <a:pt x="159" y="112"/>
                  </a:cubicBezTo>
                  <a:cubicBezTo>
                    <a:pt x="159" y="100"/>
                    <a:pt x="160" y="87"/>
                    <a:pt x="159" y="75"/>
                  </a:cubicBezTo>
                  <a:cubicBezTo>
                    <a:pt x="155" y="33"/>
                    <a:pt x="126" y="5"/>
                    <a:pt x="86" y="3"/>
                  </a:cubicBezTo>
                  <a:cubicBezTo>
                    <a:pt x="45" y="0"/>
                    <a:pt x="13" y="23"/>
                    <a:pt x="5" y="65"/>
                  </a:cubicBezTo>
                  <a:cubicBezTo>
                    <a:pt x="1" y="80"/>
                    <a:pt x="1" y="96"/>
                    <a:pt x="1" y="112"/>
                  </a:cubicBezTo>
                  <a:cubicBezTo>
                    <a:pt x="0" y="295"/>
                    <a:pt x="0" y="479"/>
                    <a:pt x="1" y="662"/>
                  </a:cubicBezTo>
                  <a:cubicBezTo>
                    <a:pt x="1" y="704"/>
                    <a:pt x="4" y="747"/>
                    <a:pt x="12" y="788"/>
                  </a:cubicBezTo>
                  <a:cubicBezTo>
                    <a:pt x="67" y="1077"/>
                    <a:pt x="307" y="1274"/>
                    <a:pt x="602" y="1275"/>
                  </a:cubicBezTo>
                  <a:cubicBezTo>
                    <a:pt x="717" y="1275"/>
                    <a:pt x="831" y="1275"/>
                    <a:pt x="946" y="1275"/>
                  </a:cubicBezTo>
                  <a:cubicBezTo>
                    <a:pt x="1037" y="1275"/>
                    <a:pt x="1128" y="1275"/>
                    <a:pt x="1219" y="1275"/>
                  </a:cubicBezTo>
                  <a:cubicBezTo>
                    <a:pt x="1261" y="1275"/>
                    <a:pt x="1303" y="1276"/>
                    <a:pt x="1346" y="1274"/>
                  </a:cubicBezTo>
                  <a:cubicBezTo>
                    <a:pt x="1392" y="1272"/>
                    <a:pt x="1423" y="1239"/>
                    <a:pt x="1423" y="1196"/>
                  </a:cubicBezTo>
                  <a:cubicBezTo>
                    <a:pt x="1424" y="1156"/>
                    <a:pt x="1394" y="1122"/>
                    <a:pt x="1351" y="1117"/>
                  </a:cubicBezTo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52"/>
            <p:cNvSpPr>
              <a:spLocks/>
            </p:cNvSpPr>
            <p:nvPr/>
          </p:nvSpPr>
          <p:spPr bwMode="auto">
            <a:xfrm>
              <a:off x="6500813" y="3841750"/>
              <a:ext cx="444500" cy="436563"/>
            </a:xfrm>
            <a:custGeom>
              <a:avLst/>
              <a:gdLst>
                <a:gd name="T0" fmla="*/ 1292 w 1298"/>
                <a:gd name="T1" fmla="*/ 58 h 1276"/>
                <a:gd name="T2" fmla="*/ 1209 w 1298"/>
                <a:gd name="T3" fmla="*/ 4 h 1276"/>
                <a:gd name="T4" fmla="*/ 1139 w 1298"/>
                <a:gd name="T5" fmla="*/ 70 h 1276"/>
                <a:gd name="T6" fmla="*/ 1138 w 1298"/>
                <a:gd name="T7" fmla="*/ 107 h 1276"/>
                <a:gd name="T8" fmla="*/ 1137 w 1298"/>
                <a:gd name="T9" fmla="*/ 671 h 1276"/>
                <a:gd name="T10" fmla="*/ 1123 w 1298"/>
                <a:gd name="T11" fmla="*/ 792 h 1276"/>
                <a:gd name="T12" fmla="*/ 706 w 1298"/>
                <a:gd name="T13" fmla="*/ 1116 h 1276"/>
                <a:gd name="T14" fmla="*/ 114 w 1298"/>
                <a:gd name="T15" fmla="*/ 1117 h 1276"/>
                <a:gd name="T16" fmla="*/ 77 w 1298"/>
                <a:gd name="T17" fmla="*/ 1117 h 1276"/>
                <a:gd name="T18" fmla="*/ 1 w 1298"/>
                <a:gd name="T19" fmla="*/ 1199 h 1276"/>
                <a:gd name="T20" fmla="*/ 80 w 1298"/>
                <a:gd name="T21" fmla="*/ 1276 h 1276"/>
                <a:gd name="T22" fmla="*/ 109 w 1298"/>
                <a:gd name="T23" fmla="*/ 1276 h 1276"/>
                <a:gd name="T24" fmla="*/ 419 w 1298"/>
                <a:gd name="T25" fmla="*/ 1276 h 1276"/>
                <a:gd name="T26" fmla="*/ 701 w 1298"/>
                <a:gd name="T27" fmla="*/ 1276 h 1276"/>
                <a:gd name="T28" fmla="*/ 1297 w 1298"/>
                <a:gd name="T29" fmla="*/ 682 h 1276"/>
                <a:gd name="T30" fmla="*/ 1297 w 1298"/>
                <a:gd name="T31" fmla="*/ 104 h 1276"/>
                <a:gd name="T32" fmla="*/ 1292 w 1298"/>
                <a:gd name="T33" fmla="*/ 58 h 1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98" h="1276">
                  <a:moveTo>
                    <a:pt x="1292" y="58"/>
                  </a:moveTo>
                  <a:cubicBezTo>
                    <a:pt x="1280" y="20"/>
                    <a:pt x="1248" y="0"/>
                    <a:pt x="1209" y="4"/>
                  </a:cubicBezTo>
                  <a:cubicBezTo>
                    <a:pt x="1172" y="8"/>
                    <a:pt x="1145" y="33"/>
                    <a:pt x="1139" y="70"/>
                  </a:cubicBezTo>
                  <a:cubicBezTo>
                    <a:pt x="1138" y="82"/>
                    <a:pt x="1138" y="95"/>
                    <a:pt x="1138" y="107"/>
                  </a:cubicBezTo>
                  <a:cubicBezTo>
                    <a:pt x="1138" y="295"/>
                    <a:pt x="1139" y="483"/>
                    <a:pt x="1137" y="671"/>
                  </a:cubicBezTo>
                  <a:cubicBezTo>
                    <a:pt x="1137" y="712"/>
                    <a:pt x="1133" y="753"/>
                    <a:pt x="1123" y="792"/>
                  </a:cubicBezTo>
                  <a:cubicBezTo>
                    <a:pt x="1073" y="985"/>
                    <a:pt x="906" y="1115"/>
                    <a:pt x="706" y="1116"/>
                  </a:cubicBezTo>
                  <a:cubicBezTo>
                    <a:pt x="509" y="1118"/>
                    <a:pt x="312" y="1117"/>
                    <a:pt x="114" y="1117"/>
                  </a:cubicBezTo>
                  <a:cubicBezTo>
                    <a:pt x="102" y="1117"/>
                    <a:pt x="89" y="1116"/>
                    <a:pt x="77" y="1117"/>
                  </a:cubicBezTo>
                  <a:cubicBezTo>
                    <a:pt x="32" y="1122"/>
                    <a:pt x="0" y="1157"/>
                    <a:pt x="1" y="1199"/>
                  </a:cubicBezTo>
                  <a:cubicBezTo>
                    <a:pt x="2" y="1241"/>
                    <a:pt x="34" y="1272"/>
                    <a:pt x="80" y="1276"/>
                  </a:cubicBezTo>
                  <a:cubicBezTo>
                    <a:pt x="90" y="1276"/>
                    <a:pt x="99" y="1276"/>
                    <a:pt x="109" y="1276"/>
                  </a:cubicBezTo>
                  <a:cubicBezTo>
                    <a:pt x="212" y="1276"/>
                    <a:pt x="315" y="1276"/>
                    <a:pt x="419" y="1276"/>
                  </a:cubicBezTo>
                  <a:cubicBezTo>
                    <a:pt x="513" y="1276"/>
                    <a:pt x="607" y="1276"/>
                    <a:pt x="701" y="1276"/>
                  </a:cubicBezTo>
                  <a:cubicBezTo>
                    <a:pt x="1032" y="1274"/>
                    <a:pt x="1294" y="1014"/>
                    <a:pt x="1297" y="682"/>
                  </a:cubicBezTo>
                  <a:cubicBezTo>
                    <a:pt x="1298" y="489"/>
                    <a:pt x="1297" y="297"/>
                    <a:pt x="1297" y="104"/>
                  </a:cubicBezTo>
                  <a:cubicBezTo>
                    <a:pt x="1297" y="89"/>
                    <a:pt x="1296" y="72"/>
                    <a:pt x="1292" y="58"/>
                  </a:cubicBezTo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53"/>
            <p:cNvSpPr>
              <a:spLocks noEditPoints="1"/>
            </p:cNvSpPr>
            <p:nvPr/>
          </p:nvSpPr>
          <p:spPr bwMode="auto">
            <a:xfrm>
              <a:off x="5943600" y="3514725"/>
              <a:ext cx="471488" cy="414338"/>
            </a:xfrm>
            <a:custGeom>
              <a:avLst/>
              <a:gdLst>
                <a:gd name="T0" fmla="*/ 684 w 1376"/>
                <a:gd name="T1" fmla="*/ 512 h 1210"/>
                <a:gd name="T2" fmla="*/ 684 w 1376"/>
                <a:gd name="T3" fmla="*/ 348 h 1210"/>
                <a:gd name="T4" fmla="*/ 521 w 1376"/>
                <a:gd name="T5" fmla="*/ 348 h 1210"/>
                <a:gd name="T6" fmla="*/ 521 w 1376"/>
                <a:gd name="T7" fmla="*/ 512 h 1210"/>
                <a:gd name="T8" fmla="*/ 684 w 1376"/>
                <a:gd name="T9" fmla="*/ 512 h 1210"/>
                <a:gd name="T10" fmla="*/ 863 w 1376"/>
                <a:gd name="T11" fmla="*/ 510 h 1210"/>
                <a:gd name="T12" fmla="*/ 1029 w 1376"/>
                <a:gd name="T13" fmla="*/ 510 h 1210"/>
                <a:gd name="T14" fmla="*/ 1029 w 1376"/>
                <a:gd name="T15" fmla="*/ 349 h 1210"/>
                <a:gd name="T16" fmla="*/ 863 w 1376"/>
                <a:gd name="T17" fmla="*/ 349 h 1210"/>
                <a:gd name="T18" fmla="*/ 863 w 1376"/>
                <a:gd name="T19" fmla="*/ 510 h 1210"/>
                <a:gd name="T20" fmla="*/ 1213 w 1376"/>
                <a:gd name="T21" fmla="*/ 684 h 1210"/>
                <a:gd name="T22" fmla="*/ 860 w 1376"/>
                <a:gd name="T23" fmla="*/ 684 h 1210"/>
                <a:gd name="T24" fmla="*/ 860 w 1376"/>
                <a:gd name="T25" fmla="*/ 1037 h 1210"/>
                <a:gd name="T26" fmla="*/ 863 w 1376"/>
                <a:gd name="T27" fmla="*/ 1034 h 1210"/>
                <a:gd name="T28" fmla="*/ 687 w 1376"/>
                <a:gd name="T29" fmla="*/ 1035 h 1210"/>
                <a:gd name="T30" fmla="*/ 690 w 1376"/>
                <a:gd name="T31" fmla="*/ 1037 h 1210"/>
                <a:gd name="T32" fmla="*/ 690 w 1376"/>
                <a:gd name="T33" fmla="*/ 695 h 1210"/>
                <a:gd name="T34" fmla="*/ 514 w 1376"/>
                <a:gd name="T35" fmla="*/ 695 h 1210"/>
                <a:gd name="T36" fmla="*/ 514 w 1376"/>
                <a:gd name="T37" fmla="*/ 1037 h 1210"/>
                <a:gd name="T38" fmla="*/ 516 w 1376"/>
                <a:gd name="T39" fmla="*/ 1035 h 1210"/>
                <a:gd name="T40" fmla="*/ 167 w 1376"/>
                <a:gd name="T41" fmla="*/ 1035 h 1210"/>
                <a:gd name="T42" fmla="*/ 167 w 1376"/>
                <a:gd name="T43" fmla="*/ 1210 h 1210"/>
                <a:gd name="T44" fmla="*/ 169 w 1376"/>
                <a:gd name="T45" fmla="*/ 1208 h 1210"/>
                <a:gd name="T46" fmla="*/ 0 w 1376"/>
                <a:gd name="T47" fmla="*/ 1208 h 1210"/>
                <a:gd name="T48" fmla="*/ 0 w 1376"/>
                <a:gd name="T49" fmla="*/ 520 h 1210"/>
                <a:gd name="T50" fmla="*/ 164 w 1376"/>
                <a:gd name="T51" fmla="*/ 520 h 1210"/>
                <a:gd name="T52" fmla="*/ 164 w 1376"/>
                <a:gd name="T53" fmla="*/ 684 h 1210"/>
                <a:gd name="T54" fmla="*/ 337 w 1376"/>
                <a:gd name="T55" fmla="*/ 684 h 1210"/>
                <a:gd name="T56" fmla="*/ 337 w 1376"/>
                <a:gd name="T57" fmla="*/ 345 h 1210"/>
                <a:gd name="T58" fmla="*/ 0 w 1376"/>
                <a:gd name="T59" fmla="*/ 345 h 1210"/>
                <a:gd name="T60" fmla="*/ 0 w 1376"/>
                <a:gd name="T61" fmla="*/ 0 h 1210"/>
                <a:gd name="T62" fmla="*/ 339 w 1376"/>
                <a:gd name="T63" fmla="*/ 0 h 1210"/>
                <a:gd name="T64" fmla="*/ 339 w 1376"/>
                <a:gd name="T65" fmla="*/ 164 h 1210"/>
                <a:gd name="T66" fmla="*/ 513 w 1376"/>
                <a:gd name="T67" fmla="*/ 164 h 1210"/>
                <a:gd name="T68" fmla="*/ 513 w 1376"/>
                <a:gd name="T69" fmla="*/ 1 h 1210"/>
                <a:gd name="T70" fmla="*/ 685 w 1376"/>
                <a:gd name="T71" fmla="*/ 1 h 1210"/>
                <a:gd name="T72" fmla="*/ 685 w 1376"/>
                <a:gd name="T73" fmla="*/ 162 h 1210"/>
                <a:gd name="T74" fmla="*/ 859 w 1376"/>
                <a:gd name="T75" fmla="*/ 162 h 1210"/>
                <a:gd name="T76" fmla="*/ 859 w 1376"/>
                <a:gd name="T77" fmla="*/ 0 h 1210"/>
                <a:gd name="T78" fmla="*/ 1031 w 1376"/>
                <a:gd name="T79" fmla="*/ 0 h 1210"/>
                <a:gd name="T80" fmla="*/ 1031 w 1376"/>
                <a:gd name="T81" fmla="*/ 166 h 1210"/>
                <a:gd name="T82" fmla="*/ 1205 w 1376"/>
                <a:gd name="T83" fmla="*/ 166 h 1210"/>
                <a:gd name="T84" fmla="*/ 1205 w 1376"/>
                <a:gd name="T85" fmla="*/ 338 h 1210"/>
                <a:gd name="T86" fmla="*/ 1376 w 1376"/>
                <a:gd name="T87" fmla="*/ 338 h 1210"/>
                <a:gd name="T88" fmla="*/ 1376 w 1376"/>
                <a:gd name="T89" fmla="*/ 512 h 1210"/>
                <a:gd name="T90" fmla="*/ 1210 w 1376"/>
                <a:gd name="T91" fmla="*/ 512 h 1210"/>
                <a:gd name="T92" fmla="*/ 1210 w 1376"/>
                <a:gd name="T93" fmla="*/ 687 h 1210"/>
                <a:gd name="T94" fmla="*/ 1213 w 1376"/>
                <a:gd name="T95" fmla="*/ 684 h 1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76" h="1210">
                  <a:moveTo>
                    <a:pt x="684" y="512"/>
                  </a:moveTo>
                  <a:lnTo>
                    <a:pt x="684" y="348"/>
                  </a:lnTo>
                  <a:lnTo>
                    <a:pt x="521" y="348"/>
                  </a:lnTo>
                  <a:lnTo>
                    <a:pt x="521" y="512"/>
                  </a:lnTo>
                  <a:lnTo>
                    <a:pt x="684" y="512"/>
                  </a:lnTo>
                  <a:close/>
                  <a:moveTo>
                    <a:pt x="863" y="510"/>
                  </a:moveTo>
                  <a:lnTo>
                    <a:pt x="1029" y="510"/>
                  </a:lnTo>
                  <a:lnTo>
                    <a:pt x="1029" y="349"/>
                  </a:lnTo>
                  <a:lnTo>
                    <a:pt x="863" y="349"/>
                  </a:lnTo>
                  <a:lnTo>
                    <a:pt x="863" y="510"/>
                  </a:lnTo>
                  <a:close/>
                  <a:moveTo>
                    <a:pt x="1213" y="684"/>
                  </a:moveTo>
                  <a:lnTo>
                    <a:pt x="860" y="684"/>
                  </a:lnTo>
                  <a:lnTo>
                    <a:pt x="860" y="1037"/>
                  </a:lnTo>
                  <a:lnTo>
                    <a:pt x="863" y="1034"/>
                  </a:lnTo>
                  <a:cubicBezTo>
                    <a:pt x="804" y="1034"/>
                    <a:pt x="746" y="1034"/>
                    <a:pt x="687" y="1035"/>
                  </a:cubicBezTo>
                  <a:lnTo>
                    <a:pt x="690" y="1037"/>
                  </a:lnTo>
                  <a:lnTo>
                    <a:pt x="690" y="695"/>
                  </a:lnTo>
                  <a:lnTo>
                    <a:pt x="514" y="695"/>
                  </a:lnTo>
                  <a:lnTo>
                    <a:pt x="514" y="1037"/>
                  </a:lnTo>
                  <a:lnTo>
                    <a:pt x="516" y="1035"/>
                  </a:lnTo>
                  <a:lnTo>
                    <a:pt x="167" y="1035"/>
                  </a:lnTo>
                  <a:lnTo>
                    <a:pt x="167" y="1210"/>
                  </a:lnTo>
                  <a:lnTo>
                    <a:pt x="169" y="1208"/>
                  </a:lnTo>
                  <a:lnTo>
                    <a:pt x="0" y="1208"/>
                  </a:lnTo>
                  <a:lnTo>
                    <a:pt x="0" y="520"/>
                  </a:lnTo>
                  <a:lnTo>
                    <a:pt x="164" y="520"/>
                  </a:lnTo>
                  <a:lnTo>
                    <a:pt x="164" y="684"/>
                  </a:lnTo>
                  <a:lnTo>
                    <a:pt x="337" y="684"/>
                  </a:lnTo>
                  <a:lnTo>
                    <a:pt x="337" y="345"/>
                  </a:lnTo>
                  <a:lnTo>
                    <a:pt x="0" y="345"/>
                  </a:lnTo>
                  <a:lnTo>
                    <a:pt x="0" y="0"/>
                  </a:lnTo>
                  <a:lnTo>
                    <a:pt x="339" y="0"/>
                  </a:lnTo>
                  <a:lnTo>
                    <a:pt x="339" y="164"/>
                  </a:lnTo>
                  <a:lnTo>
                    <a:pt x="513" y="164"/>
                  </a:lnTo>
                  <a:lnTo>
                    <a:pt x="513" y="1"/>
                  </a:lnTo>
                  <a:lnTo>
                    <a:pt x="685" y="1"/>
                  </a:lnTo>
                  <a:lnTo>
                    <a:pt x="685" y="162"/>
                  </a:lnTo>
                  <a:lnTo>
                    <a:pt x="859" y="162"/>
                  </a:lnTo>
                  <a:lnTo>
                    <a:pt x="859" y="0"/>
                  </a:lnTo>
                  <a:lnTo>
                    <a:pt x="1031" y="0"/>
                  </a:lnTo>
                  <a:lnTo>
                    <a:pt x="1031" y="166"/>
                  </a:lnTo>
                  <a:lnTo>
                    <a:pt x="1205" y="166"/>
                  </a:lnTo>
                  <a:lnTo>
                    <a:pt x="1205" y="338"/>
                  </a:lnTo>
                  <a:lnTo>
                    <a:pt x="1376" y="338"/>
                  </a:lnTo>
                  <a:lnTo>
                    <a:pt x="1376" y="512"/>
                  </a:lnTo>
                  <a:lnTo>
                    <a:pt x="1210" y="512"/>
                  </a:lnTo>
                  <a:cubicBezTo>
                    <a:pt x="1210" y="574"/>
                    <a:pt x="1210" y="631"/>
                    <a:pt x="1210" y="687"/>
                  </a:cubicBezTo>
                  <a:lnTo>
                    <a:pt x="1213" y="684"/>
                  </a:lnTo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54"/>
            <p:cNvSpPr>
              <a:spLocks noEditPoints="1"/>
            </p:cNvSpPr>
            <p:nvPr/>
          </p:nvSpPr>
          <p:spPr bwMode="auto">
            <a:xfrm>
              <a:off x="5468938" y="2803525"/>
              <a:ext cx="411163" cy="411163"/>
            </a:xfrm>
            <a:custGeom>
              <a:avLst/>
              <a:gdLst>
                <a:gd name="T0" fmla="*/ 175 w 1203"/>
                <a:gd name="T1" fmla="*/ 170 h 1203"/>
                <a:gd name="T2" fmla="*/ 175 w 1203"/>
                <a:gd name="T3" fmla="*/ 1027 h 1203"/>
                <a:gd name="T4" fmla="*/ 1031 w 1203"/>
                <a:gd name="T5" fmla="*/ 1027 h 1203"/>
                <a:gd name="T6" fmla="*/ 1031 w 1203"/>
                <a:gd name="T7" fmla="*/ 170 h 1203"/>
                <a:gd name="T8" fmla="*/ 175 w 1203"/>
                <a:gd name="T9" fmla="*/ 170 h 1203"/>
                <a:gd name="T10" fmla="*/ 1203 w 1203"/>
                <a:gd name="T11" fmla="*/ 1203 h 1203"/>
                <a:gd name="T12" fmla="*/ 0 w 1203"/>
                <a:gd name="T13" fmla="*/ 1203 h 1203"/>
                <a:gd name="T14" fmla="*/ 0 w 1203"/>
                <a:gd name="T15" fmla="*/ 0 h 1203"/>
                <a:gd name="T16" fmla="*/ 1203 w 1203"/>
                <a:gd name="T17" fmla="*/ 0 h 1203"/>
                <a:gd name="T18" fmla="*/ 1203 w 1203"/>
                <a:gd name="T19" fmla="*/ 1203 h 1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3" h="1203">
                  <a:moveTo>
                    <a:pt x="175" y="170"/>
                  </a:moveTo>
                  <a:lnTo>
                    <a:pt x="175" y="1027"/>
                  </a:lnTo>
                  <a:lnTo>
                    <a:pt x="1031" y="1027"/>
                  </a:lnTo>
                  <a:lnTo>
                    <a:pt x="1031" y="170"/>
                  </a:lnTo>
                  <a:lnTo>
                    <a:pt x="175" y="170"/>
                  </a:lnTo>
                  <a:close/>
                  <a:moveTo>
                    <a:pt x="1203" y="1203"/>
                  </a:moveTo>
                  <a:lnTo>
                    <a:pt x="0" y="1203"/>
                  </a:lnTo>
                  <a:lnTo>
                    <a:pt x="0" y="0"/>
                  </a:lnTo>
                  <a:lnTo>
                    <a:pt x="1203" y="0"/>
                  </a:lnTo>
                  <a:lnTo>
                    <a:pt x="1203" y="1203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55"/>
            <p:cNvSpPr>
              <a:spLocks noEditPoints="1"/>
            </p:cNvSpPr>
            <p:nvPr/>
          </p:nvSpPr>
          <p:spPr bwMode="auto">
            <a:xfrm>
              <a:off x="6299200" y="2801938"/>
              <a:ext cx="412750" cy="412750"/>
            </a:xfrm>
            <a:custGeom>
              <a:avLst/>
              <a:gdLst>
                <a:gd name="T0" fmla="*/ 1031 w 1203"/>
                <a:gd name="T1" fmla="*/ 1032 h 1203"/>
                <a:gd name="T2" fmla="*/ 1031 w 1203"/>
                <a:gd name="T3" fmla="*/ 175 h 1203"/>
                <a:gd name="T4" fmla="*/ 174 w 1203"/>
                <a:gd name="T5" fmla="*/ 175 h 1203"/>
                <a:gd name="T6" fmla="*/ 174 w 1203"/>
                <a:gd name="T7" fmla="*/ 1032 h 1203"/>
                <a:gd name="T8" fmla="*/ 1031 w 1203"/>
                <a:gd name="T9" fmla="*/ 1032 h 1203"/>
                <a:gd name="T10" fmla="*/ 0 w 1203"/>
                <a:gd name="T11" fmla="*/ 1203 h 1203"/>
                <a:gd name="T12" fmla="*/ 0 w 1203"/>
                <a:gd name="T13" fmla="*/ 0 h 1203"/>
                <a:gd name="T14" fmla="*/ 1203 w 1203"/>
                <a:gd name="T15" fmla="*/ 0 h 1203"/>
                <a:gd name="T16" fmla="*/ 1203 w 1203"/>
                <a:gd name="T17" fmla="*/ 1203 h 1203"/>
                <a:gd name="T18" fmla="*/ 0 w 1203"/>
                <a:gd name="T19" fmla="*/ 1203 h 1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3" h="1203">
                  <a:moveTo>
                    <a:pt x="1031" y="1032"/>
                  </a:moveTo>
                  <a:lnTo>
                    <a:pt x="1031" y="175"/>
                  </a:lnTo>
                  <a:lnTo>
                    <a:pt x="174" y="175"/>
                  </a:lnTo>
                  <a:lnTo>
                    <a:pt x="174" y="1032"/>
                  </a:lnTo>
                  <a:lnTo>
                    <a:pt x="1031" y="1032"/>
                  </a:lnTo>
                  <a:close/>
                  <a:moveTo>
                    <a:pt x="0" y="1203"/>
                  </a:moveTo>
                  <a:lnTo>
                    <a:pt x="0" y="0"/>
                  </a:lnTo>
                  <a:lnTo>
                    <a:pt x="1203" y="0"/>
                  </a:lnTo>
                  <a:lnTo>
                    <a:pt x="1203" y="1203"/>
                  </a:lnTo>
                  <a:lnTo>
                    <a:pt x="0" y="1203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56"/>
            <p:cNvSpPr>
              <a:spLocks noEditPoints="1"/>
            </p:cNvSpPr>
            <p:nvPr/>
          </p:nvSpPr>
          <p:spPr bwMode="auto">
            <a:xfrm>
              <a:off x="5468938" y="3633788"/>
              <a:ext cx="411163" cy="411163"/>
            </a:xfrm>
            <a:custGeom>
              <a:avLst/>
              <a:gdLst>
                <a:gd name="T0" fmla="*/ 175 w 1203"/>
                <a:gd name="T1" fmla="*/ 173 h 1204"/>
                <a:gd name="T2" fmla="*/ 175 w 1203"/>
                <a:gd name="T3" fmla="*/ 1030 h 1204"/>
                <a:gd name="T4" fmla="*/ 1031 w 1203"/>
                <a:gd name="T5" fmla="*/ 1030 h 1204"/>
                <a:gd name="T6" fmla="*/ 1031 w 1203"/>
                <a:gd name="T7" fmla="*/ 173 h 1204"/>
                <a:gd name="T8" fmla="*/ 175 w 1203"/>
                <a:gd name="T9" fmla="*/ 173 h 1204"/>
                <a:gd name="T10" fmla="*/ 0 w 1203"/>
                <a:gd name="T11" fmla="*/ 0 h 1204"/>
                <a:gd name="T12" fmla="*/ 1203 w 1203"/>
                <a:gd name="T13" fmla="*/ 0 h 1204"/>
                <a:gd name="T14" fmla="*/ 1203 w 1203"/>
                <a:gd name="T15" fmla="*/ 1204 h 1204"/>
                <a:gd name="T16" fmla="*/ 0 w 1203"/>
                <a:gd name="T17" fmla="*/ 1204 h 1204"/>
                <a:gd name="T18" fmla="*/ 0 w 1203"/>
                <a:gd name="T19" fmla="*/ 0 h 1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3" h="1204">
                  <a:moveTo>
                    <a:pt x="175" y="173"/>
                  </a:moveTo>
                  <a:lnTo>
                    <a:pt x="175" y="1030"/>
                  </a:lnTo>
                  <a:lnTo>
                    <a:pt x="1031" y="1030"/>
                  </a:lnTo>
                  <a:lnTo>
                    <a:pt x="1031" y="173"/>
                  </a:lnTo>
                  <a:lnTo>
                    <a:pt x="175" y="173"/>
                  </a:lnTo>
                  <a:close/>
                  <a:moveTo>
                    <a:pt x="0" y="0"/>
                  </a:moveTo>
                  <a:lnTo>
                    <a:pt x="1203" y="0"/>
                  </a:lnTo>
                  <a:lnTo>
                    <a:pt x="1203" y="1204"/>
                  </a:lnTo>
                  <a:lnTo>
                    <a:pt x="0" y="120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57"/>
            <p:cNvSpPr>
              <a:spLocks/>
            </p:cNvSpPr>
            <p:nvPr/>
          </p:nvSpPr>
          <p:spPr bwMode="auto">
            <a:xfrm>
              <a:off x="5468938" y="3278188"/>
              <a:ext cx="414338" cy="292100"/>
            </a:xfrm>
            <a:custGeom>
              <a:avLst/>
              <a:gdLst>
                <a:gd name="T0" fmla="*/ 36 w 261"/>
                <a:gd name="T1" fmla="*/ 111 h 184"/>
                <a:gd name="T2" fmla="*/ 36 w 261"/>
                <a:gd name="T3" fmla="*/ 74 h 184"/>
                <a:gd name="T4" fmla="*/ 0 w 261"/>
                <a:gd name="T5" fmla="*/ 74 h 184"/>
                <a:gd name="T6" fmla="*/ 0 w 261"/>
                <a:gd name="T7" fmla="*/ 0 h 184"/>
                <a:gd name="T8" fmla="*/ 36 w 261"/>
                <a:gd name="T9" fmla="*/ 0 h 184"/>
                <a:gd name="T10" fmla="*/ 36 w 261"/>
                <a:gd name="T11" fmla="*/ 35 h 184"/>
                <a:gd name="T12" fmla="*/ 73 w 261"/>
                <a:gd name="T13" fmla="*/ 35 h 184"/>
                <a:gd name="T14" fmla="*/ 73 w 261"/>
                <a:gd name="T15" fmla="*/ 0 h 184"/>
                <a:gd name="T16" fmla="*/ 260 w 261"/>
                <a:gd name="T17" fmla="*/ 0 h 184"/>
                <a:gd name="T18" fmla="*/ 260 w 261"/>
                <a:gd name="T19" fmla="*/ 36 h 184"/>
                <a:gd name="T20" fmla="*/ 261 w 261"/>
                <a:gd name="T21" fmla="*/ 36 h 184"/>
                <a:gd name="T22" fmla="*/ 186 w 261"/>
                <a:gd name="T23" fmla="*/ 36 h 184"/>
                <a:gd name="T24" fmla="*/ 186 w 261"/>
                <a:gd name="T25" fmla="*/ 73 h 184"/>
                <a:gd name="T26" fmla="*/ 150 w 261"/>
                <a:gd name="T27" fmla="*/ 73 h 184"/>
                <a:gd name="T28" fmla="*/ 150 w 261"/>
                <a:gd name="T29" fmla="*/ 110 h 184"/>
                <a:gd name="T30" fmla="*/ 185 w 261"/>
                <a:gd name="T31" fmla="*/ 110 h 184"/>
                <a:gd name="T32" fmla="*/ 185 w 261"/>
                <a:gd name="T33" fmla="*/ 184 h 184"/>
                <a:gd name="T34" fmla="*/ 149 w 261"/>
                <a:gd name="T35" fmla="*/ 184 h 184"/>
                <a:gd name="T36" fmla="*/ 149 w 261"/>
                <a:gd name="T37" fmla="*/ 149 h 184"/>
                <a:gd name="T38" fmla="*/ 74 w 261"/>
                <a:gd name="T39" fmla="*/ 149 h 184"/>
                <a:gd name="T40" fmla="*/ 74 w 261"/>
                <a:gd name="T41" fmla="*/ 110 h 184"/>
                <a:gd name="T42" fmla="*/ 36 w 261"/>
                <a:gd name="T43" fmla="*/ 110 h 184"/>
                <a:gd name="T44" fmla="*/ 36 w 261"/>
                <a:gd name="T45" fmla="*/ 11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1" h="184">
                  <a:moveTo>
                    <a:pt x="36" y="111"/>
                  </a:moveTo>
                  <a:lnTo>
                    <a:pt x="36" y="74"/>
                  </a:lnTo>
                  <a:lnTo>
                    <a:pt x="0" y="74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35"/>
                  </a:lnTo>
                  <a:lnTo>
                    <a:pt x="73" y="35"/>
                  </a:lnTo>
                  <a:lnTo>
                    <a:pt x="73" y="0"/>
                  </a:lnTo>
                  <a:lnTo>
                    <a:pt x="260" y="0"/>
                  </a:lnTo>
                  <a:lnTo>
                    <a:pt x="260" y="36"/>
                  </a:lnTo>
                  <a:lnTo>
                    <a:pt x="261" y="36"/>
                  </a:lnTo>
                  <a:lnTo>
                    <a:pt x="186" y="36"/>
                  </a:lnTo>
                  <a:lnTo>
                    <a:pt x="186" y="73"/>
                  </a:lnTo>
                  <a:lnTo>
                    <a:pt x="150" y="73"/>
                  </a:lnTo>
                  <a:lnTo>
                    <a:pt x="150" y="110"/>
                  </a:lnTo>
                  <a:lnTo>
                    <a:pt x="185" y="110"/>
                  </a:lnTo>
                  <a:lnTo>
                    <a:pt x="185" y="184"/>
                  </a:lnTo>
                  <a:lnTo>
                    <a:pt x="149" y="184"/>
                  </a:lnTo>
                  <a:lnTo>
                    <a:pt x="149" y="149"/>
                  </a:lnTo>
                  <a:lnTo>
                    <a:pt x="74" y="149"/>
                  </a:lnTo>
                  <a:lnTo>
                    <a:pt x="74" y="110"/>
                  </a:lnTo>
                  <a:lnTo>
                    <a:pt x="36" y="110"/>
                  </a:lnTo>
                  <a:lnTo>
                    <a:pt x="36" y="111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58"/>
            <p:cNvSpPr>
              <a:spLocks/>
            </p:cNvSpPr>
            <p:nvPr/>
          </p:nvSpPr>
          <p:spPr bwMode="auto">
            <a:xfrm>
              <a:off x="6300788" y="3278188"/>
              <a:ext cx="411163" cy="295275"/>
            </a:xfrm>
            <a:custGeom>
              <a:avLst/>
              <a:gdLst>
                <a:gd name="T0" fmla="*/ 73 w 259"/>
                <a:gd name="T1" fmla="*/ 73 h 186"/>
                <a:gd name="T2" fmla="*/ 36 w 259"/>
                <a:gd name="T3" fmla="*/ 73 h 186"/>
                <a:gd name="T4" fmla="*/ 36 w 259"/>
                <a:gd name="T5" fmla="*/ 37 h 186"/>
                <a:gd name="T6" fmla="*/ 0 w 259"/>
                <a:gd name="T7" fmla="*/ 37 h 186"/>
                <a:gd name="T8" fmla="*/ 0 w 259"/>
                <a:gd name="T9" fmla="*/ 0 h 186"/>
                <a:gd name="T10" fmla="*/ 185 w 259"/>
                <a:gd name="T11" fmla="*/ 0 h 186"/>
                <a:gd name="T12" fmla="*/ 185 w 259"/>
                <a:gd name="T13" fmla="*/ 36 h 186"/>
                <a:gd name="T14" fmla="*/ 222 w 259"/>
                <a:gd name="T15" fmla="*/ 36 h 186"/>
                <a:gd name="T16" fmla="*/ 222 w 259"/>
                <a:gd name="T17" fmla="*/ 73 h 186"/>
                <a:gd name="T18" fmla="*/ 259 w 259"/>
                <a:gd name="T19" fmla="*/ 73 h 186"/>
                <a:gd name="T20" fmla="*/ 259 w 259"/>
                <a:gd name="T21" fmla="*/ 184 h 186"/>
                <a:gd name="T22" fmla="*/ 223 w 259"/>
                <a:gd name="T23" fmla="*/ 184 h 186"/>
                <a:gd name="T24" fmla="*/ 223 w 259"/>
                <a:gd name="T25" fmla="*/ 112 h 186"/>
                <a:gd name="T26" fmla="*/ 186 w 259"/>
                <a:gd name="T27" fmla="*/ 112 h 186"/>
                <a:gd name="T28" fmla="*/ 186 w 259"/>
                <a:gd name="T29" fmla="*/ 185 h 186"/>
                <a:gd name="T30" fmla="*/ 148 w 259"/>
                <a:gd name="T31" fmla="*/ 185 h 186"/>
                <a:gd name="T32" fmla="*/ 148 w 259"/>
                <a:gd name="T33" fmla="*/ 186 h 186"/>
                <a:gd name="T34" fmla="*/ 148 w 259"/>
                <a:gd name="T35" fmla="*/ 37 h 186"/>
                <a:gd name="T36" fmla="*/ 73 w 259"/>
                <a:gd name="T37" fmla="*/ 37 h 186"/>
                <a:gd name="T38" fmla="*/ 73 w 259"/>
                <a:gd name="T39" fmla="*/ 74 h 186"/>
                <a:gd name="T40" fmla="*/ 73 w 259"/>
                <a:gd name="T41" fmla="*/ 73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9" h="186">
                  <a:moveTo>
                    <a:pt x="73" y="73"/>
                  </a:moveTo>
                  <a:lnTo>
                    <a:pt x="36" y="73"/>
                  </a:lnTo>
                  <a:lnTo>
                    <a:pt x="36" y="37"/>
                  </a:lnTo>
                  <a:lnTo>
                    <a:pt x="0" y="37"/>
                  </a:lnTo>
                  <a:lnTo>
                    <a:pt x="0" y="0"/>
                  </a:lnTo>
                  <a:lnTo>
                    <a:pt x="185" y="0"/>
                  </a:lnTo>
                  <a:lnTo>
                    <a:pt x="185" y="36"/>
                  </a:lnTo>
                  <a:lnTo>
                    <a:pt x="222" y="36"/>
                  </a:lnTo>
                  <a:lnTo>
                    <a:pt x="222" y="73"/>
                  </a:lnTo>
                  <a:lnTo>
                    <a:pt x="259" y="73"/>
                  </a:lnTo>
                  <a:lnTo>
                    <a:pt x="259" y="184"/>
                  </a:lnTo>
                  <a:lnTo>
                    <a:pt x="223" y="184"/>
                  </a:lnTo>
                  <a:lnTo>
                    <a:pt x="223" y="112"/>
                  </a:lnTo>
                  <a:lnTo>
                    <a:pt x="186" y="112"/>
                  </a:lnTo>
                  <a:lnTo>
                    <a:pt x="186" y="185"/>
                  </a:lnTo>
                  <a:lnTo>
                    <a:pt x="148" y="185"/>
                  </a:lnTo>
                  <a:lnTo>
                    <a:pt x="148" y="186"/>
                  </a:lnTo>
                  <a:lnTo>
                    <a:pt x="148" y="37"/>
                  </a:lnTo>
                  <a:lnTo>
                    <a:pt x="73" y="37"/>
                  </a:lnTo>
                  <a:lnTo>
                    <a:pt x="73" y="74"/>
                  </a:lnTo>
                  <a:lnTo>
                    <a:pt x="73" y="73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59"/>
            <p:cNvSpPr>
              <a:spLocks noEditPoints="1"/>
            </p:cNvSpPr>
            <p:nvPr/>
          </p:nvSpPr>
          <p:spPr bwMode="auto">
            <a:xfrm>
              <a:off x="6359525" y="3751263"/>
              <a:ext cx="234950" cy="293688"/>
            </a:xfrm>
            <a:custGeom>
              <a:avLst/>
              <a:gdLst>
                <a:gd name="T0" fmla="*/ 513 w 690"/>
                <a:gd name="T1" fmla="*/ 528 h 862"/>
                <a:gd name="T2" fmla="*/ 347 w 690"/>
                <a:gd name="T3" fmla="*/ 528 h 862"/>
                <a:gd name="T4" fmla="*/ 347 w 690"/>
                <a:gd name="T5" fmla="*/ 689 h 862"/>
                <a:gd name="T6" fmla="*/ 513 w 690"/>
                <a:gd name="T7" fmla="*/ 689 h 862"/>
                <a:gd name="T8" fmla="*/ 513 w 690"/>
                <a:gd name="T9" fmla="*/ 528 h 862"/>
                <a:gd name="T10" fmla="*/ 168 w 690"/>
                <a:gd name="T11" fmla="*/ 349 h 862"/>
                <a:gd name="T12" fmla="*/ 517 w 690"/>
                <a:gd name="T13" fmla="*/ 349 h 862"/>
                <a:gd name="T14" fmla="*/ 517 w 690"/>
                <a:gd name="T15" fmla="*/ 0 h 862"/>
                <a:gd name="T16" fmla="*/ 515 w 690"/>
                <a:gd name="T17" fmla="*/ 2 h 862"/>
                <a:gd name="T18" fmla="*/ 690 w 690"/>
                <a:gd name="T19" fmla="*/ 3 h 862"/>
                <a:gd name="T20" fmla="*/ 688 w 690"/>
                <a:gd name="T21" fmla="*/ 0 h 862"/>
                <a:gd name="T22" fmla="*/ 688 w 690"/>
                <a:gd name="T23" fmla="*/ 862 h 862"/>
                <a:gd name="T24" fmla="*/ 172 w 690"/>
                <a:gd name="T25" fmla="*/ 862 h 862"/>
                <a:gd name="T26" fmla="*/ 172 w 690"/>
                <a:gd name="T27" fmla="*/ 696 h 862"/>
                <a:gd name="T28" fmla="*/ 0 w 690"/>
                <a:gd name="T29" fmla="*/ 696 h 862"/>
                <a:gd name="T30" fmla="*/ 0 w 690"/>
                <a:gd name="T31" fmla="*/ 525 h 862"/>
                <a:gd name="T32" fmla="*/ 171 w 690"/>
                <a:gd name="T33" fmla="*/ 525 h 862"/>
                <a:gd name="T34" fmla="*/ 171 w 690"/>
                <a:gd name="T35" fmla="*/ 347 h 862"/>
                <a:gd name="T36" fmla="*/ 168 w 690"/>
                <a:gd name="T37" fmla="*/ 349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90" h="862">
                  <a:moveTo>
                    <a:pt x="513" y="528"/>
                  </a:moveTo>
                  <a:lnTo>
                    <a:pt x="347" y="528"/>
                  </a:lnTo>
                  <a:lnTo>
                    <a:pt x="347" y="689"/>
                  </a:lnTo>
                  <a:lnTo>
                    <a:pt x="513" y="689"/>
                  </a:lnTo>
                  <a:lnTo>
                    <a:pt x="513" y="528"/>
                  </a:lnTo>
                  <a:close/>
                  <a:moveTo>
                    <a:pt x="168" y="349"/>
                  </a:moveTo>
                  <a:lnTo>
                    <a:pt x="517" y="349"/>
                  </a:lnTo>
                  <a:lnTo>
                    <a:pt x="517" y="0"/>
                  </a:lnTo>
                  <a:lnTo>
                    <a:pt x="515" y="2"/>
                  </a:lnTo>
                  <a:cubicBezTo>
                    <a:pt x="573" y="2"/>
                    <a:pt x="632" y="2"/>
                    <a:pt x="690" y="3"/>
                  </a:cubicBezTo>
                  <a:lnTo>
                    <a:pt x="688" y="0"/>
                  </a:lnTo>
                  <a:lnTo>
                    <a:pt x="688" y="862"/>
                  </a:lnTo>
                  <a:lnTo>
                    <a:pt x="172" y="862"/>
                  </a:lnTo>
                  <a:lnTo>
                    <a:pt x="172" y="696"/>
                  </a:lnTo>
                  <a:lnTo>
                    <a:pt x="0" y="696"/>
                  </a:lnTo>
                  <a:lnTo>
                    <a:pt x="0" y="525"/>
                  </a:lnTo>
                  <a:lnTo>
                    <a:pt x="171" y="525"/>
                  </a:lnTo>
                  <a:lnTo>
                    <a:pt x="171" y="347"/>
                  </a:lnTo>
                  <a:lnTo>
                    <a:pt x="168" y="349"/>
                  </a:lnTo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60"/>
            <p:cNvSpPr>
              <a:spLocks/>
            </p:cNvSpPr>
            <p:nvPr/>
          </p:nvSpPr>
          <p:spPr bwMode="auto">
            <a:xfrm>
              <a:off x="6119813" y="2921000"/>
              <a:ext cx="119063" cy="474663"/>
            </a:xfrm>
            <a:custGeom>
              <a:avLst/>
              <a:gdLst>
                <a:gd name="T0" fmla="*/ 349 w 349"/>
                <a:gd name="T1" fmla="*/ 1381 h 1384"/>
                <a:gd name="T2" fmla="*/ 173 w 349"/>
                <a:gd name="T3" fmla="*/ 1381 h 1384"/>
                <a:gd name="T4" fmla="*/ 176 w 349"/>
                <a:gd name="T5" fmla="*/ 1384 h 1384"/>
                <a:gd name="T6" fmla="*/ 176 w 349"/>
                <a:gd name="T7" fmla="*/ 1034 h 1384"/>
                <a:gd name="T8" fmla="*/ 0 w 349"/>
                <a:gd name="T9" fmla="*/ 1034 h 1384"/>
                <a:gd name="T10" fmla="*/ 2 w 349"/>
                <a:gd name="T11" fmla="*/ 1037 h 1384"/>
                <a:gd name="T12" fmla="*/ 2 w 349"/>
                <a:gd name="T13" fmla="*/ 861 h 1384"/>
                <a:gd name="T14" fmla="*/ 0 w 349"/>
                <a:gd name="T15" fmla="*/ 864 h 1384"/>
                <a:gd name="T16" fmla="*/ 169 w 349"/>
                <a:gd name="T17" fmla="*/ 864 h 1384"/>
                <a:gd name="T18" fmla="*/ 169 w 349"/>
                <a:gd name="T19" fmla="*/ 519 h 1384"/>
                <a:gd name="T20" fmla="*/ 8 w 349"/>
                <a:gd name="T21" fmla="*/ 519 h 1384"/>
                <a:gd name="T22" fmla="*/ 8 w 349"/>
                <a:gd name="T23" fmla="*/ 345 h 1384"/>
                <a:gd name="T24" fmla="*/ 169 w 349"/>
                <a:gd name="T25" fmla="*/ 345 h 1384"/>
                <a:gd name="T26" fmla="*/ 169 w 349"/>
                <a:gd name="T27" fmla="*/ 171 h 1384"/>
                <a:gd name="T28" fmla="*/ 7 w 349"/>
                <a:gd name="T29" fmla="*/ 171 h 1384"/>
                <a:gd name="T30" fmla="*/ 7 w 349"/>
                <a:gd name="T31" fmla="*/ 0 h 1384"/>
                <a:gd name="T32" fmla="*/ 346 w 349"/>
                <a:gd name="T33" fmla="*/ 0 h 1384"/>
                <a:gd name="T34" fmla="*/ 346 w 349"/>
                <a:gd name="T35" fmla="*/ 1383 h 1384"/>
                <a:gd name="T36" fmla="*/ 349 w 349"/>
                <a:gd name="T37" fmla="*/ 1381 h 1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9" h="1384">
                  <a:moveTo>
                    <a:pt x="349" y="1381"/>
                  </a:moveTo>
                  <a:cubicBezTo>
                    <a:pt x="290" y="1381"/>
                    <a:pt x="232" y="1381"/>
                    <a:pt x="173" y="1381"/>
                  </a:cubicBezTo>
                  <a:lnTo>
                    <a:pt x="176" y="1384"/>
                  </a:lnTo>
                  <a:lnTo>
                    <a:pt x="176" y="1034"/>
                  </a:lnTo>
                  <a:lnTo>
                    <a:pt x="0" y="1034"/>
                  </a:lnTo>
                  <a:lnTo>
                    <a:pt x="2" y="1037"/>
                  </a:lnTo>
                  <a:cubicBezTo>
                    <a:pt x="2" y="978"/>
                    <a:pt x="2" y="920"/>
                    <a:pt x="2" y="861"/>
                  </a:cubicBezTo>
                  <a:lnTo>
                    <a:pt x="0" y="864"/>
                  </a:lnTo>
                  <a:lnTo>
                    <a:pt x="169" y="864"/>
                  </a:lnTo>
                  <a:lnTo>
                    <a:pt x="169" y="519"/>
                  </a:lnTo>
                  <a:lnTo>
                    <a:pt x="8" y="519"/>
                  </a:lnTo>
                  <a:lnTo>
                    <a:pt x="8" y="345"/>
                  </a:lnTo>
                  <a:lnTo>
                    <a:pt x="169" y="345"/>
                  </a:lnTo>
                  <a:lnTo>
                    <a:pt x="169" y="171"/>
                  </a:lnTo>
                  <a:lnTo>
                    <a:pt x="7" y="171"/>
                  </a:lnTo>
                  <a:lnTo>
                    <a:pt x="7" y="0"/>
                  </a:lnTo>
                  <a:lnTo>
                    <a:pt x="346" y="0"/>
                  </a:lnTo>
                  <a:lnTo>
                    <a:pt x="346" y="1383"/>
                  </a:lnTo>
                  <a:lnTo>
                    <a:pt x="349" y="1381"/>
                  </a:lnTo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61"/>
            <p:cNvSpPr>
              <a:spLocks/>
            </p:cNvSpPr>
            <p:nvPr/>
          </p:nvSpPr>
          <p:spPr bwMode="auto">
            <a:xfrm>
              <a:off x="5943600" y="2921000"/>
              <a:ext cx="119063" cy="352425"/>
            </a:xfrm>
            <a:custGeom>
              <a:avLst/>
              <a:gdLst>
                <a:gd name="T0" fmla="*/ 346 w 346"/>
                <a:gd name="T1" fmla="*/ 684 h 1029"/>
                <a:gd name="T2" fmla="*/ 173 w 346"/>
                <a:gd name="T3" fmla="*/ 692 h 1029"/>
                <a:gd name="T4" fmla="*/ 173 w 346"/>
                <a:gd name="T5" fmla="*/ 1029 h 1029"/>
                <a:gd name="T6" fmla="*/ 0 w 346"/>
                <a:gd name="T7" fmla="*/ 1029 h 1029"/>
                <a:gd name="T8" fmla="*/ 0 w 346"/>
                <a:gd name="T9" fmla="*/ 0 h 1029"/>
                <a:gd name="T10" fmla="*/ 337 w 346"/>
                <a:gd name="T11" fmla="*/ 0 h 1029"/>
                <a:gd name="T12" fmla="*/ 337 w 346"/>
                <a:gd name="T13" fmla="*/ 165 h 1029"/>
                <a:gd name="T14" fmla="*/ 173 w 346"/>
                <a:gd name="T15" fmla="*/ 165 h 1029"/>
                <a:gd name="T16" fmla="*/ 173 w 346"/>
                <a:gd name="T17" fmla="*/ 339 h 1029"/>
                <a:gd name="T18" fmla="*/ 343 w 346"/>
                <a:gd name="T19" fmla="*/ 339 h 1029"/>
                <a:gd name="T20" fmla="*/ 343 w 346"/>
                <a:gd name="T21" fmla="*/ 687 h 1029"/>
                <a:gd name="T22" fmla="*/ 346 w 346"/>
                <a:gd name="T23" fmla="*/ 684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6" h="1029">
                  <a:moveTo>
                    <a:pt x="346" y="684"/>
                  </a:moveTo>
                  <a:cubicBezTo>
                    <a:pt x="291" y="686"/>
                    <a:pt x="236" y="689"/>
                    <a:pt x="173" y="692"/>
                  </a:cubicBezTo>
                  <a:lnTo>
                    <a:pt x="173" y="1029"/>
                  </a:lnTo>
                  <a:lnTo>
                    <a:pt x="0" y="1029"/>
                  </a:lnTo>
                  <a:lnTo>
                    <a:pt x="0" y="0"/>
                  </a:lnTo>
                  <a:lnTo>
                    <a:pt x="337" y="0"/>
                  </a:lnTo>
                  <a:lnTo>
                    <a:pt x="337" y="165"/>
                  </a:lnTo>
                  <a:lnTo>
                    <a:pt x="173" y="165"/>
                  </a:lnTo>
                  <a:lnTo>
                    <a:pt x="173" y="339"/>
                  </a:lnTo>
                  <a:lnTo>
                    <a:pt x="343" y="339"/>
                  </a:lnTo>
                  <a:cubicBezTo>
                    <a:pt x="343" y="459"/>
                    <a:pt x="343" y="573"/>
                    <a:pt x="343" y="687"/>
                  </a:cubicBezTo>
                  <a:lnTo>
                    <a:pt x="346" y="684"/>
                  </a:lnTo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2"/>
            <p:cNvSpPr>
              <a:spLocks/>
            </p:cNvSpPr>
            <p:nvPr/>
          </p:nvSpPr>
          <p:spPr bwMode="auto">
            <a:xfrm>
              <a:off x="5824538" y="3335338"/>
              <a:ext cx="174625" cy="117475"/>
            </a:xfrm>
            <a:custGeom>
              <a:avLst/>
              <a:gdLst>
                <a:gd name="T0" fmla="*/ 36 w 110"/>
                <a:gd name="T1" fmla="*/ 0 h 74"/>
                <a:gd name="T2" fmla="*/ 110 w 110"/>
                <a:gd name="T3" fmla="*/ 0 h 74"/>
                <a:gd name="T4" fmla="*/ 110 w 110"/>
                <a:gd name="T5" fmla="*/ 74 h 74"/>
                <a:gd name="T6" fmla="*/ 0 w 110"/>
                <a:gd name="T7" fmla="*/ 74 h 74"/>
                <a:gd name="T8" fmla="*/ 0 w 110"/>
                <a:gd name="T9" fmla="*/ 38 h 74"/>
                <a:gd name="T10" fmla="*/ 37 w 110"/>
                <a:gd name="T11" fmla="*/ 38 h 74"/>
                <a:gd name="T12" fmla="*/ 37 w 110"/>
                <a:gd name="T13" fmla="*/ 0 h 74"/>
                <a:gd name="T14" fmla="*/ 36 w 110"/>
                <a:gd name="T1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74">
                  <a:moveTo>
                    <a:pt x="36" y="0"/>
                  </a:moveTo>
                  <a:lnTo>
                    <a:pt x="110" y="0"/>
                  </a:lnTo>
                  <a:lnTo>
                    <a:pt x="110" y="74"/>
                  </a:lnTo>
                  <a:lnTo>
                    <a:pt x="0" y="74"/>
                  </a:lnTo>
                  <a:lnTo>
                    <a:pt x="0" y="38"/>
                  </a:lnTo>
                  <a:lnTo>
                    <a:pt x="37" y="38"/>
                  </a:lnTo>
                  <a:lnTo>
                    <a:pt x="37" y="0"/>
                  </a:lnTo>
                  <a:lnTo>
                    <a:pt x="36" y="0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63"/>
            <p:cNvSpPr>
              <a:spLocks/>
            </p:cNvSpPr>
            <p:nvPr/>
          </p:nvSpPr>
          <p:spPr bwMode="auto">
            <a:xfrm>
              <a:off x="6359525" y="3394075"/>
              <a:ext cx="117475" cy="179388"/>
            </a:xfrm>
            <a:custGeom>
              <a:avLst/>
              <a:gdLst>
                <a:gd name="T0" fmla="*/ 74 w 74"/>
                <a:gd name="T1" fmla="*/ 112 h 113"/>
                <a:gd name="T2" fmla="*/ 37 w 74"/>
                <a:gd name="T3" fmla="*/ 112 h 113"/>
                <a:gd name="T4" fmla="*/ 37 w 74"/>
                <a:gd name="T5" fmla="*/ 75 h 113"/>
                <a:gd name="T6" fmla="*/ 0 w 74"/>
                <a:gd name="T7" fmla="*/ 75 h 113"/>
                <a:gd name="T8" fmla="*/ 0 w 74"/>
                <a:gd name="T9" fmla="*/ 38 h 113"/>
                <a:gd name="T10" fmla="*/ 36 w 74"/>
                <a:gd name="T11" fmla="*/ 38 h 113"/>
                <a:gd name="T12" fmla="*/ 36 w 74"/>
                <a:gd name="T13" fmla="*/ 0 h 113"/>
                <a:gd name="T14" fmla="*/ 36 w 74"/>
                <a:gd name="T15" fmla="*/ 1 h 113"/>
                <a:gd name="T16" fmla="*/ 73 w 74"/>
                <a:gd name="T17" fmla="*/ 1 h 113"/>
                <a:gd name="T18" fmla="*/ 73 w 74"/>
                <a:gd name="T19" fmla="*/ 113 h 113"/>
                <a:gd name="T20" fmla="*/ 74 w 74"/>
                <a:gd name="T21" fmla="*/ 11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" h="113">
                  <a:moveTo>
                    <a:pt x="74" y="112"/>
                  </a:moveTo>
                  <a:lnTo>
                    <a:pt x="37" y="112"/>
                  </a:lnTo>
                  <a:lnTo>
                    <a:pt x="37" y="75"/>
                  </a:lnTo>
                  <a:lnTo>
                    <a:pt x="0" y="75"/>
                  </a:lnTo>
                  <a:lnTo>
                    <a:pt x="0" y="38"/>
                  </a:lnTo>
                  <a:lnTo>
                    <a:pt x="36" y="38"/>
                  </a:lnTo>
                  <a:lnTo>
                    <a:pt x="36" y="0"/>
                  </a:lnTo>
                  <a:lnTo>
                    <a:pt x="36" y="1"/>
                  </a:lnTo>
                  <a:lnTo>
                    <a:pt x="73" y="1"/>
                  </a:lnTo>
                  <a:lnTo>
                    <a:pt x="73" y="113"/>
                  </a:lnTo>
                  <a:lnTo>
                    <a:pt x="74" y="112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Rectangle 64"/>
            <p:cNvSpPr>
              <a:spLocks noChangeArrowheads="1"/>
            </p:cNvSpPr>
            <p:nvPr/>
          </p:nvSpPr>
          <p:spPr bwMode="auto">
            <a:xfrm>
              <a:off x="6002338" y="2801938"/>
              <a:ext cx="176213" cy="55563"/>
            </a:xfrm>
            <a:prstGeom prst="rect">
              <a:avLst/>
            </a:pr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65"/>
            <p:cNvSpPr>
              <a:spLocks/>
            </p:cNvSpPr>
            <p:nvPr/>
          </p:nvSpPr>
          <p:spPr bwMode="auto">
            <a:xfrm>
              <a:off x="6357938" y="3749675"/>
              <a:ext cx="60325" cy="120650"/>
            </a:xfrm>
            <a:custGeom>
              <a:avLst/>
              <a:gdLst>
                <a:gd name="T0" fmla="*/ 174 w 174"/>
                <a:gd name="T1" fmla="*/ 351 h 353"/>
                <a:gd name="T2" fmla="*/ 3 w 174"/>
                <a:gd name="T3" fmla="*/ 351 h 353"/>
                <a:gd name="T4" fmla="*/ 3 w 174"/>
                <a:gd name="T5" fmla="*/ 0 h 353"/>
                <a:gd name="T6" fmla="*/ 0 w 174"/>
                <a:gd name="T7" fmla="*/ 3 h 353"/>
                <a:gd name="T8" fmla="*/ 171 w 174"/>
                <a:gd name="T9" fmla="*/ 3 h 353"/>
                <a:gd name="T10" fmla="*/ 171 w 174"/>
                <a:gd name="T11" fmla="*/ 353 h 353"/>
                <a:gd name="T12" fmla="*/ 174 w 174"/>
                <a:gd name="T13" fmla="*/ 35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4" h="353">
                  <a:moveTo>
                    <a:pt x="174" y="351"/>
                  </a:moveTo>
                  <a:lnTo>
                    <a:pt x="3" y="351"/>
                  </a:lnTo>
                  <a:cubicBezTo>
                    <a:pt x="3" y="232"/>
                    <a:pt x="3" y="116"/>
                    <a:pt x="3" y="0"/>
                  </a:cubicBezTo>
                  <a:lnTo>
                    <a:pt x="0" y="3"/>
                  </a:lnTo>
                  <a:cubicBezTo>
                    <a:pt x="54" y="3"/>
                    <a:pt x="108" y="3"/>
                    <a:pt x="171" y="3"/>
                  </a:cubicBezTo>
                  <a:lnTo>
                    <a:pt x="171" y="353"/>
                  </a:lnTo>
                  <a:lnTo>
                    <a:pt x="174" y="351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66"/>
            <p:cNvSpPr>
              <a:spLocks/>
            </p:cNvSpPr>
            <p:nvPr/>
          </p:nvSpPr>
          <p:spPr bwMode="auto">
            <a:xfrm>
              <a:off x="6594475" y="3633788"/>
              <a:ext cx="57150" cy="117475"/>
            </a:xfrm>
            <a:custGeom>
              <a:avLst/>
              <a:gdLst>
                <a:gd name="T0" fmla="*/ 0 w 36"/>
                <a:gd name="T1" fmla="*/ 74 h 74"/>
                <a:gd name="T2" fmla="*/ 0 w 36"/>
                <a:gd name="T3" fmla="*/ 0 h 74"/>
                <a:gd name="T4" fmla="*/ 36 w 36"/>
                <a:gd name="T5" fmla="*/ 0 h 74"/>
                <a:gd name="T6" fmla="*/ 36 w 36"/>
                <a:gd name="T7" fmla="*/ 74 h 74"/>
                <a:gd name="T8" fmla="*/ 0 w 36"/>
                <a:gd name="T9" fmla="*/ 74 h 74"/>
                <a:gd name="T10" fmla="*/ 0 w 36"/>
                <a:gd name="T11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74">
                  <a:moveTo>
                    <a:pt x="0" y="74"/>
                  </a:moveTo>
                  <a:lnTo>
                    <a:pt x="0" y="0"/>
                  </a:lnTo>
                  <a:lnTo>
                    <a:pt x="36" y="0"/>
                  </a:lnTo>
                  <a:lnTo>
                    <a:pt x="36" y="74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67"/>
            <p:cNvSpPr>
              <a:spLocks/>
            </p:cNvSpPr>
            <p:nvPr/>
          </p:nvSpPr>
          <p:spPr bwMode="auto">
            <a:xfrm>
              <a:off x="5468938" y="3452813"/>
              <a:ext cx="57150" cy="117475"/>
            </a:xfrm>
            <a:custGeom>
              <a:avLst/>
              <a:gdLst>
                <a:gd name="T0" fmla="*/ 36 w 36"/>
                <a:gd name="T1" fmla="*/ 0 h 74"/>
                <a:gd name="T2" fmla="*/ 36 w 36"/>
                <a:gd name="T3" fmla="*/ 74 h 74"/>
                <a:gd name="T4" fmla="*/ 0 w 36"/>
                <a:gd name="T5" fmla="*/ 74 h 74"/>
                <a:gd name="T6" fmla="*/ 0 w 36"/>
                <a:gd name="T7" fmla="*/ 1 h 74"/>
                <a:gd name="T8" fmla="*/ 36 w 36"/>
                <a:gd name="T9" fmla="*/ 1 h 74"/>
                <a:gd name="T10" fmla="*/ 36 w 36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74">
                  <a:moveTo>
                    <a:pt x="36" y="0"/>
                  </a:moveTo>
                  <a:lnTo>
                    <a:pt x="36" y="74"/>
                  </a:lnTo>
                  <a:lnTo>
                    <a:pt x="0" y="74"/>
                  </a:lnTo>
                  <a:lnTo>
                    <a:pt x="0" y="1"/>
                  </a:lnTo>
                  <a:lnTo>
                    <a:pt x="36" y="1"/>
                  </a:lnTo>
                  <a:lnTo>
                    <a:pt x="36" y="0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68"/>
            <p:cNvSpPr>
              <a:spLocks/>
            </p:cNvSpPr>
            <p:nvPr/>
          </p:nvSpPr>
          <p:spPr bwMode="auto">
            <a:xfrm>
              <a:off x="6062663" y="3275013"/>
              <a:ext cx="57150" cy="120650"/>
            </a:xfrm>
            <a:custGeom>
              <a:avLst/>
              <a:gdLst>
                <a:gd name="T0" fmla="*/ 36 w 36"/>
                <a:gd name="T1" fmla="*/ 75 h 76"/>
                <a:gd name="T2" fmla="*/ 0 w 36"/>
                <a:gd name="T3" fmla="*/ 75 h 76"/>
                <a:gd name="T4" fmla="*/ 0 w 36"/>
                <a:gd name="T5" fmla="*/ 1 h 76"/>
                <a:gd name="T6" fmla="*/ 36 w 36"/>
                <a:gd name="T7" fmla="*/ 1 h 76"/>
                <a:gd name="T8" fmla="*/ 36 w 36"/>
                <a:gd name="T9" fmla="*/ 0 h 76"/>
                <a:gd name="T10" fmla="*/ 36 w 36"/>
                <a:gd name="T11" fmla="*/ 76 h 76"/>
                <a:gd name="T12" fmla="*/ 36 w 36"/>
                <a:gd name="T13" fmla="*/ 7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76">
                  <a:moveTo>
                    <a:pt x="36" y="75"/>
                  </a:moveTo>
                  <a:lnTo>
                    <a:pt x="0" y="75"/>
                  </a:lnTo>
                  <a:lnTo>
                    <a:pt x="0" y="1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6" y="76"/>
                  </a:lnTo>
                  <a:lnTo>
                    <a:pt x="36" y="75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69"/>
            <p:cNvSpPr>
              <a:spLocks/>
            </p:cNvSpPr>
            <p:nvPr/>
          </p:nvSpPr>
          <p:spPr bwMode="auto">
            <a:xfrm>
              <a:off x="6000750" y="3929063"/>
              <a:ext cx="57150" cy="60325"/>
            </a:xfrm>
            <a:custGeom>
              <a:avLst/>
              <a:gdLst>
                <a:gd name="T0" fmla="*/ 0 w 168"/>
                <a:gd name="T1" fmla="*/ 2 h 176"/>
                <a:gd name="T2" fmla="*/ 168 w 168"/>
                <a:gd name="T3" fmla="*/ 2 h 176"/>
                <a:gd name="T4" fmla="*/ 168 w 168"/>
                <a:gd name="T5" fmla="*/ 173 h 176"/>
                <a:gd name="T6" fmla="*/ 0 w 168"/>
                <a:gd name="T7" fmla="*/ 173 h 176"/>
                <a:gd name="T8" fmla="*/ 3 w 168"/>
                <a:gd name="T9" fmla="*/ 176 h 176"/>
                <a:gd name="T10" fmla="*/ 2 w 168"/>
                <a:gd name="T11" fmla="*/ 0 h 176"/>
                <a:gd name="T12" fmla="*/ 0 w 168"/>
                <a:gd name="T13" fmla="*/ 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76">
                  <a:moveTo>
                    <a:pt x="0" y="2"/>
                  </a:moveTo>
                  <a:lnTo>
                    <a:pt x="168" y="2"/>
                  </a:lnTo>
                  <a:lnTo>
                    <a:pt x="168" y="173"/>
                  </a:lnTo>
                  <a:lnTo>
                    <a:pt x="0" y="173"/>
                  </a:lnTo>
                  <a:lnTo>
                    <a:pt x="3" y="176"/>
                  </a:lnTo>
                  <a:cubicBezTo>
                    <a:pt x="2" y="117"/>
                    <a:pt x="2" y="58"/>
                    <a:pt x="2" y="0"/>
                  </a:cubicBezTo>
                  <a:lnTo>
                    <a:pt x="0" y="2"/>
                  </a:lnTo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70"/>
            <p:cNvSpPr>
              <a:spLocks/>
            </p:cNvSpPr>
            <p:nvPr/>
          </p:nvSpPr>
          <p:spPr bwMode="auto">
            <a:xfrm>
              <a:off x="6238875" y="3868738"/>
              <a:ext cx="57150" cy="58738"/>
            </a:xfrm>
            <a:custGeom>
              <a:avLst/>
              <a:gdLst>
                <a:gd name="T0" fmla="*/ 0 w 36"/>
                <a:gd name="T1" fmla="*/ 1 h 37"/>
                <a:gd name="T2" fmla="*/ 36 w 36"/>
                <a:gd name="T3" fmla="*/ 1 h 37"/>
                <a:gd name="T4" fmla="*/ 36 w 36"/>
                <a:gd name="T5" fmla="*/ 37 h 37"/>
                <a:gd name="T6" fmla="*/ 0 w 36"/>
                <a:gd name="T7" fmla="*/ 37 h 37"/>
                <a:gd name="T8" fmla="*/ 0 w 36"/>
                <a:gd name="T9" fmla="*/ 0 h 37"/>
                <a:gd name="T10" fmla="*/ 0 w 36"/>
                <a:gd name="T11" fmla="*/ 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7">
                  <a:moveTo>
                    <a:pt x="0" y="1"/>
                  </a:moveTo>
                  <a:lnTo>
                    <a:pt x="36" y="1"/>
                  </a:lnTo>
                  <a:lnTo>
                    <a:pt x="36" y="37"/>
                  </a:lnTo>
                  <a:lnTo>
                    <a:pt x="0" y="37"/>
                  </a:ln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Rectangle 71"/>
            <p:cNvSpPr>
              <a:spLocks noChangeArrowheads="1"/>
            </p:cNvSpPr>
            <p:nvPr/>
          </p:nvSpPr>
          <p:spPr bwMode="auto">
            <a:xfrm>
              <a:off x="6656388" y="3930650"/>
              <a:ext cx="55563" cy="55563"/>
            </a:xfrm>
            <a:prstGeom prst="rect">
              <a:avLst/>
            </a:pr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72"/>
            <p:cNvSpPr>
              <a:spLocks/>
            </p:cNvSpPr>
            <p:nvPr/>
          </p:nvSpPr>
          <p:spPr bwMode="auto">
            <a:xfrm>
              <a:off x="6119813" y="3868738"/>
              <a:ext cx="60325" cy="58738"/>
            </a:xfrm>
            <a:custGeom>
              <a:avLst/>
              <a:gdLst>
                <a:gd name="T0" fmla="*/ 37 w 38"/>
                <a:gd name="T1" fmla="*/ 0 h 37"/>
                <a:gd name="T2" fmla="*/ 37 w 38"/>
                <a:gd name="T3" fmla="*/ 37 h 37"/>
                <a:gd name="T4" fmla="*/ 0 w 38"/>
                <a:gd name="T5" fmla="*/ 37 h 37"/>
                <a:gd name="T6" fmla="*/ 0 w 38"/>
                <a:gd name="T7" fmla="*/ 0 h 37"/>
                <a:gd name="T8" fmla="*/ 0 w 38"/>
                <a:gd name="T9" fmla="*/ 1 h 37"/>
                <a:gd name="T10" fmla="*/ 38 w 38"/>
                <a:gd name="T11" fmla="*/ 1 h 37"/>
                <a:gd name="T12" fmla="*/ 37 w 38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37">
                  <a:moveTo>
                    <a:pt x="37" y="0"/>
                  </a:moveTo>
                  <a:lnTo>
                    <a:pt x="37" y="37"/>
                  </a:lnTo>
                  <a:lnTo>
                    <a:pt x="0" y="37"/>
                  </a:lnTo>
                  <a:lnTo>
                    <a:pt x="0" y="0"/>
                  </a:lnTo>
                  <a:lnTo>
                    <a:pt x="0" y="1"/>
                  </a:lnTo>
                  <a:lnTo>
                    <a:pt x="38" y="1"/>
                  </a:lnTo>
                  <a:lnTo>
                    <a:pt x="37" y="0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73"/>
            <p:cNvSpPr>
              <a:spLocks/>
            </p:cNvSpPr>
            <p:nvPr/>
          </p:nvSpPr>
          <p:spPr bwMode="auto">
            <a:xfrm>
              <a:off x="5943600" y="3987800"/>
              <a:ext cx="58738" cy="57150"/>
            </a:xfrm>
            <a:custGeom>
              <a:avLst/>
              <a:gdLst>
                <a:gd name="T0" fmla="*/ 36 w 37"/>
                <a:gd name="T1" fmla="*/ 0 h 36"/>
                <a:gd name="T2" fmla="*/ 36 w 37"/>
                <a:gd name="T3" fmla="*/ 36 h 36"/>
                <a:gd name="T4" fmla="*/ 0 w 37"/>
                <a:gd name="T5" fmla="*/ 36 h 36"/>
                <a:gd name="T6" fmla="*/ 0 w 37"/>
                <a:gd name="T7" fmla="*/ 1 h 36"/>
                <a:gd name="T8" fmla="*/ 37 w 37"/>
                <a:gd name="T9" fmla="*/ 1 h 36"/>
                <a:gd name="T10" fmla="*/ 36 w 37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36">
                  <a:moveTo>
                    <a:pt x="36" y="0"/>
                  </a:moveTo>
                  <a:lnTo>
                    <a:pt x="36" y="36"/>
                  </a:lnTo>
                  <a:lnTo>
                    <a:pt x="0" y="36"/>
                  </a:lnTo>
                  <a:lnTo>
                    <a:pt x="0" y="1"/>
                  </a:lnTo>
                  <a:lnTo>
                    <a:pt x="37" y="1"/>
                  </a:lnTo>
                  <a:lnTo>
                    <a:pt x="36" y="0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Rectangle 74"/>
            <p:cNvSpPr>
              <a:spLocks noChangeArrowheads="1"/>
            </p:cNvSpPr>
            <p:nvPr/>
          </p:nvSpPr>
          <p:spPr bwMode="auto">
            <a:xfrm>
              <a:off x="6121400" y="3989388"/>
              <a:ext cx="57150" cy="55563"/>
            </a:xfrm>
            <a:prstGeom prst="rect">
              <a:avLst/>
            </a:pr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Rectangle 75"/>
            <p:cNvSpPr>
              <a:spLocks noChangeArrowheads="1"/>
            </p:cNvSpPr>
            <p:nvPr/>
          </p:nvSpPr>
          <p:spPr bwMode="auto">
            <a:xfrm>
              <a:off x="6240463" y="3989388"/>
              <a:ext cx="55563" cy="55563"/>
            </a:xfrm>
            <a:prstGeom prst="rect">
              <a:avLst/>
            </a:pr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76"/>
            <p:cNvSpPr>
              <a:spLocks/>
            </p:cNvSpPr>
            <p:nvPr/>
          </p:nvSpPr>
          <p:spPr bwMode="auto">
            <a:xfrm>
              <a:off x="6478588" y="3694113"/>
              <a:ext cx="57150" cy="57150"/>
            </a:xfrm>
            <a:custGeom>
              <a:avLst/>
              <a:gdLst>
                <a:gd name="T0" fmla="*/ 168 w 168"/>
                <a:gd name="T1" fmla="*/ 167 h 169"/>
                <a:gd name="T2" fmla="*/ 0 w 168"/>
                <a:gd name="T3" fmla="*/ 167 h 169"/>
                <a:gd name="T4" fmla="*/ 0 w 168"/>
                <a:gd name="T5" fmla="*/ 0 h 169"/>
                <a:gd name="T6" fmla="*/ 166 w 168"/>
                <a:gd name="T7" fmla="*/ 0 h 169"/>
                <a:gd name="T8" fmla="*/ 166 w 168"/>
                <a:gd name="T9" fmla="*/ 169 h 169"/>
                <a:gd name="T10" fmla="*/ 168 w 168"/>
                <a:gd name="T11" fmla="*/ 167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8" h="169">
                  <a:moveTo>
                    <a:pt x="168" y="167"/>
                  </a:moveTo>
                  <a:lnTo>
                    <a:pt x="0" y="167"/>
                  </a:lnTo>
                  <a:lnTo>
                    <a:pt x="0" y="0"/>
                  </a:lnTo>
                  <a:lnTo>
                    <a:pt x="166" y="0"/>
                  </a:lnTo>
                  <a:cubicBezTo>
                    <a:pt x="166" y="57"/>
                    <a:pt x="166" y="113"/>
                    <a:pt x="166" y="169"/>
                  </a:cubicBezTo>
                  <a:lnTo>
                    <a:pt x="168" y="167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77"/>
            <p:cNvSpPr>
              <a:spLocks/>
            </p:cNvSpPr>
            <p:nvPr/>
          </p:nvSpPr>
          <p:spPr bwMode="auto">
            <a:xfrm>
              <a:off x="6475413" y="3571875"/>
              <a:ext cx="60325" cy="58738"/>
            </a:xfrm>
            <a:custGeom>
              <a:avLst/>
              <a:gdLst>
                <a:gd name="T0" fmla="*/ 174 w 176"/>
                <a:gd name="T1" fmla="*/ 0 h 169"/>
                <a:gd name="T2" fmla="*/ 174 w 176"/>
                <a:gd name="T3" fmla="*/ 169 h 169"/>
                <a:gd name="T4" fmla="*/ 3 w 176"/>
                <a:gd name="T5" fmla="*/ 169 h 169"/>
                <a:gd name="T6" fmla="*/ 3 w 176"/>
                <a:gd name="T7" fmla="*/ 0 h 169"/>
                <a:gd name="T8" fmla="*/ 0 w 176"/>
                <a:gd name="T9" fmla="*/ 3 h 169"/>
                <a:gd name="T10" fmla="*/ 176 w 176"/>
                <a:gd name="T11" fmla="*/ 3 h 169"/>
                <a:gd name="T12" fmla="*/ 174 w 176"/>
                <a:gd name="T13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169">
                  <a:moveTo>
                    <a:pt x="174" y="0"/>
                  </a:moveTo>
                  <a:lnTo>
                    <a:pt x="174" y="169"/>
                  </a:lnTo>
                  <a:lnTo>
                    <a:pt x="3" y="169"/>
                  </a:lnTo>
                  <a:cubicBezTo>
                    <a:pt x="3" y="113"/>
                    <a:pt x="3" y="57"/>
                    <a:pt x="3" y="0"/>
                  </a:cubicBezTo>
                  <a:lnTo>
                    <a:pt x="0" y="3"/>
                  </a:lnTo>
                  <a:lnTo>
                    <a:pt x="176" y="3"/>
                  </a:lnTo>
                  <a:lnTo>
                    <a:pt x="174" y="0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78"/>
            <p:cNvSpPr>
              <a:spLocks noChangeArrowheads="1"/>
            </p:cNvSpPr>
            <p:nvPr/>
          </p:nvSpPr>
          <p:spPr bwMode="auto">
            <a:xfrm>
              <a:off x="5824538" y="3514725"/>
              <a:ext cx="57150" cy="57150"/>
            </a:xfrm>
            <a:prstGeom prst="rect">
              <a:avLst/>
            </a:pr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79"/>
            <p:cNvSpPr>
              <a:spLocks/>
            </p:cNvSpPr>
            <p:nvPr/>
          </p:nvSpPr>
          <p:spPr bwMode="auto">
            <a:xfrm>
              <a:off x="6238875" y="3394075"/>
              <a:ext cx="57150" cy="57150"/>
            </a:xfrm>
            <a:custGeom>
              <a:avLst/>
              <a:gdLst>
                <a:gd name="T0" fmla="*/ 0 w 36"/>
                <a:gd name="T1" fmla="*/ 0 h 36"/>
                <a:gd name="T2" fmla="*/ 36 w 36"/>
                <a:gd name="T3" fmla="*/ 0 h 36"/>
                <a:gd name="T4" fmla="*/ 36 w 36"/>
                <a:gd name="T5" fmla="*/ 36 h 36"/>
                <a:gd name="T6" fmla="*/ 0 w 36"/>
                <a:gd name="T7" fmla="*/ 36 h 36"/>
                <a:gd name="T8" fmla="*/ 0 w 36"/>
                <a:gd name="T9" fmla="*/ 0 h 36"/>
                <a:gd name="T10" fmla="*/ 0 w 36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6">
                  <a:moveTo>
                    <a:pt x="0" y="0"/>
                  </a:moveTo>
                  <a:lnTo>
                    <a:pt x="36" y="0"/>
                  </a:lnTo>
                  <a:lnTo>
                    <a:pt x="36" y="36"/>
                  </a:lnTo>
                  <a:lnTo>
                    <a:pt x="0" y="3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80"/>
            <p:cNvSpPr>
              <a:spLocks/>
            </p:cNvSpPr>
            <p:nvPr/>
          </p:nvSpPr>
          <p:spPr bwMode="auto">
            <a:xfrm>
              <a:off x="6119813" y="3394075"/>
              <a:ext cx="60325" cy="57150"/>
            </a:xfrm>
            <a:custGeom>
              <a:avLst/>
              <a:gdLst>
                <a:gd name="T0" fmla="*/ 37 w 38"/>
                <a:gd name="T1" fmla="*/ 0 h 36"/>
                <a:gd name="T2" fmla="*/ 37 w 38"/>
                <a:gd name="T3" fmla="*/ 36 h 36"/>
                <a:gd name="T4" fmla="*/ 0 w 38"/>
                <a:gd name="T5" fmla="*/ 36 h 36"/>
                <a:gd name="T6" fmla="*/ 0 w 38"/>
                <a:gd name="T7" fmla="*/ 0 h 36"/>
                <a:gd name="T8" fmla="*/ 0 w 38"/>
                <a:gd name="T9" fmla="*/ 1 h 36"/>
                <a:gd name="T10" fmla="*/ 38 w 38"/>
                <a:gd name="T11" fmla="*/ 1 h 36"/>
                <a:gd name="T12" fmla="*/ 37 w 38"/>
                <a:gd name="T1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36">
                  <a:moveTo>
                    <a:pt x="37" y="0"/>
                  </a:moveTo>
                  <a:lnTo>
                    <a:pt x="37" y="36"/>
                  </a:lnTo>
                  <a:lnTo>
                    <a:pt x="0" y="36"/>
                  </a:lnTo>
                  <a:lnTo>
                    <a:pt x="0" y="0"/>
                  </a:lnTo>
                  <a:lnTo>
                    <a:pt x="0" y="1"/>
                  </a:lnTo>
                  <a:lnTo>
                    <a:pt x="38" y="1"/>
                  </a:lnTo>
                  <a:lnTo>
                    <a:pt x="37" y="0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81"/>
            <p:cNvSpPr>
              <a:spLocks/>
            </p:cNvSpPr>
            <p:nvPr/>
          </p:nvSpPr>
          <p:spPr bwMode="auto">
            <a:xfrm>
              <a:off x="6061075" y="3155950"/>
              <a:ext cx="58738" cy="61913"/>
            </a:xfrm>
            <a:custGeom>
              <a:avLst/>
              <a:gdLst>
                <a:gd name="T0" fmla="*/ 173 w 173"/>
                <a:gd name="T1" fmla="*/ 177 h 180"/>
                <a:gd name="T2" fmla="*/ 2 w 173"/>
                <a:gd name="T3" fmla="*/ 177 h 180"/>
                <a:gd name="T4" fmla="*/ 2 w 173"/>
                <a:gd name="T5" fmla="*/ 0 h 180"/>
                <a:gd name="T6" fmla="*/ 0 w 173"/>
                <a:gd name="T7" fmla="*/ 3 h 180"/>
                <a:gd name="T8" fmla="*/ 171 w 173"/>
                <a:gd name="T9" fmla="*/ 3 h 180"/>
                <a:gd name="T10" fmla="*/ 171 w 173"/>
                <a:gd name="T11" fmla="*/ 180 h 180"/>
                <a:gd name="T12" fmla="*/ 173 w 173"/>
                <a:gd name="T13" fmla="*/ 17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3" h="180">
                  <a:moveTo>
                    <a:pt x="173" y="177"/>
                  </a:moveTo>
                  <a:lnTo>
                    <a:pt x="2" y="177"/>
                  </a:lnTo>
                  <a:cubicBezTo>
                    <a:pt x="2" y="117"/>
                    <a:pt x="2" y="58"/>
                    <a:pt x="2" y="0"/>
                  </a:cubicBezTo>
                  <a:lnTo>
                    <a:pt x="0" y="3"/>
                  </a:lnTo>
                  <a:cubicBezTo>
                    <a:pt x="54" y="3"/>
                    <a:pt x="108" y="3"/>
                    <a:pt x="171" y="3"/>
                  </a:cubicBezTo>
                  <a:cubicBezTo>
                    <a:pt x="171" y="67"/>
                    <a:pt x="171" y="123"/>
                    <a:pt x="171" y="180"/>
                  </a:cubicBezTo>
                  <a:lnTo>
                    <a:pt x="173" y="177"/>
                  </a:lnTo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Rectangle 82"/>
            <p:cNvSpPr>
              <a:spLocks noChangeArrowheads="1"/>
            </p:cNvSpPr>
            <p:nvPr/>
          </p:nvSpPr>
          <p:spPr bwMode="auto">
            <a:xfrm>
              <a:off x="5586413" y="2921000"/>
              <a:ext cx="174625" cy="174625"/>
            </a:xfrm>
            <a:prstGeom prst="rect">
              <a:avLst/>
            </a:pr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Rectangle 83"/>
            <p:cNvSpPr>
              <a:spLocks noChangeArrowheads="1"/>
            </p:cNvSpPr>
            <p:nvPr/>
          </p:nvSpPr>
          <p:spPr bwMode="auto">
            <a:xfrm>
              <a:off x="6418263" y="2922588"/>
              <a:ext cx="174625" cy="173038"/>
            </a:xfrm>
            <a:prstGeom prst="rect">
              <a:avLst/>
            </a:pr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Rectangle 84"/>
            <p:cNvSpPr>
              <a:spLocks noChangeArrowheads="1"/>
            </p:cNvSpPr>
            <p:nvPr/>
          </p:nvSpPr>
          <p:spPr bwMode="auto">
            <a:xfrm>
              <a:off x="5588000" y="3752850"/>
              <a:ext cx="174625" cy="174625"/>
            </a:xfrm>
            <a:prstGeom prst="rect">
              <a:avLst/>
            </a:pr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ZoneTexte 172"/>
            <p:cNvSpPr txBox="1"/>
            <p:nvPr/>
          </p:nvSpPr>
          <p:spPr>
            <a:xfrm>
              <a:off x="5182543" y="4579499"/>
              <a:ext cx="220712" cy="293204"/>
            </a:xfrm>
            <a:custGeom>
              <a:avLst/>
              <a:gdLst/>
              <a:ahLst/>
              <a:cxnLst/>
              <a:rect l="l" t="t" r="r" b="b"/>
              <a:pathLst>
                <a:path w="220712" h="293204">
                  <a:moveTo>
                    <a:pt x="116704" y="0"/>
                  </a:moveTo>
                  <a:cubicBezTo>
                    <a:pt x="133760" y="34"/>
                    <a:pt x="150351" y="2215"/>
                    <a:pt x="166478" y="6543"/>
                  </a:cubicBezTo>
                  <a:cubicBezTo>
                    <a:pt x="182605" y="10871"/>
                    <a:pt x="196728" y="17142"/>
                    <a:pt x="208847" y="25356"/>
                  </a:cubicBezTo>
                  <a:lnTo>
                    <a:pt x="195348" y="58161"/>
                  </a:lnTo>
                  <a:cubicBezTo>
                    <a:pt x="182735" y="50182"/>
                    <a:pt x="169682" y="44281"/>
                    <a:pt x="156189" y="40458"/>
                  </a:cubicBezTo>
                  <a:cubicBezTo>
                    <a:pt x="142696" y="36635"/>
                    <a:pt x="129534" y="34737"/>
                    <a:pt x="116704" y="34762"/>
                  </a:cubicBezTo>
                  <a:cubicBezTo>
                    <a:pt x="92470" y="35096"/>
                    <a:pt x="74766" y="39560"/>
                    <a:pt x="63593" y="48155"/>
                  </a:cubicBezTo>
                  <a:cubicBezTo>
                    <a:pt x="52419" y="56750"/>
                    <a:pt x="46905" y="67475"/>
                    <a:pt x="47050" y="80329"/>
                  </a:cubicBezTo>
                  <a:cubicBezTo>
                    <a:pt x="47513" y="94005"/>
                    <a:pt x="53533" y="104173"/>
                    <a:pt x="65110" y="110834"/>
                  </a:cubicBezTo>
                  <a:cubicBezTo>
                    <a:pt x="76688" y="117495"/>
                    <a:pt x="91044" y="122753"/>
                    <a:pt x="108178" y="126608"/>
                  </a:cubicBezTo>
                  <a:cubicBezTo>
                    <a:pt x="125313" y="130464"/>
                    <a:pt x="142447" y="135020"/>
                    <a:pt x="159581" y="140279"/>
                  </a:cubicBezTo>
                  <a:cubicBezTo>
                    <a:pt x="176716" y="145538"/>
                    <a:pt x="191072" y="153602"/>
                    <a:pt x="202649" y="164473"/>
                  </a:cubicBezTo>
                  <a:cubicBezTo>
                    <a:pt x="214226" y="175345"/>
                    <a:pt x="220247" y="191126"/>
                    <a:pt x="220710" y="211819"/>
                  </a:cubicBezTo>
                  <a:cubicBezTo>
                    <a:pt x="220823" y="234355"/>
                    <a:pt x="211802" y="253389"/>
                    <a:pt x="193646" y="268922"/>
                  </a:cubicBezTo>
                  <a:cubicBezTo>
                    <a:pt x="175491" y="284454"/>
                    <a:pt x="147522" y="292548"/>
                    <a:pt x="109739" y="293204"/>
                  </a:cubicBezTo>
                  <a:cubicBezTo>
                    <a:pt x="87418" y="293034"/>
                    <a:pt x="66512" y="289694"/>
                    <a:pt x="47022" y="283184"/>
                  </a:cubicBezTo>
                  <a:cubicBezTo>
                    <a:pt x="27532" y="276675"/>
                    <a:pt x="11858" y="268018"/>
                    <a:pt x="0" y="257215"/>
                  </a:cubicBezTo>
                  <a:lnTo>
                    <a:pt x="15144" y="225315"/>
                  </a:lnTo>
                  <a:cubicBezTo>
                    <a:pt x="26086" y="235105"/>
                    <a:pt x="39901" y="243029"/>
                    <a:pt x="56589" y="249086"/>
                  </a:cubicBezTo>
                  <a:cubicBezTo>
                    <a:pt x="73277" y="255144"/>
                    <a:pt x="90994" y="258263"/>
                    <a:pt x="109739" y="258442"/>
                  </a:cubicBezTo>
                  <a:cubicBezTo>
                    <a:pt x="134382" y="258160"/>
                    <a:pt x="152394" y="253917"/>
                    <a:pt x="163772" y="245712"/>
                  </a:cubicBezTo>
                  <a:cubicBezTo>
                    <a:pt x="175151" y="237507"/>
                    <a:pt x="180768" y="227028"/>
                    <a:pt x="180623" y="214273"/>
                  </a:cubicBezTo>
                  <a:cubicBezTo>
                    <a:pt x="180159" y="200636"/>
                    <a:pt x="174139" y="190505"/>
                    <a:pt x="162562" y="183880"/>
                  </a:cubicBezTo>
                  <a:cubicBezTo>
                    <a:pt x="150985" y="177255"/>
                    <a:pt x="136629" y="172017"/>
                    <a:pt x="119494" y="168167"/>
                  </a:cubicBezTo>
                  <a:cubicBezTo>
                    <a:pt x="102360" y="164316"/>
                    <a:pt x="85225" y="159734"/>
                    <a:pt x="68091" y="154420"/>
                  </a:cubicBezTo>
                  <a:cubicBezTo>
                    <a:pt x="50957" y="149105"/>
                    <a:pt x="36601" y="140941"/>
                    <a:pt x="25023" y="129925"/>
                  </a:cubicBezTo>
                  <a:cubicBezTo>
                    <a:pt x="13446" y="118910"/>
                    <a:pt x="7426" y="102925"/>
                    <a:pt x="6963" y="81971"/>
                  </a:cubicBezTo>
                  <a:cubicBezTo>
                    <a:pt x="6824" y="59159"/>
                    <a:pt x="15692" y="39955"/>
                    <a:pt x="33565" y="24360"/>
                  </a:cubicBezTo>
                  <a:cubicBezTo>
                    <a:pt x="51439" y="8764"/>
                    <a:pt x="79152" y="644"/>
                    <a:pt x="116704" y="0"/>
                  </a:cubicBez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 dirty="0">
                <a:gradFill>
                  <a:gsLst>
                    <a:gs pos="100000">
                      <a:srgbClr val="FEC232"/>
                    </a:gs>
                    <a:gs pos="0">
                      <a:srgbClr val="E57518"/>
                    </a:gs>
                  </a:gsLst>
                  <a:lin ang="12600000" scaled="0"/>
                </a:gradFill>
                <a:latin typeface="Montserrat Black" panose="00000A00000000000000" pitchFamily="50" charset="0"/>
              </a:endParaRPr>
            </a:p>
          </p:txBody>
        </p:sp>
        <p:sp>
          <p:nvSpPr>
            <p:cNvPr id="174" name="ZoneTexte 173"/>
            <p:cNvSpPr txBox="1"/>
            <p:nvPr/>
          </p:nvSpPr>
          <p:spPr>
            <a:xfrm>
              <a:off x="5442585" y="4579499"/>
              <a:ext cx="260848" cy="293204"/>
            </a:xfrm>
            <a:custGeom>
              <a:avLst/>
              <a:gdLst/>
              <a:ahLst/>
              <a:cxnLst/>
              <a:rect l="l" t="t" r="r" b="b"/>
              <a:pathLst>
                <a:path w="260848" h="293204">
                  <a:moveTo>
                    <a:pt x="151901" y="0"/>
                  </a:moveTo>
                  <a:cubicBezTo>
                    <a:pt x="174155" y="16"/>
                    <a:pt x="194565" y="3766"/>
                    <a:pt x="213133" y="11249"/>
                  </a:cubicBezTo>
                  <a:cubicBezTo>
                    <a:pt x="231700" y="18732"/>
                    <a:pt x="247605" y="29847"/>
                    <a:pt x="260848" y="44595"/>
                  </a:cubicBezTo>
                  <a:lnTo>
                    <a:pt x="234226" y="70404"/>
                  </a:lnTo>
                  <a:cubicBezTo>
                    <a:pt x="223159" y="58771"/>
                    <a:pt x="210888" y="50185"/>
                    <a:pt x="197415" y="44646"/>
                  </a:cubicBezTo>
                  <a:cubicBezTo>
                    <a:pt x="183942" y="39106"/>
                    <a:pt x="169317" y="36358"/>
                    <a:pt x="153539" y="36401"/>
                  </a:cubicBezTo>
                  <a:cubicBezTo>
                    <a:pt x="120534" y="37024"/>
                    <a:pt x="93673" y="47453"/>
                    <a:pt x="72956" y="67690"/>
                  </a:cubicBezTo>
                  <a:cubicBezTo>
                    <a:pt x="52238" y="87926"/>
                    <a:pt x="41555" y="114230"/>
                    <a:pt x="40906" y="146602"/>
                  </a:cubicBezTo>
                  <a:cubicBezTo>
                    <a:pt x="41555" y="178975"/>
                    <a:pt x="52238" y="205279"/>
                    <a:pt x="72956" y="225515"/>
                  </a:cubicBezTo>
                  <a:cubicBezTo>
                    <a:pt x="93673" y="245751"/>
                    <a:pt x="120534" y="256180"/>
                    <a:pt x="153539" y="256803"/>
                  </a:cubicBezTo>
                  <a:cubicBezTo>
                    <a:pt x="169317" y="256829"/>
                    <a:pt x="183942" y="254012"/>
                    <a:pt x="197415" y="248354"/>
                  </a:cubicBezTo>
                  <a:cubicBezTo>
                    <a:pt x="210888" y="242695"/>
                    <a:pt x="223159" y="234041"/>
                    <a:pt x="234226" y="222391"/>
                  </a:cubicBezTo>
                  <a:lnTo>
                    <a:pt x="260848" y="248200"/>
                  </a:lnTo>
                  <a:cubicBezTo>
                    <a:pt x="247614" y="262965"/>
                    <a:pt x="231691" y="274148"/>
                    <a:pt x="213081" y="281750"/>
                  </a:cubicBezTo>
                  <a:cubicBezTo>
                    <a:pt x="194471" y="289353"/>
                    <a:pt x="173941" y="293170"/>
                    <a:pt x="151492" y="293204"/>
                  </a:cubicBezTo>
                  <a:cubicBezTo>
                    <a:pt x="122286" y="292965"/>
                    <a:pt x="96330" y="286577"/>
                    <a:pt x="73625" y="274041"/>
                  </a:cubicBezTo>
                  <a:cubicBezTo>
                    <a:pt x="50919" y="261505"/>
                    <a:pt x="33038" y="244258"/>
                    <a:pt x="19980" y="222300"/>
                  </a:cubicBezTo>
                  <a:cubicBezTo>
                    <a:pt x="6922" y="200341"/>
                    <a:pt x="262" y="175109"/>
                    <a:pt x="0" y="146602"/>
                  </a:cubicBezTo>
                  <a:cubicBezTo>
                    <a:pt x="260" y="118096"/>
                    <a:pt x="6925" y="92863"/>
                    <a:pt x="19995" y="70905"/>
                  </a:cubicBezTo>
                  <a:cubicBezTo>
                    <a:pt x="33066" y="48946"/>
                    <a:pt x="50983" y="31699"/>
                    <a:pt x="73746" y="19163"/>
                  </a:cubicBezTo>
                  <a:cubicBezTo>
                    <a:pt x="96510" y="6627"/>
                    <a:pt x="122561" y="239"/>
                    <a:pt x="151901" y="0"/>
                  </a:cubicBez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 dirty="0">
                <a:gradFill>
                  <a:gsLst>
                    <a:gs pos="100000">
                      <a:srgbClr val="FEC232"/>
                    </a:gs>
                    <a:gs pos="0">
                      <a:srgbClr val="E57518"/>
                    </a:gs>
                  </a:gsLst>
                  <a:lin ang="12600000" scaled="0"/>
                </a:gradFill>
                <a:latin typeface="Montserrat Black" panose="00000A00000000000000" pitchFamily="50" charset="0"/>
              </a:endParaRPr>
            </a:p>
          </p:txBody>
        </p:sp>
        <p:sp>
          <p:nvSpPr>
            <p:cNvPr id="175" name="ZoneTexte 174"/>
            <p:cNvSpPr txBox="1"/>
            <p:nvPr/>
          </p:nvSpPr>
          <p:spPr>
            <a:xfrm>
              <a:off x="6709410" y="4579499"/>
              <a:ext cx="304672" cy="293204"/>
            </a:xfrm>
            <a:custGeom>
              <a:avLst/>
              <a:gdLst/>
              <a:ahLst/>
              <a:cxnLst/>
              <a:rect l="l" t="t" r="r" b="b"/>
              <a:pathLst>
                <a:path w="304672" h="293204">
                  <a:moveTo>
                    <a:pt x="152746" y="0"/>
                  </a:moveTo>
                  <a:cubicBezTo>
                    <a:pt x="182092" y="247"/>
                    <a:pt x="208149" y="6665"/>
                    <a:pt x="230916" y="19254"/>
                  </a:cubicBezTo>
                  <a:cubicBezTo>
                    <a:pt x="253684" y="31843"/>
                    <a:pt x="271603" y="49121"/>
                    <a:pt x="284675" y="71087"/>
                  </a:cubicBezTo>
                  <a:cubicBezTo>
                    <a:pt x="297747" y="93053"/>
                    <a:pt x="304413" y="118225"/>
                    <a:pt x="304672" y="146602"/>
                  </a:cubicBezTo>
                  <a:cubicBezTo>
                    <a:pt x="304413" y="174980"/>
                    <a:pt x="297747" y="200152"/>
                    <a:pt x="284675" y="222118"/>
                  </a:cubicBezTo>
                  <a:cubicBezTo>
                    <a:pt x="271603" y="244084"/>
                    <a:pt x="253684" y="261361"/>
                    <a:pt x="230916" y="273950"/>
                  </a:cubicBezTo>
                  <a:cubicBezTo>
                    <a:pt x="208149" y="286539"/>
                    <a:pt x="182092" y="292957"/>
                    <a:pt x="152746" y="293204"/>
                  </a:cubicBezTo>
                  <a:cubicBezTo>
                    <a:pt x="123131" y="292950"/>
                    <a:pt x="96883" y="286501"/>
                    <a:pt x="73999" y="273859"/>
                  </a:cubicBezTo>
                  <a:cubicBezTo>
                    <a:pt x="51115" y="261217"/>
                    <a:pt x="33125" y="243909"/>
                    <a:pt x="20028" y="221936"/>
                  </a:cubicBezTo>
                  <a:cubicBezTo>
                    <a:pt x="6930" y="199962"/>
                    <a:pt x="255" y="174851"/>
                    <a:pt x="0" y="146602"/>
                  </a:cubicBezTo>
                  <a:cubicBezTo>
                    <a:pt x="255" y="118354"/>
                    <a:pt x="6930" y="93242"/>
                    <a:pt x="20028" y="71269"/>
                  </a:cubicBezTo>
                  <a:cubicBezTo>
                    <a:pt x="33125" y="49295"/>
                    <a:pt x="51115" y="31987"/>
                    <a:pt x="73999" y="19345"/>
                  </a:cubicBezTo>
                  <a:cubicBezTo>
                    <a:pt x="96883" y="6703"/>
                    <a:pt x="123131" y="254"/>
                    <a:pt x="152746" y="0"/>
                  </a:cubicBezTo>
                  <a:close/>
                  <a:moveTo>
                    <a:pt x="152746" y="36401"/>
                  </a:moveTo>
                  <a:cubicBezTo>
                    <a:pt x="119947" y="37024"/>
                    <a:pt x="93267" y="47453"/>
                    <a:pt x="72707" y="67690"/>
                  </a:cubicBezTo>
                  <a:cubicBezTo>
                    <a:pt x="52146" y="87926"/>
                    <a:pt x="41546" y="114230"/>
                    <a:pt x="40906" y="146602"/>
                  </a:cubicBezTo>
                  <a:cubicBezTo>
                    <a:pt x="41546" y="178975"/>
                    <a:pt x="52146" y="205279"/>
                    <a:pt x="72707" y="225515"/>
                  </a:cubicBezTo>
                  <a:cubicBezTo>
                    <a:pt x="93267" y="245751"/>
                    <a:pt x="119947" y="256180"/>
                    <a:pt x="152746" y="256803"/>
                  </a:cubicBezTo>
                  <a:cubicBezTo>
                    <a:pt x="185152" y="256180"/>
                    <a:pt x="211593" y="245751"/>
                    <a:pt x="232068" y="225515"/>
                  </a:cubicBezTo>
                  <a:cubicBezTo>
                    <a:pt x="252543" y="205279"/>
                    <a:pt x="263109" y="178975"/>
                    <a:pt x="263766" y="146602"/>
                  </a:cubicBezTo>
                  <a:cubicBezTo>
                    <a:pt x="263109" y="114230"/>
                    <a:pt x="252543" y="87926"/>
                    <a:pt x="232068" y="67690"/>
                  </a:cubicBezTo>
                  <a:cubicBezTo>
                    <a:pt x="211593" y="47453"/>
                    <a:pt x="185152" y="37024"/>
                    <a:pt x="152746" y="36401"/>
                  </a:cubicBez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 dirty="0">
                <a:gradFill>
                  <a:gsLst>
                    <a:gs pos="100000">
                      <a:srgbClr val="FEC232"/>
                    </a:gs>
                    <a:gs pos="0">
                      <a:srgbClr val="E57518"/>
                    </a:gs>
                  </a:gsLst>
                  <a:lin ang="12600000" scaled="0"/>
                </a:gradFill>
                <a:latin typeface="Montserrat Black" panose="00000A00000000000000" pitchFamily="50" charset="0"/>
              </a:endParaRPr>
            </a:p>
          </p:txBody>
        </p:sp>
        <p:sp>
          <p:nvSpPr>
            <p:cNvPr id="176" name="ZoneTexte 175"/>
            <p:cNvSpPr txBox="1"/>
            <p:nvPr/>
          </p:nvSpPr>
          <p:spPr>
            <a:xfrm>
              <a:off x="5717791" y="4582775"/>
              <a:ext cx="300577" cy="286652"/>
            </a:xfrm>
            <a:custGeom>
              <a:avLst/>
              <a:gdLst/>
              <a:ahLst/>
              <a:cxnLst/>
              <a:rect l="l" t="t" r="r" b="b"/>
              <a:pathLst>
                <a:path w="300577" h="286652">
                  <a:moveTo>
                    <a:pt x="129813" y="0"/>
                  </a:moveTo>
                  <a:lnTo>
                    <a:pt x="170354" y="0"/>
                  </a:lnTo>
                  <a:lnTo>
                    <a:pt x="300577" y="286652"/>
                  </a:lnTo>
                  <a:lnTo>
                    <a:pt x="257579" y="286652"/>
                  </a:lnTo>
                  <a:lnTo>
                    <a:pt x="226047" y="214976"/>
                  </a:lnTo>
                  <a:lnTo>
                    <a:pt x="73711" y="214976"/>
                  </a:lnTo>
                  <a:lnTo>
                    <a:pt x="42179" y="286652"/>
                  </a:lnTo>
                  <a:lnTo>
                    <a:pt x="0" y="286652"/>
                  </a:lnTo>
                  <a:lnTo>
                    <a:pt x="129813" y="0"/>
                  </a:lnTo>
                  <a:close/>
                  <a:moveTo>
                    <a:pt x="149879" y="41726"/>
                  </a:moveTo>
                  <a:lnTo>
                    <a:pt x="88044" y="182261"/>
                  </a:lnTo>
                  <a:lnTo>
                    <a:pt x="211714" y="182261"/>
                  </a:lnTo>
                  <a:lnTo>
                    <a:pt x="149879" y="41726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 dirty="0">
                <a:gradFill>
                  <a:gsLst>
                    <a:gs pos="100000">
                      <a:srgbClr val="FEC232"/>
                    </a:gs>
                    <a:gs pos="0">
                      <a:srgbClr val="E57518"/>
                    </a:gs>
                  </a:gsLst>
                  <a:lin ang="12600000" scaled="0"/>
                </a:gradFill>
                <a:latin typeface="Montserrat Black" panose="00000A00000000000000" pitchFamily="50" charset="0"/>
              </a:endParaRPr>
            </a:p>
          </p:txBody>
        </p:sp>
        <p:sp>
          <p:nvSpPr>
            <p:cNvPr id="177" name="ZoneTexte 176"/>
            <p:cNvSpPr txBox="1"/>
            <p:nvPr/>
          </p:nvSpPr>
          <p:spPr>
            <a:xfrm>
              <a:off x="6056481" y="4582775"/>
              <a:ext cx="246513" cy="286652"/>
            </a:xfrm>
            <a:custGeom>
              <a:avLst/>
              <a:gdLst/>
              <a:ahLst/>
              <a:cxnLst/>
              <a:rect l="l" t="t" r="r" b="b"/>
              <a:pathLst>
                <a:path w="246513" h="286652">
                  <a:moveTo>
                    <a:pt x="0" y="0"/>
                  </a:moveTo>
                  <a:lnTo>
                    <a:pt x="33543" y="0"/>
                  </a:lnTo>
                  <a:lnTo>
                    <a:pt x="205606" y="213761"/>
                  </a:lnTo>
                  <a:lnTo>
                    <a:pt x="205606" y="0"/>
                  </a:lnTo>
                  <a:lnTo>
                    <a:pt x="246513" y="0"/>
                  </a:lnTo>
                  <a:lnTo>
                    <a:pt x="246513" y="286652"/>
                  </a:lnTo>
                  <a:lnTo>
                    <a:pt x="212969" y="286652"/>
                  </a:lnTo>
                  <a:lnTo>
                    <a:pt x="40906" y="72893"/>
                  </a:lnTo>
                  <a:lnTo>
                    <a:pt x="40906" y="286652"/>
                  </a:lnTo>
                  <a:lnTo>
                    <a:pt x="0" y="286652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 dirty="0">
                <a:gradFill>
                  <a:gsLst>
                    <a:gs pos="100000">
                      <a:srgbClr val="FEC232"/>
                    </a:gs>
                    <a:gs pos="0">
                      <a:srgbClr val="E57518"/>
                    </a:gs>
                  </a:gsLst>
                  <a:lin ang="12600000" scaled="0"/>
                </a:gradFill>
                <a:latin typeface="Montserrat Black" panose="00000A00000000000000" pitchFamily="50" charset="0"/>
              </a:endParaRPr>
            </a:p>
          </p:txBody>
        </p:sp>
        <p:sp>
          <p:nvSpPr>
            <p:cNvPr id="178" name="ZoneTexte 177"/>
            <p:cNvSpPr txBox="1"/>
            <p:nvPr/>
          </p:nvSpPr>
          <p:spPr>
            <a:xfrm>
              <a:off x="6453264" y="4582775"/>
              <a:ext cx="237092" cy="286652"/>
            </a:xfrm>
            <a:custGeom>
              <a:avLst/>
              <a:gdLst/>
              <a:ahLst/>
              <a:cxnLst/>
              <a:rect l="l" t="t" r="r" b="b"/>
              <a:pathLst>
                <a:path w="237092" h="286652">
                  <a:moveTo>
                    <a:pt x="0" y="0"/>
                  </a:moveTo>
                  <a:lnTo>
                    <a:pt x="237092" y="0"/>
                  </a:lnTo>
                  <a:lnTo>
                    <a:pt x="237092" y="35582"/>
                  </a:lnTo>
                  <a:lnTo>
                    <a:pt x="138794" y="35582"/>
                  </a:lnTo>
                  <a:lnTo>
                    <a:pt x="138794" y="286652"/>
                  </a:lnTo>
                  <a:lnTo>
                    <a:pt x="98298" y="286652"/>
                  </a:lnTo>
                  <a:lnTo>
                    <a:pt x="98298" y="35582"/>
                  </a:lnTo>
                  <a:lnTo>
                    <a:pt x="0" y="35582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 dirty="0">
                <a:gradFill>
                  <a:gsLst>
                    <a:gs pos="100000">
                      <a:srgbClr val="FEC232"/>
                    </a:gs>
                    <a:gs pos="0">
                      <a:srgbClr val="E57518"/>
                    </a:gs>
                  </a:gsLst>
                  <a:lin ang="12600000" scaled="0"/>
                </a:gradFill>
                <a:latin typeface="Montserrat Black" panose="00000A00000000000000" pitchFamily="50" charset="0"/>
              </a:endParaRPr>
            </a:p>
          </p:txBody>
        </p:sp>
        <p:sp>
          <p:nvSpPr>
            <p:cNvPr id="179" name="ZoneTexte 178"/>
            <p:cNvSpPr txBox="1"/>
            <p:nvPr/>
          </p:nvSpPr>
          <p:spPr>
            <a:xfrm>
              <a:off x="5885450" y="5061997"/>
              <a:ext cx="258390" cy="299759"/>
            </a:xfrm>
            <a:custGeom>
              <a:avLst/>
              <a:gdLst/>
              <a:ahLst/>
              <a:cxnLst/>
              <a:rect l="l" t="t" r="r" b="b"/>
              <a:pathLst>
                <a:path w="258390" h="299759">
                  <a:moveTo>
                    <a:pt x="138006" y="1"/>
                  </a:moveTo>
                  <a:cubicBezTo>
                    <a:pt x="157492" y="-7"/>
                    <a:pt x="176588" y="2056"/>
                    <a:pt x="195294" y="6192"/>
                  </a:cubicBezTo>
                  <a:cubicBezTo>
                    <a:pt x="214000" y="10328"/>
                    <a:pt x="230939" y="16586"/>
                    <a:pt x="246110" y="24968"/>
                  </a:cubicBezTo>
                  <a:lnTo>
                    <a:pt x="217046" y="94963"/>
                  </a:lnTo>
                  <a:cubicBezTo>
                    <a:pt x="188805" y="80702"/>
                    <a:pt x="162185" y="73605"/>
                    <a:pt x="137186" y="73673"/>
                  </a:cubicBezTo>
                  <a:cubicBezTo>
                    <a:pt x="123258" y="73810"/>
                    <a:pt x="113506" y="75584"/>
                    <a:pt x="107929" y="78996"/>
                  </a:cubicBezTo>
                  <a:cubicBezTo>
                    <a:pt x="102353" y="82408"/>
                    <a:pt x="99671" y="86639"/>
                    <a:pt x="99885" y="91688"/>
                  </a:cubicBezTo>
                  <a:cubicBezTo>
                    <a:pt x="100307" y="98304"/>
                    <a:pt x="105802" y="103187"/>
                    <a:pt x="116369" y="106338"/>
                  </a:cubicBezTo>
                  <a:cubicBezTo>
                    <a:pt x="126937" y="109488"/>
                    <a:pt x="140040" y="112485"/>
                    <a:pt x="155679" y="115329"/>
                  </a:cubicBezTo>
                  <a:cubicBezTo>
                    <a:pt x="171318" y="118173"/>
                    <a:pt x="186957" y="122442"/>
                    <a:pt x="202596" y="128138"/>
                  </a:cubicBezTo>
                  <a:cubicBezTo>
                    <a:pt x="218236" y="133833"/>
                    <a:pt x="231339" y="142534"/>
                    <a:pt x="241906" y="154240"/>
                  </a:cubicBezTo>
                  <a:cubicBezTo>
                    <a:pt x="252473" y="165946"/>
                    <a:pt x="257968" y="182237"/>
                    <a:pt x="258390" y="203112"/>
                  </a:cubicBezTo>
                  <a:cubicBezTo>
                    <a:pt x="258388" y="220815"/>
                    <a:pt x="253435" y="236937"/>
                    <a:pt x="243530" y="251477"/>
                  </a:cubicBezTo>
                  <a:cubicBezTo>
                    <a:pt x="233626" y="266017"/>
                    <a:pt x="218784" y="277643"/>
                    <a:pt x="199003" y="286356"/>
                  </a:cubicBezTo>
                  <a:cubicBezTo>
                    <a:pt x="179223" y="295069"/>
                    <a:pt x="154519" y="299537"/>
                    <a:pt x="124889" y="299759"/>
                  </a:cubicBezTo>
                  <a:cubicBezTo>
                    <a:pt x="100508" y="299631"/>
                    <a:pt x="77284" y="296919"/>
                    <a:pt x="55218" y="291624"/>
                  </a:cubicBezTo>
                  <a:cubicBezTo>
                    <a:pt x="33152" y="286329"/>
                    <a:pt x="14746" y="279218"/>
                    <a:pt x="0" y="270290"/>
                  </a:cubicBezTo>
                  <a:lnTo>
                    <a:pt x="31113" y="199830"/>
                  </a:lnTo>
                  <a:cubicBezTo>
                    <a:pt x="44903" y="207924"/>
                    <a:pt x="60101" y="214300"/>
                    <a:pt x="76710" y="218958"/>
                  </a:cubicBezTo>
                  <a:cubicBezTo>
                    <a:pt x="93318" y="223616"/>
                    <a:pt x="109651" y="225992"/>
                    <a:pt x="125709" y="226087"/>
                  </a:cubicBezTo>
                  <a:cubicBezTo>
                    <a:pt x="139278" y="226052"/>
                    <a:pt x="148928" y="224685"/>
                    <a:pt x="154659" y="221984"/>
                  </a:cubicBezTo>
                  <a:cubicBezTo>
                    <a:pt x="160389" y="219283"/>
                    <a:pt x="163173" y="215454"/>
                    <a:pt x="163011" y="210497"/>
                  </a:cubicBezTo>
                  <a:cubicBezTo>
                    <a:pt x="162588" y="203548"/>
                    <a:pt x="157093" y="198403"/>
                    <a:pt x="146526" y="195060"/>
                  </a:cubicBezTo>
                  <a:cubicBezTo>
                    <a:pt x="135959" y="191717"/>
                    <a:pt x="122856" y="188567"/>
                    <a:pt x="107217" y="185611"/>
                  </a:cubicBezTo>
                  <a:cubicBezTo>
                    <a:pt x="91577" y="182654"/>
                    <a:pt x="75938" y="178280"/>
                    <a:pt x="60299" y="172490"/>
                  </a:cubicBezTo>
                  <a:cubicBezTo>
                    <a:pt x="44660" y="166700"/>
                    <a:pt x="31557" y="157883"/>
                    <a:pt x="20990" y="146040"/>
                  </a:cubicBezTo>
                  <a:cubicBezTo>
                    <a:pt x="10423" y="134197"/>
                    <a:pt x="4928" y="117717"/>
                    <a:pt x="4505" y="96601"/>
                  </a:cubicBezTo>
                  <a:cubicBezTo>
                    <a:pt x="4507" y="78656"/>
                    <a:pt x="9461" y="62424"/>
                    <a:pt x="19365" y="47906"/>
                  </a:cubicBezTo>
                  <a:cubicBezTo>
                    <a:pt x="29270" y="33387"/>
                    <a:pt x="44112" y="21826"/>
                    <a:pt x="63892" y="13220"/>
                  </a:cubicBezTo>
                  <a:cubicBezTo>
                    <a:pt x="83672" y="4615"/>
                    <a:pt x="108377" y="208"/>
                    <a:pt x="138006" y="1"/>
                  </a:cubicBez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 dirty="0">
                <a:gradFill>
                  <a:gsLst>
                    <a:gs pos="100000">
                      <a:srgbClr val="FEC232"/>
                    </a:gs>
                    <a:gs pos="0">
                      <a:srgbClr val="E57518"/>
                    </a:gs>
                  </a:gsLst>
                  <a:lin ang="12600000" scaled="0"/>
                </a:gradFill>
                <a:latin typeface="Montserrat Black" panose="00000A00000000000000" pitchFamily="50" charset="0"/>
              </a:endParaRPr>
            </a:p>
          </p:txBody>
        </p:sp>
        <p:sp>
          <p:nvSpPr>
            <p:cNvPr id="180" name="ZoneTexte 179"/>
            <p:cNvSpPr txBox="1"/>
            <p:nvPr/>
          </p:nvSpPr>
          <p:spPr>
            <a:xfrm>
              <a:off x="5198621" y="5068550"/>
              <a:ext cx="282556" cy="286652"/>
            </a:xfrm>
            <a:custGeom>
              <a:avLst/>
              <a:gdLst/>
              <a:ahLst/>
              <a:cxnLst/>
              <a:rect l="l" t="t" r="r" b="b"/>
              <a:pathLst>
                <a:path w="282556" h="286652">
                  <a:moveTo>
                    <a:pt x="0" y="0"/>
                  </a:moveTo>
                  <a:lnTo>
                    <a:pt x="153163" y="0"/>
                  </a:lnTo>
                  <a:cubicBezTo>
                    <a:pt x="192572" y="409"/>
                    <a:pt x="221767" y="7470"/>
                    <a:pt x="240746" y="21182"/>
                  </a:cubicBezTo>
                  <a:cubicBezTo>
                    <a:pt x="259725" y="34893"/>
                    <a:pt x="269159" y="52803"/>
                    <a:pt x="269047" y="74910"/>
                  </a:cubicBezTo>
                  <a:cubicBezTo>
                    <a:pt x="269030" y="88331"/>
                    <a:pt x="265687" y="100337"/>
                    <a:pt x="259018" y="110928"/>
                  </a:cubicBezTo>
                  <a:cubicBezTo>
                    <a:pt x="252349" y="121520"/>
                    <a:pt x="242456" y="130136"/>
                    <a:pt x="229339" y="136777"/>
                  </a:cubicBezTo>
                  <a:cubicBezTo>
                    <a:pt x="246242" y="142974"/>
                    <a:pt x="259308" y="152066"/>
                    <a:pt x="268535" y="164051"/>
                  </a:cubicBezTo>
                  <a:cubicBezTo>
                    <a:pt x="277763" y="176037"/>
                    <a:pt x="282436" y="190567"/>
                    <a:pt x="282556" y="207642"/>
                  </a:cubicBezTo>
                  <a:cubicBezTo>
                    <a:pt x="282445" y="232788"/>
                    <a:pt x="272125" y="252200"/>
                    <a:pt x="251595" y="265879"/>
                  </a:cubicBezTo>
                  <a:cubicBezTo>
                    <a:pt x="231064" y="279557"/>
                    <a:pt x="200986" y="286482"/>
                    <a:pt x="161359" y="286652"/>
                  </a:cubicBezTo>
                  <a:lnTo>
                    <a:pt x="0" y="286652"/>
                  </a:lnTo>
                  <a:lnTo>
                    <a:pt x="0" y="0"/>
                  </a:lnTo>
                  <a:close/>
                  <a:moveTo>
                    <a:pt x="94970" y="67529"/>
                  </a:moveTo>
                  <a:lnTo>
                    <a:pt x="94970" y="110176"/>
                  </a:lnTo>
                  <a:lnTo>
                    <a:pt x="140049" y="110176"/>
                  </a:lnTo>
                  <a:cubicBezTo>
                    <a:pt x="150866" y="110159"/>
                    <a:pt x="158840" y="108348"/>
                    <a:pt x="163971" y="104743"/>
                  </a:cubicBezTo>
                  <a:cubicBezTo>
                    <a:pt x="169103" y="101137"/>
                    <a:pt x="171647" y="95841"/>
                    <a:pt x="171604" y="88852"/>
                  </a:cubicBezTo>
                  <a:cubicBezTo>
                    <a:pt x="171647" y="81864"/>
                    <a:pt x="169103" y="76567"/>
                    <a:pt x="163971" y="72962"/>
                  </a:cubicBezTo>
                  <a:cubicBezTo>
                    <a:pt x="158840" y="69357"/>
                    <a:pt x="150866" y="67546"/>
                    <a:pt x="140049" y="67529"/>
                  </a:cubicBezTo>
                  <a:lnTo>
                    <a:pt x="94970" y="67529"/>
                  </a:lnTo>
                  <a:close/>
                  <a:moveTo>
                    <a:pt x="94970" y="174018"/>
                  </a:moveTo>
                  <a:lnTo>
                    <a:pt x="94970" y="219123"/>
                  </a:lnTo>
                  <a:lnTo>
                    <a:pt x="153163" y="219123"/>
                  </a:lnTo>
                  <a:cubicBezTo>
                    <a:pt x="163818" y="219106"/>
                    <a:pt x="171809" y="217192"/>
                    <a:pt x="177137" y="213382"/>
                  </a:cubicBezTo>
                  <a:cubicBezTo>
                    <a:pt x="182464" y="209573"/>
                    <a:pt x="185128" y="203969"/>
                    <a:pt x="185128" y="196571"/>
                  </a:cubicBezTo>
                  <a:cubicBezTo>
                    <a:pt x="185128" y="189173"/>
                    <a:pt x="182464" y="183569"/>
                    <a:pt x="177137" y="179759"/>
                  </a:cubicBezTo>
                  <a:cubicBezTo>
                    <a:pt x="171809" y="175949"/>
                    <a:pt x="163818" y="174036"/>
                    <a:pt x="153163" y="174018"/>
                  </a:cubicBezTo>
                  <a:lnTo>
                    <a:pt x="94970" y="174018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 dirty="0">
                <a:gradFill>
                  <a:gsLst>
                    <a:gs pos="100000">
                      <a:srgbClr val="FEC232"/>
                    </a:gs>
                    <a:gs pos="0">
                      <a:srgbClr val="E57518"/>
                    </a:gs>
                  </a:gsLst>
                  <a:lin ang="12600000" scaled="0"/>
                </a:gradFill>
                <a:latin typeface="Montserrat Black" panose="00000A00000000000000" pitchFamily="50" charset="0"/>
              </a:endParaRPr>
            </a:p>
          </p:txBody>
        </p:sp>
        <p:sp>
          <p:nvSpPr>
            <p:cNvPr id="181" name="ZoneTexte 180"/>
            <p:cNvSpPr txBox="1"/>
            <p:nvPr/>
          </p:nvSpPr>
          <p:spPr>
            <a:xfrm>
              <a:off x="5512946" y="5068550"/>
              <a:ext cx="238322" cy="286652"/>
            </a:xfrm>
            <a:custGeom>
              <a:avLst/>
              <a:gdLst/>
              <a:ahLst/>
              <a:cxnLst/>
              <a:rect l="l" t="t" r="r" b="b"/>
              <a:pathLst>
                <a:path w="238322" h="286652">
                  <a:moveTo>
                    <a:pt x="0" y="0"/>
                  </a:moveTo>
                  <a:lnTo>
                    <a:pt x="232997" y="0"/>
                  </a:lnTo>
                  <a:lnTo>
                    <a:pt x="232997" y="72853"/>
                  </a:lnTo>
                  <a:lnTo>
                    <a:pt x="94970" y="72853"/>
                  </a:lnTo>
                  <a:lnTo>
                    <a:pt x="94970" y="106490"/>
                  </a:lnTo>
                  <a:lnTo>
                    <a:pt x="216205" y="106490"/>
                  </a:lnTo>
                  <a:lnTo>
                    <a:pt x="216205" y="176066"/>
                  </a:lnTo>
                  <a:lnTo>
                    <a:pt x="94970" y="176066"/>
                  </a:lnTo>
                  <a:lnTo>
                    <a:pt x="94970" y="213798"/>
                  </a:lnTo>
                  <a:lnTo>
                    <a:pt x="238322" y="213798"/>
                  </a:lnTo>
                  <a:lnTo>
                    <a:pt x="238322" y="286652"/>
                  </a:lnTo>
                  <a:lnTo>
                    <a:pt x="0" y="286652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 dirty="0">
                <a:gradFill>
                  <a:gsLst>
                    <a:gs pos="100000">
                      <a:srgbClr val="FEC232"/>
                    </a:gs>
                    <a:gs pos="0">
                      <a:srgbClr val="E57518"/>
                    </a:gs>
                  </a:gsLst>
                  <a:lin ang="12600000" scaled="0"/>
                </a:gradFill>
                <a:latin typeface="Montserrat Black" panose="00000A00000000000000" pitchFamily="50" charset="0"/>
              </a:endParaRPr>
            </a:p>
          </p:txBody>
        </p:sp>
        <p:sp>
          <p:nvSpPr>
            <p:cNvPr id="182" name="ZoneTexte 181"/>
            <p:cNvSpPr txBox="1"/>
            <p:nvPr/>
          </p:nvSpPr>
          <p:spPr>
            <a:xfrm>
              <a:off x="6139043" y="5068550"/>
              <a:ext cx="345630" cy="286652"/>
            </a:xfrm>
            <a:custGeom>
              <a:avLst/>
              <a:gdLst/>
              <a:ahLst/>
              <a:cxnLst/>
              <a:rect l="l" t="t" r="r" b="b"/>
              <a:pathLst>
                <a:path w="345630" h="286652">
                  <a:moveTo>
                    <a:pt x="125311" y="0"/>
                  </a:moveTo>
                  <a:lnTo>
                    <a:pt x="220318" y="0"/>
                  </a:lnTo>
                  <a:lnTo>
                    <a:pt x="345630" y="286652"/>
                  </a:lnTo>
                  <a:lnTo>
                    <a:pt x="245708" y="286652"/>
                  </a:lnTo>
                  <a:lnTo>
                    <a:pt x="226461" y="236683"/>
                  </a:lnTo>
                  <a:lnTo>
                    <a:pt x="117530" y="236683"/>
                  </a:lnTo>
                  <a:lnTo>
                    <a:pt x="98283" y="286652"/>
                  </a:lnTo>
                  <a:lnTo>
                    <a:pt x="0" y="286652"/>
                  </a:lnTo>
                  <a:lnTo>
                    <a:pt x="125311" y="0"/>
                  </a:lnTo>
                  <a:close/>
                  <a:moveTo>
                    <a:pt x="171996" y="95022"/>
                  </a:moveTo>
                  <a:lnTo>
                    <a:pt x="144149" y="167107"/>
                  </a:lnTo>
                  <a:lnTo>
                    <a:pt x="199842" y="167107"/>
                  </a:lnTo>
                  <a:lnTo>
                    <a:pt x="171996" y="95022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 dirty="0">
                <a:gradFill>
                  <a:gsLst>
                    <a:gs pos="100000">
                      <a:srgbClr val="FEC232"/>
                    </a:gs>
                    <a:gs pos="0">
                      <a:srgbClr val="E57518"/>
                    </a:gs>
                  </a:gsLst>
                  <a:lin ang="12600000" scaled="0"/>
                </a:gradFill>
                <a:latin typeface="Montserrat Black" panose="00000A00000000000000" pitchFamily="50" charset="0"/>
              </a:endParaRPr>
            </a:p>
          </p:txBody>
        </p:sp>
        <p:sp>
          <p:nvSpPr>
            <p:cNvPr id="183" name="ZoneTexte 182"/>
            <p:cNvSpPr txBox="1"/>
            <p:nvPr/>
          </p:nvSpPr>
          <p:spPr>
            <a:xfrm>
              <a:off x="6503546" y="5068550"/>
              <a:ext cx="232997" cy="286652"/>
            </a:xfrm>
            <a:custGeom>
              <a:avLst/>
              <a:gdLst/>
              <a:ahLst/>
              <a:cxnLst/>
              <a:rect l="l" t="t" r="r" b="b"/>
              <a:pathLst>
                <a:path w="232997" h="286652">
                  <a:moveTo>
                    <a:pt x="0" y="0"/>
                  </a:moveTo>
                  <a:lnTo>
                    <a:pt x="232997" y="0"/>
                  </a:lnTo>
                  <a:lnTo>
                    <a:pt x="232997" y="72853"/>
                  </a:lnTo>
                  <a:lnTo>
                    <a:pt x="96609" y="72853"/>
                  </a:lnTo>
                  <a:lnTo>
                    <a:pt x="96609" y="122054"/>
                  </a:lnTo>
                  <a:lnTo>
                    <a:pt x="216204" y="122054"/>
                  </a:lnTo>
                  <a:lnTo>
                    <a:pt x="216204" y="194907"/>
                  </a:lnTo>
                  <a:lnTo>
                    <a:pt x="96609" y="194907"/>
                  </a:lnTo>
                  <a:lnTo>
                    <a:pt x="96609" y="286652"/>
                  </a:lnTo>
                  <a:lnTo>
                    <a:pt x="0" y="286652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 dirty="0">
                <a:gradFill>
                  <a:gsLst>
                    <a:gs pos="100000">
                      <a:srgbClr val="FEC232"/>
                    </a:gs>
                    <a:gs pos="0">
                      <a:srgbClr val="E57518"/>
                    </a:gs>
                  </a:gsLst>
                  <a:lin ang="12600000" scaled="0"/>
                </a:gradFill>
                <a:latin typeface="Montserrat Black" panose="00000A00000000000000" pitchFamily="50" charset="0"/>
              </a:endParaRPr>
            </a:p>
          </p:txBody>
        </p:sp>
        <p:sp>
          <p:nvSpPr>
            <p:cNvPr id="184" name="ZoneTexte 183"/>
            <p:cNvSpPr txBox="1"/>
            <p:nvPr/>
          </p:nvSpPr>
          <p:spPr>
            <a:xfrm>
              <a:off x="6770246" y="5068550"/>
              <a:ext cx="238322" cy="286652"/>
            </a:xfrm>
            <a:custGeom>
              <a:avLst/>
              <a:gdLst/>
              <a:ahLst/>
              <a:cxnLst/>
              <a:rect l="l" t="t" r="r" b="b"/>
              <a:pathLst>
                <a:path w="238322" h="286652">
                  <a:moveTo>
                    <a:pt x="0" y="0"/>
                  </a:moveTo>
                  <a:lnTo>
                    <a:pt x="232997" y="0"/>
                  </a:lnTo>
                  <a:lnTo>
                    <a:pt x="232997" y="72853"/>
                  </a:lnTo>
                  <a:lnTo>
                    <a:pt x="94970" y="72853"/>
                  </a:lnTo>
                  <a:lnTo>
                    <a:pt x="94970" y="106490"/>
                  </a:lnTo>
                  <a:lnTo>
                    <a:pt x="216204" y="106490"/>
                  </a:lnTo>
                  <a:lnTo>
                    <a:pt x="216204" y="176066"/>
                  </a:lnTo>
                  <a:lnTo>
                    <a:pt x="94970" y="176066"/>
                  </a:lnTo>
                  <a:lnTo>
                    <a:pt x="94970" y="213798"/>
                  </a:lnTo>
                  <a:lnTo>
                    <a:pt x="238322" y="213798"/>
                  </a:lnTo>
                  <a:lnTo>
                    <a:pt x="238322" y="286652"/>
                  </a:lnTo>
                  <a:lnTo>
                    <a:pt x="0" y="286652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rgbClr val="FEC232"/>
                </a:gs>
                <a:gs pos="0">
                  <a:srgbClr val="E57518"/>
                </a:gs>
              </a:gsLst>
              <a:lin ang="12600000" scaled="0"/>
            </a:gra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3200" dirty="0">
                <a:gradFill>
                  <a:gsLst>
                    <a:gs pos="100000">
                      <a:srgbClr val="FEC232"/>
                    </a:gs>
                    <a:gs pos="0">
                      <a:srgbClr val="E57518"/>
                    </a:gs>
                  </a:gsLst>
                  <a:lin ang="12600000" scaled="0"/>
                </a:gradFill>
                <a:latin typeface="Montserrat Black" panose="00000A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6986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76F233E-F721-634F-BE0B-09B74943BD28}"/>
              </a:ext>
            </a:extLst>
          </p:cNvPr>
          <p:cNvSpPr/>
          <p:nvPr/>
        </p:nvSpPr>
        <p:spPr>
          <a:xfrm>
            <a:off x="299244" y="106170"/>
            <a:ext cx="1159351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Increased Visibility Through Dashboards</a:t>
            </a:r>
          </a:p>
        </p:txBody>
      </p:sp>
      <p:pic>
        <p:nvPicPr>
          <p:cNvPr id="22" name="Image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1145" y="990982"/>
            <a:ext cx="8591343" cy="4984191"/>
          </a:xfrm>
          <a:prstGeom prst="rect">
            <a:avLst/>
          </a:prstGeom>
        </p:spPr>
      </p:pic>
      <p:grpSp>
        <p:nvGrpSpPr>
          <p:cNvPr id="117" name="Groupe 116"/>
          <p:cNvGrpSpPr/>
          <p:nvPr/>
        </p:nvGrpSpPr>
        <p:grpSpPr>
          <a:xfrm>
            <a:off x="8433633" y="1009140"/>
            <a:ext cx="592450" cy="745925"/>
            <a:chOff x="973759" y="901442"/>
            <a:chExt cx="592450" cy="745925"/>
          </a:xfrm>
        </p:grpSpPr>
        <p:sp>
          <p:nvSpPr>
            <p:cNvPr id="118" name="Freeform 14">
              <a:extLst>
                <a:ext uri="{FF2B5EF4-FFF2-40B4-BE49-F238E27FC236}">
                  <a16:creationId xmlns:a16="http://schemas.microsoft.com/office/drawing/2014/main" id="{21E75793-FCD7-E640-8EAC-91AB64E42A5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759" y="901442"/>
              <a:ext cx="592450" cy="745925"/>
            </a:xfrm>
            <a:custGeom>
              <a:avLst/>
              <a:gdLst>
                <a:gd name="T0" fmla="*/ 555 w 841"/>
                <a:gd name="T1" fmla="*/ 971 h 1059"/>
                <a:gd name="T2" fmla="*/ 841 w 841"/>
                <a:gd name="T3" fmla="*/ 436 h 1059"/>
                <a:gd name="T4" fmla="*/ 841 w 841"/>
                <a:gd name="T5" fmla="*/ 204 h 1059"/>
                <a:gd name="T6" fmla="*/ 772 w 841"/>
                <a:gd name="T7" fmla="*/ 109 h 1059"/>
                <a:gd name="T8" fmla="*/ 452 w 841"/>
                <a:gd name="T9" fmla="*/ 5 h 1059"/>
                <a:gd name="T10" fmla="*/ 420 w 841"/>
                <a:gd name="T11" fmla="*/ 0 h 1059"/>
                <a:gd name="T12" fmla="*/ 390 w 841"/>
                <a:gd name="T13" fmla="*/ 5 h 1059"/>
                <a:gd name="T14" fmla="*/ 70 w 841"/>
                <a:gd name="T15" fmla="*/ 109 h 1059"/>
                <a:gd name="T16" fmla="*/ 0 w 841"/>
                <a:gd name="T17" fmla="*/ 204 h 1059"/>
                <a:gd name="T18" fmla="*/ 0 w 841"/>
                <a:gd name="T19" fmla="*/ 436 h 1059"/>
                <a:gd name="T20" fmla="*/ 287 w 841"/>
                <a:gd name="T21" fmla="*/ 971 h 1059"/>
                <a:gd name="T22" fmla="*/ 420 w 841"/>
                <a:gd name="T23" fmla="*/ 1059 h 1059"/>
                <a:gd name="T24" fmla="*/ 555 w 841"/>
                <a:gd name="T25" fmla="*/ 971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1" h="1059">
                  <a:moveTo>
                    <a:pt x="555" y="971"/>
                  </a:moveTo>
                  <a:cubicBezTo>
                    <a:pt x="733" y="851"/>
                    <a:pt x="841" y="651"/>
                    <a:pt x="841" y="436"/>
                  </a:cubicBezTo>
                  <a:lnTo>
                    <a:pt x="841" y="204"/>
                  </a:lnTo>
                  <a:cubicBezTo>
                    <a:pt x="841" y="161"/>
                    <a:pt x="813" y="122"/>
                    <a:pt x="772" y="109"/>
                  </a:cubicBezTo>
                  <a:lnTo>
                    <a:pt x="452" y="5"/>
                  </a:lnTo>
                  <a:cubicBezTo>
                    <a:pt x="441" y="2"/>
                    <a:pt x="431" y="0"/>
                    <a:pt x="420" y="0"/>
                  </a:cubicBezTo>
                  <a:cubicBezTo>
                    <a:pt x="410" y="0"/>
                    <a:pt x="400" y="2"/>
                    <a:pt x="390" y="5"/>
                  </a:cubicBezTo>
                  <a:lnTo>
                    <a:pt x="70" y="109"/>
                  </a:lnTo>
                  <a:cubicBezTo>
                    <a:pt x="28" y="122"/>
                    <a:pt x="0" y="161"/>
                    <a:pt x="0" y="204"/>
                  </a:cubicBezTo>
                  <a:lnTo>
                    <a:pt x="0" y="436"/>
                  </a:lnTo>
                  <a:cubicBezTo>
                    <a:pt x="0" y="651"/>
                    <a:pt x="108" y="851"/>
                    <a:pt x="287" y="971"/>
                  </a:cubicBezTo>
                  <a:lnTo>
                    <a:pt x="420" y="1059"/>
                  </a:lnTo>
                  <a:lnTo>
                    <a:pt x="555" y="971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E57518"/>
                </a:gs>
                <a:gs pos="0">
                  <a:srgbClr val="FEC232">
                    <a:alpha val="7800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119" name="Group 50">
              <a:extLst>
                <a:ext uri="{FF2B5EF4-FFF2-40B4-BE49-F238E27FC236}">
                  <a16:creationId xmlns:a16="http://schemas.microsoft.com/office/drawing/2014/main" id="{DCE11775-F711-8D42-9779-CA3263A3015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88014" y="1053862"/>
              <a:ext cx="363941" cy="376804"/>
              <a:chOff x="5351" y="-1178"/>
              <a:chExt cx="679" cy="703"/>
            </a:xfrm>
            <a:gradFill>
              <a:gsLst>
                <a:gs pos="0">
                  <a:srgbClr val="A136A0">
                    <a:alpha val="90000"/>
                  </a:srgbClr>
                </a:gs>
                <a:gs pos="100000">
                  <a:srgbClr val="7030A0">
                    <a:alpha val="89000"/>
                  </a:srgbClr>
                </a:gs>
              </a:gsLst>
              <a:lin ang="12600000" scaled="0"/>
            </a:gradFill>
          </p:grpSpPr>
          <p:sp>
            <p:nvSpPr>
              <p:cNvPr id="120" name="Rectangle 51">
                <a:extLst>
                  <a:ext uri="{FF2B5EF4-FFF2-40B4-BE49-F238E27FC236}">
                    <a16:creationId xmlns:a16="http://schemas.microsoft.com/office/drawing/2014/main" id="{F32B3D5A-BF57-AB4D-91B9-6C7766100B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55" y="-1073"/>
                <a:ext cx="317" cy="24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21" name="Rectangle 52">
                <a:extLst>
                  <a:ext uri="{FF2B5EF4-FFF2-40B4-BE49-F238E27FC236}">
                    <a16:creationId xmlns:a16="http://schemas.microsoft.com/office/drawing/2014/main" id="{3707F65A-1ED9-7C41-99DA-29FDA00339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55" y="-1026"/>
                <a:ext cx="200" cy="24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22" name="Rectangle 53">
                <a:extLst>
                  <a:ext uri="{FF2B5EF4-FFF2-40B4-BE49-F238E27FC236}">
                    <a16:creationId xmlns:a16="http://schemas.microsoft.com/office/drawing/2014/main" id="{9A9360E6-CDFE-DA4F-8BC4-09EA1BD312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55" y="-979"/>
                <a:ext cx="200" cy="24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23" name="Rectangle 54">
                <a:extLst>
                  <a:ext uri="{FF2B5EF4-FFF2-40B4-BE49-F238E27FC236}">
                    <a16:creationId xmlns:a16="http://schemas.microsoft.com/office/drawing/2014/main" id="{25E4D778-FAE3-4F4D-88EB-8A11F031DA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49" y="-1119"/>
                <a:ext cx="223" cy="23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24" name="Rectangle 55">
                <a:extLst>
                  <a:ext uri="{FF2B5EF4-FFF2-40B4-BE49-F238E27FC236}">
                    <a16:creationId xmlns:a16="http://schemas.microsoft.com/office/drawing/2014/main" id="{D1402B29-2848-094E-99BE-6C27E2E6A0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02" y="-1119"/>
                <a:ext cx="24" cy="23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25" name="Rectangle 56">
                <a:extLst>
                  <a:ext uri="{FF2B5EF4-FFF2-40B4-BE49-F238E27FC236}">
                    <a16:creationId xmlns:a16="http://schemas.microsoft.com/office/drawing/2014/main" id="{5D22B5FE-734A-6D4C-BDFB-65ADB3C232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79" y="-709"/>
                <a:ext cx="23" cy="23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26" name="Freeform 57">
                <a:extLst>
                  <a:ext uri="{FF2B5EF4-FFF2-40B4-BE49-F238E27FC236}">
                    <a16:creationId xmlns:a16="http://schemas.microsoft.com/office/drawing/2014/main" id="{65845D79-0F7E-7140-B70A-0F5D37F08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-1116"/>
                <a:ext cx="45" cy="63"/>
              </a:xfrm>
              <a:custGeom>
                <a:avLst/>
                <a:gdLst>
                  <a:gd name="T0" fmla="*/ 381 w 381"/>
                  <a:gd name="T1" fmla="*/ 142 h 542"/>
                  <a:gd name="T2" fmla="*/ 239 w 381"/>
                  <a:gd name="T3" fmla="*/ 0 h 542"/>
                  <a:gd name="T4" fmla="*/ 39 w 381"/>
                  <a:gd name="T5" fmla="*/ 200 h 542"/>
                  <a:gd name="T6" fmla="*/ 39 w 381"/>
                  <a:gd name="T7" fmla="*/ 342 h 542"/>
                  <a:gd name="T8" fmla="*/ 239 w 381"/>
                  <a:gd name="T9" fmla="*/ 542 h 542"/>
                  <a:gd name="T10" fmla="*/ 381 w 381"/>
                  <a:gd name="T11" fmla="*/ 400 h 542"/>
                  <a:gd name="T12" fmla="*/ 251 w 381"/>
                  <a:gd name="T13" fmla="*/ 271 h 542"/>
                  <a:gd name="T14" fmla="*/ 381 w 381"/>
                  <a:gd name="T15" fmla="*/ 142 h 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1" h="542">
                    <a:moveTo>
                      <a:pt x="381" y="142"/>
                    </a:moveTo>
                    <a:lnTo>
                      <a:pt x="239" y="0"/>
                    </a:lnTo>
                    <a:lnTo>
                      <a:pt x="39" y="200"/>
                    </a:lnTo>
                    <a:cubicBezTo>
                      <a:pt x="0" y="239"/>
                      <a:pt x="0" y="303"/>
                      <a:pt x="39" y="342"/>
                    </a:cubicBezTo>
                    <a:lnTo>
                      <a:pt x="239" y="542"/>
                    </a:lnTo>
                    <a:lnTo>
                      <a:pt x="381" y="400"/>
                    </a:lnTo>
                    <a:lnTo>
                      <a:pt x="251" y="271"/>
                    </a:lnTo>
                    <a:lnTo>
                      <a:pt x="381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27" name="Freeform 58">
                <a:extLst>
                  <a:ext uri="{FF2B5EF4-FFF2-40B4-BE49-F238E27FC236}">
                    <a16:creationId xmlns:a16="http://schemas.microsoft.com/office/drawing/2014/main" id="{7862C4DE-9B99-B042-9B7E-EDF8882D95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8" y="-1116"/>
                <a:ext cx="45" cy="63"/>
              </a:xfrm>
              <a:custGeom>
                <a:avLst/>
                <a:gdLst>
                  <a:gd name="T0" fmla="*/ 342 w 381"/>
                  <a:gd name="T1" fmla="*/ 200 h 542"/>
                  <a:gd name="T2" fmla="*/ 142 w 381"/>
                  <a:gd name="T3" fmla="*/ 0 h 542"/>
                  <a:gd name="T4" fmla="*/ 0 w 381"/>
                  <a:gd name="T5" fmla="*/ 142 h 542"/>
                  <a:gd name="T6" fmla="*/ 130 w 381"/>
                  <a:gd name="T7" fmla="*/ 271 h 542"/>
                  <a:gd name="T8" fmla="*/ 0 w 381"/>
                  <a:gd name="T9" fmla="*/ 400 h 542"/>
                  <a:gd name="T10" fmla="*/ 142 w 381"/>
                  <a:gd name="T11" fmla="*/ 542 h 542"/>
                  <a:gd name="T12" fmla="*/ 342 w 381"/>
                  <a:gd name="T13" fmla="*/ 342 h 542"/>
                  <a:gd name="T14" fmla="*/ 342 w 381"/>
                  <a:gd name="T15" fmla="*/ 200 h 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1" h="542">
                    <a:moveTo>
                      <a:pt x="342" y="200"/>
                    </a:moveTo>
                    <a:lnTo>
                      <a:pt x="142" y="0"/>
                    </a:lnTo>
                    <a:lnTo>
                      <a:pt x="0" y="142"/>
                    </a:lnTo>
                    <a:lnTo>
                      <a:pt x="130" y="271"/>
                    </a:lnTo>
                    <a:lnTo>
                      <a:pt x="0" y="400"/>
                    </a:lnTo>
                    <a:lnTo>
                      <a:pt x="142" y="542"/>
                    </a:lnTo>
                    <a:lnTo>
                      <a:pt x="342" y="342"/>
                    </a:lnTo>
                    <a:cubicBezTo>
                      <a:pt x="381" y="303"/>
                      <a:pt x="381" y="239"/>
                      <a:pt x="342" y="20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28" name="Freeform 59">
                <a:extLst>
                  <a:ext uri="{FF2B5EF4-FFF2-40B4-BE49-F238E27FC236}">
                    <a16:creationId xmlns:a16="http://schemas.microsoft.com/office/drawing/2014/main" id="{34379AB7-C681-2447-A6FF-171A08C859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9" y="-1123"/>
                <a:ext cx="45" cy="78"/>
              </a:xfrm>
              <a:custGeom>
                <a:avLst/>
                <a:gdLst>
                  <a:gd name="T0" fmla="*/ 0 w 390"/>
                  <a:gd name="T1" fmla="*/ 600 h 664"/>
                  <a:gd name="T2" fmla="*/ 200 w 390"/>
                  <a:gd name="T3" fmla="*/ 0 h 664"/>
                  <a:gd name="T4" fmla="*/ 390 w 390"/>
                  <a:gd name="T5" fmla="*/ 64 h 664"/>
                  <a:gd name="T6" fmla="*/ 190 w 390"/>
                  <a:gd name="T7" fmla="*/ 664 h 664"/>
                  <a:gd name="T8" fmla="*/ 0 w 390"/>
                  <a:gd name="T9" fmla="*/ 600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0" h="664">
                    <a:moveTo>
                      <a:pt x="0" y="600"/>
                    </a:moveTo>
                    <a:lnTo>
                      <a:pt x="200" y="0"/>
                    </a:lnTo>
                    <a:lnTo>
                      <a:pt x="390" y="64"/>
                    </a:lnTo>
                    <a:lnTo>
                      <a:pt x="190" y="664"/>
                    </a:lnTo>
                    <a:lnTo>
                      <a:pt x="0" y="60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29" name="Freeform 60">
                <a:extLst>
                  <a:ext uri="{FF2B5EF4-FFF2-40B4-BE49-F238E27FC236}">
                    <a16:creationId xmlns:a16="http://schemas.microsoft.com/office/drawing/2014/main" id="{0390AE00-7D07-6441-AFF4-0D7B5AD1FD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4" y="-932"/>
                <a:ext cx="258" cy="141"/>
              </a:xfrm>
              <a:custGeom>
                <a:avLst/>
                <a:gdLst>
                  <a:gd name="T0" fmla="*/ 2000 w 2200"/>
                  <a:gd name="T1" fmla="*/ 1000 h 1200"/>
                  <a:gd name="T2" fmla="*/ 2000 w 2200"/>
                  <a:gd name="T3" fmla="*/ 200 h 1200"/>
                  <a:gd name="T4" fmla="*/ 1800 w 2200"/>
                  <a:gd name="T5" fmla="*/ 200 h 1200"/>
                  <a:gd name="T6" fmla="*/ 1800 w 2200"/>
                  <a:gd name="T7" fmla="*/ 1000 h 1200"/>
                  <a:gd name="T8" fmla="*/ 1600 w 2200"/>
                  <a:gd name="T9" fmla="*/ 1000 h 1200"/>
                  <a:gd name="T10" fmla="*/ 1600 w 2200"/>
                  <a:gd name="T11" fmla="*/ 0 h 1200"/>
                  <a:gd name="T12" fmla="*/ 1400 w 2200"/>
                  <a:gd name="T13" fmla="*/ 0 h 1200"/>
                  <a:gd name="T14" fmla="*/ 1400 w 2200"/>
                  <a:gd name="T15" fmla="*/ 1000 h 1200"/>
                  <a:gd name="T16" fmla="*/ 1200 w 2200"/>
                  <a:gd name="T17" fmla="*/ 1000 h 1200"/>
                  <a:gd name="T18" fmla="*/ 1200 w 2200"/>
                  <a:gd name="T19" fmla="*/ 500 h 1200"/>
                  <a:gd name="T20" fmla="*/ 1000 w 2200"/>
                  <a:gd name="T21" fmla="*/ 500 h 1200"/>
                  <a:gd name="T22" fmla="*/ 1000 w 2200"/>
                  <a:gd name="T23" fmla="*/ 1000 h 1200"/>
                  <a:gd name="T24" fmla="*/ 800 w 2200"/>
                  <a:gd name="T25" fmla="*/ 1000 h 1200"/>
                  <a:gd name="T26" fmla="*/ 800 w 2200"/>
                  <a:gd name="T27" fmla="*/ 400 h 1200"/>
                  <a:gd name="T28" fmla="*/ 600 w 2200"/>
                  <a:gd name="T29" fmla="*/ 400 h 1200"/>
                  <a:gd name="T30" fmla="*/ 600 w 2200"/>
                  <a:gd name="T31" fmla="*/ 1000 h 1200"/>
                  <a:gd name="T32" fmla="*/ 400 w 2200"/>
                  <a:gd name="T33" fmla="*/ 1000 h 1200"/>
                  <a:gd name="T34" fmla="*/ 400 w 2200"/>
                  <a:gd name="T35" fmla="*/ 600 h 1200"/>
                  <a:gd name="T36" fmla="*/ 200 w 2200"/>
                  <a:gd name="T37" fmla="*/ 600 h 1200"/>
                  <a:gd name="T38" fmla="*/ 200 w 2200"/>
                  <a:gd name="T39" fmla="*/ 1000 h 1200"/>
                  <a:gd name="T40" fmla="*/ 0 w 2200"/>
                  <a:gd name="T41" fmla="*/ 1000 h 1200"/>
                  <a:gd name="T42" fmla="*/ 0 w 2200"/>
                  <a:gd name="T43" fmla="*/ 1200 h 1200"/>
                  <a:gd name="T44" fmla="*/ 2200 w 2200"/>
                  <a:gd name="T45" fmla="*/ 1200 h 1200"/>
                  <a:gd name="T46" fmla="*/ 2200 w 2200"/>
                  <a:gd name="T47" fmla="*/ 1000 h 1200"/>
                  <a:gd name="T48" fmla="*/ 2000 w 2200"/>
                  <a:gd name="T49" fmla="*/ 1000 h 1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200" h="1200">
                    <a:moveTo>
                      <a:pt x="2000" y="1000"/>
                    </a:moveTo>
                    <a:lnTo>
                      <a:pt x="2000" y="200"/>
                    </a:lnTo>
                    <a:lnTo>
                      <a:pt x="1800" y="200"/>
                    </a:lnTo>
                    <a:lnTo>
                      <a:pt x="1800" y="1000"/>
                    </a:lnTo>
                    <a:lnTo>
                      <a:pt x="1600" y="1000"/>
                    </a:lnTo>
                    <a:lnTo>
                      <a:pt x="1600" y="0"/>
                    </a:lnTo>
                    <a:lnTo>
                      <a:pt x="1400" y="0"/>
                    </a:lnTo>
                    <a:lnTo>
                      <a:pt x="1400" y="1000"/>
                    </a:lnTo>
                    <a:lnTo>
                      <a:pt x="1200" y="1000"/>
                    </a:lnTo>
                    <a:lnTo>
                      <a:pt x="1200" y="500"/>
                    </a:lnTo>
                    <a:lnTo>
                      <a:pt x="1000" y="500"/>
                    </a:lnTo>
                    <a:lnTo>
                      <a:pt x="1000" y="1000"/>
                    </a:lnTo>
                    <a:lnTo>
                      <a:pt x="800" y="1000"/>
                    </a:lnTo>
                    <a:lnTo>
                      <a:pt x="800" y="400"/>
                    </a:lnTo>
                    <a:lnTo>
                      <a:pt x="600" y="400"/>
                    </a:lnTo>
                    <a:lnTo>
                      <a:pt x="600" y="1000"/>
                    </a:lnTo>
                    <a:lnTo>
                      <a:pt x="400" y="1000"/>
                    </a:lnTo>
                    <a:lnTo>
                      <a:pt x="400" y="600"/>
                    </a:lnTo>
                    <a:lnTo>
                      <a:pt x="200" y="600"/>
                    </a:lnTo>
                    <a:lnTo>
                      <a:pt x="200" y="1000"/>
                    </a:lnTo>
                    <a:lnTo>
                      <a:pt x="0" y="1000"/>
                    </a:lnTo>
                    <a:lnTo>
                      <a:pt x="0" y="1200"/>
                    </a:lnTo>
                    <a:lnTo>
                      <a:pt x="2200" y="1200"/>
                    </a:lnTo>
                    <a:lnTo>
                      <a:pt x="2200" y="1000"/>
                    </a:lnTo>
                    <a:lnTo>
                      <a:pt x="2000" y="100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30" name="Freeform 61">
                <a:extLst>
                  <a:ext uri="{FF2B5EF4-FFF2-40B4-BE49-F238E27FC236}">
                    <a16:creationId xmlns:a16="http://schemas.microsoft.com/office/drawing/2014/main" id="{C246B39F-6F95-BF4C-A2DC-5F9013851A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51" y="-1178"/>
                <a:ext cx="679" cy="703"/>
              </a:xfrm>
              <a:custGeom>
                <a:avLst/>
                <a:gdLst>
                  <a:gd name="T0" fmla="*/ 600 w 5800"/>
                  <a:gd name="T1" fmla="*/ 0 h 6000"/>
                  <a:gd name="T2" fmla="*/ 0 w 5800"/>
                  <a:gd name="T3" fmla="*/ 2563 h 6000"/>
                  <a:gd name="T4" fmla="*/ 0 w 5800"/>
                  <a:gd name="T5" fmla="*/ 3700 h 6000"/>
                  <a:gd name="T6" fmla="*/ 600 w 5800"/>
                  <a:gd name="T7" fmla="*/ 4600 h 6000"/>
                  <a:gd name="T8" fmla="*/ 1438 w 5800"/>
                  <a:gd name="T9" fmla="*/ 5400 h 6000"/>
                  <a:gd name="T10" fmla="*/ 600 w 5800"/>
                  <a:gd name="T11" fmla="*/ 5700 h 6000"/>
                  <a:gd name="T12" fmla="*/ 4900 w 5800"/>
                  <a:gd name="T13" fmla="*/ 6000 h 6000"/>
                  <a:gd name="T14" fmla="*/ 4900 w 5800"/>
                  <a:gd name="T15" fmla="*/ 5400 h 6000"/>
                  <a:gd name="T16" fmla="*/ 3962 w 5800"/>
                  <a:gd name="T17" fmla="*/ 4600 h 6000"/>
                  <a:gd name="T18" fmla="*/ 5800 w 5800"/>
                  <a:gd name="T19" fmla="*/ 4000 h 6000"/>
                  <a:gd name="T20" fmla="*/ 5200 w 5800"/>
                  <a:gd name="T21" fmla="*/ 0 h 6000"/>
                  <a:gd name="T22" fmla="*/ 427 w 5800"/>
                  <a:gd name="T23" fmla="*/ 1678 h 6000"/>
                  <a:gd name="T24" fmla="*/ 810 w 5800"/>
                  <a:gd name="T25" fmla="*/ 1713 h 6000"/>
                  <a:gd name="T26" fmla="*/ 1114 w 5800"/>
                  <a:gd name="T27" fmla="*/ 1407 h 6000"/>
                  <a:gd name="T28" fmla="*/ 1363 w 5800"/>
                  <a:gd name="T29" fmla="*/ 1832 h 6000"/>
                  <a:gd name="T30" fmla="*/ 1652 w 5800"/>
                  <a:gd name="T31" fmla="*/ 2086 h 6000"/>
                  <a:gd name="T32" fmla="*/ 2078 w 5800"/>
                  <a:gd name="T33" fmla="*/ 2017 h 6000"/>
                  <a:gd name="T34" fmla="*/ 2030 w 5800"/>
                  <a:gd name="T35" fmla="*/ 2508 h 6000"/>
                  <a:gd name="T36" fmla="*/ 2115 w 5800"/>
                  <a:gd name="T37" fmla="*/ 2883 h 6000"/>
                  <a:gd name="T38" fmla="*/ 2500 w 5800"/>
                  <a:gd name="T39" fmla="*/ 3078 h 6000"/>
                  <a:gd name="T40" fmla="*/ 2172 w 5800"/>
                  <a:gd name="T41" fmla="*/ 3446 h 6000"/>
                  <a:gd name="T42" fmla="*/ 2085 w 5800"/>
                  <a:gd name="T43" fmla="*/ 3600 h 6000"/>
                  <a:gd name="T44" fmla="*/ 1065 w 5800"/>
                  <a:gd name="T45" fmla="*/ 2345 h 6000"/>
                  <a:gd name="T46" fmla="*/ 200 w 5800"/>
                  <a:gd name="T47" fmla="*/ 1407 h 6000"/>
                  <a:gd name="T48" fmla="*/ 1243 w 5800"/>
                  <a:gd name="T49" fmla="*/ 2739 h 6000"/>
                  <a:gd name="T50" fmla="*/ 200 w 5800"/>
                  <a:gd name="T51" fmla="*/ 3600 h 6000"/>
                  <a:gd name="T52" fmla="*/ 4900 w 5800"/>
                  <a:gd name="T53" fmla="*/ 5600 h 6000"/>
                  <a:gd name="T54" fmla="*/ 4900 w 5800"/>
                  <a:gd name="T55" fmla="*/ 5800 h 6000"/>
                  <a:gd name="T56" fmla="*/ 800 w 5800"/>
                  <a:gd name="T57" fmla="*/ 5700 h 6000"/>
                  <a:gd name="T58" fmla="*/ 4900 w 5800"/>
                  <a:gd name="T59" fmla="*/ 5600 h 6000"/>
                  <a:gd name="T60" fmla="*/ 1662 w 5800"/>
                  <a:gd name="T61" fmla="*/ 5400 h 6000"/>
                  <a:gd name="T62" fmla="*/ 3738 w 5800"/>
                  <a:gd name="T63" fmla="*/ 4600 h 6000"/>
                  <a:gd name="T64" fmla="*/ 5600 w 5800"/>
                  <a:gd name="T65" fmla="*/ 4000 h 6000"/>
                  <a:gd name="T66" fmla="*/ 600 w 5800"/>
                  <a:gd name="T67" fmla="*/ 4400 h 6000"/>
                  <a:gd name="T68" fmla="*/ 200 w 5800"/>
                  <a:gd name="T69" fmla="*/ 3800 h 6000"/>
                  <a:gd name="T70" fmla="*/ 1333 w 5800"/>
                  <a:gd name="T71" fmla="*/ 3800 h 6000"/>
                  <a:gd name="T72" fmla="*/ 5600 w 5800"/>
                  <a:gd name="T73" fmla="*/ 4000 h 6000"/>
                  <a:gd name="T74" fmla="*/ 2326 w 5800"/>
                  <a:gd name="T75" fmla="*/ 3600 h 6000"/>
                  <a:gd name="T76" fmla="*/ 2700 w 5800"/>
                  <a:gd name="T77" fmla="*/ 3381 h 6000"/>
                  <a:gd name="T78" fmla="*/ 2638 w 5800"/>
                  <a:gd name="T79" fmla="*/ 2917 h 6000"/>
                  <a:gd name="T80" fmla="*/ 2224 w 5800"/>
                  <a:gd name="T81" fmla="*/ 2574 h 6000"/>
                  <a:gd name="T82" fmla="*/ 2418 w 5800"/>
                  <a:gd name="T83" fmla="*/ 2145 h 6000"/>
                  <a:gd name="T84" fmla="*/ 2095 w 5800"/>
                  <a:gd name="T85" fmla="*/ 1806 h 6000"/>
                  <a:gd name="T86" fmla="*/ 1560 w 5800"/>
                  <a:gd name="T87" fmla="*/ 1772 h 6000"/>
                  <a:gd name="T88" fmla="*/ 1465 w 5800"/>
                  <a:gd name="T89" fmla="*/ 1310 h 6000"/>
                  <a:gd name="T90" fmla="*/ 1005 w 5800"/>
                  <a:gd name="T91" fmla="*/ 1227 h 6000"/>
                  <a:gd name="T92" fmla="*/ 551 w 5800"/>
                  <a:gd name="T93" fmla="*/ 1513 h 6000"/>
                  <a:gd name="T94" fmla="*/ 202 w 5800"/>
                  <a:gd name="T95" fmla="*/ 1196 h 6000"/>
                  <a:gd name="T96" fmla="*/ 200 w 5800"/>
                  <a:gd name="T97" fmla="*/ 600 h 6000"/>
                  <a:gd name="T98" fmla="*/ 5200 w 5800"/>
                  <a:gd name="T99" fmla="*/ 200 h 6000"/>
                  <a:gd name="T100" fmla="*/ 5600 w 5800"/>
                  <a:gd name="T101" fmla="*/ 3600 h 6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800" h="6000">
                    <a:moveTo>
                      <a:pt x="5200" y="0"/>
                    </a:moveTo>
                    <a:lnTo>
                      <a:pt x="600" y="0"/>
                    </a:lnTo>
                    <a:cubicBezTo>
                      <a:pt x="269" y="0"/>
                      <a:pt x="0" y="269"/>
                      <a:pt x="0" y="600"/>
                    </a:cubicBezTo>
                    <a:lnTo>
                      <a:pt x="0" y="2563"/>
                    </a:lnTo>
                    <a:lnTo>
                      <a:pt x="0" y="2564"/>
                    </a:lnTo>
                    <a:lnTo>
                      <a:pt x="0" y="3700"/>
                    </a:lnTo>
                    <a:lnTo>
                      <a:pt x="0" y="4000"/>
                    </a:lnTo>
                    <a:cubicBezTo>
                      <a:pt x="0" y="4331"/>
                      <a:pt x="269" y="4600"/>
                      <a:pt x="600" y="4600"/>
                    </a:cubicBezTo>
                    <a:lnTo>
                      <a:pt x="1838" y="4600"/>
                    </a:lnTo>
                    <a:lnTo>
                      <a:pt x="1438" y="5400"/>
                    </a:lnTo>
                    <a:lnTo>
                      <a:pt x="900" y="5400"/>
                    </a:lnTo>
                    <a:cubicBezTo>
                      <a:pt x="734" y="5400"/>
                      <a:pt x="600" y="5534"/>
                      <a:pt x="600" y="5700"/>
                    </a:cubicBezTo>
                    <a:cubicBezTo>
                      <a:pt x="600" y="5866"/>
                      <a:pt x="734" y="6000"/>
                      <a:pt x="900" y="6000"/>
                    </a:cubicBezTo>
                    <a:lnTo>
                      <a:pt x="4900" y="6000"/>
                    </a:lnTo>
                    <a:cubicBezTo>
                      <a:pt x="5066" y="6000"/>
                      <a:pt x="5200" y="5866"/>
                      <a:pt x="5200" y="5700"/>
                    </a:cubicBezTo>
                    <a:cubicBezTo>
                      <a:pt x="5200" y="5534"/>
                      <a:pt x="5066" y="5400"/>
                      <a:pt x="4900" y="5400"/>
                    </a:cubicBezTo>
                    <a:lnTo>
                      <a:pt x="4362" y="5400"/>
                    </a:lnTo>
                    <a:lnTo>
                      <a:pt x="3962" y="4600"/>
                    </a:lnTo>
                    <a:lnTo>
                      <a:pt x="5200" y="4600"/>
                    </a:lnTo>
                    <a:cubicBezTo>
                      <a:pt x="5531" y="4600"/>
                      <a:pt x="5800" y="4331"/>
                      <a:pt x="5800" y="4000"/>
                    </a:cubicBezTo>
                    <a:lnTo>
                      <a:pt x="5800" y="600"/>
                    </a:lnTo>
                    <a:cubicBezTo>
                      <a:pt x="5800" y="269"/>
                      <a:pt x="5531" y="0"/>
                      <a:pt x="5200" y="0"/>
                    </a:cubicBezTo>
                    <a:close/>
                    <a:moveTo>
                      <a:pt x="200" y="1407"/>
                    </a:moveTo>
                    <a:lnTo>
                      <a:pt x="427" y="1678"/>
                    </a:lnTo>
                    <a:cubicBezTo>
                      <a:pt x="446" y="1700"/>
                      <a:pt x="474" y="1713"/>
                      <a:pt x="504" y="1713"/>
                    </a:cubicBezTo>
                    <a:lnTo>
                      <a:pt x="810" y="1713"/>
                    </a:lnTo>
                    <a:cubicBezTo>
                      <a:pt x="840" y="1713"/>
                      <a:pt x="868" y="1700"/>
                      <a:pt x="887" y="1678"/>
                    </a:cubicBezTo>
                    <a:lnTo>
                      <a:pt x="1114" y="1407"/>
                    </a:lnTo>
                    <a:lnTo>
                      <a:pt x="1338" y="1480"/>
                    </a:lnTo>
                    <a:lnTo>
                      <a:pt x="1363" y="1832"/>
                    </a:lnTo>
                    <a:cubicBezTo>
                      <a:pt x="1365" y="1862"/>
                      <a:pt x="1380" y="1889"/>
                      <a:pt x="1404" y="1906"/>
                    </a:cubicBezTo>
                    <a:lnTo>
                      <a:pt x="1652" y="2086"/>
                    </a:lnTo>
                    <a:cubicBezTo>
                      <a:pt x="1676" y="2103"/>
                      <a:pt x="1706" y="2109"/>
                      <a:pt x="1735" y="2102"/>
                    </a:cubicBezTo>
                    <a:lnTo>
                      <a:pt x="2078" y="2017"/>
                    </a:lnTo>
                    <a:lnTo>
                      <a:pt x="2217" y="2208"/>
                    </a:lnTo>
                    <a:lnTo>
                      <a:pt x="2030" y="2508"/>
                    </a:lnTo>
                    <a:cubicBezTo>
                      <a:pt x="2014" y="2533"/>
                      <a:pt x="2011" y="2564"/>
                      <a:pt x="2020" y="2592"/>
                    </a:cubicBezTo>
                    <a:lnTo>
                      <a:pt x="2115" y="2883"/>
                    </a:lnTo>
                    <a:cubicBezTo>
                      <a:pt x="2124" y="2911"/>
                      <a:pt x="2145" y="2934"/>
                      <a:pt x="2172" y="2945"/>
                    </a:cubicBezTo>
                    <a:lnTo>
                      <a:pt x="2500" y="3078"/>
                    </a:lnTo>
                    <a:lnTo>
                      <a:pt x="2500" y="3314"/>
                    </a:lnTo>
                    <a:lnTo>
                      <a:pt x="2172" y="3446"/>
                    </a:lnTo>
                    <a:cubicBezTo>
                      <a:pt x="2145" y="3457"/>
                      <a:pt x="2124" y="3480"/>
                      <a:pt x="2115" y="3508"/>
                    </a:cubicBezTo>
                    <a:lnTo>
                      <a:pt x="2085" y="3600"/>
                    </a:lnTo>
                    <a:lnTo>
                      <a:pt x="1508" y="3600"/>
                    </a:lnTo>
                    <a:cubicBezTo>
                      <a:pt x="1733" y="3131"/>
                      <a:pt x="1534" y="2569"/>
                      <a:pt x="1065" y="2345"/>
                    </a:cubicBezTo>
                    <a:cubicBezTo>
                      <a:pt x="789" y="2213"/>
                      <a:pt x="467" y="2223"/>
                      <a:pt x="200" y="2372"/>
                    </a:cubicBezTo>
                    <a:lnTo>
                      <a:pt x="200" y="1407"/>
                    </a:lnTo>
                    <a:close/>
                    <a:moveTo>
                      <a:pt x="200" y="2610"/>
                    </a:moveTo>
                    <a:cubicBezTo>
                      <a:pt x="523" y="2358"/>
                      <a:pt x="990" y="2415"/>
                      <a:pt x="1243" y="2739"/>
                    </a:cubicBezTo>
                    <a:cubicBezTo>
                      <a:pt x="1437" y="2989"/>
                      <a:pt x="1452" y="3334"/>
                      <a:pt x="1280" y="3600"/>
                    </a:cubicBezTo>
                    <a:lnTo>
                      <a:pt x="200" y="3600"/>
                    </a:lnTo>
                    <a:lnTo>
                      <a:pt x="200" y="2610"/>
                    </a:lnTo>
                    <a:close/>
                    <a:moveTo>
                      <a:pt x="4900" y="5600"/>
                    </a:moveTo>
                    <a:cubicBezTo>
                      <a:pt x="4955" y="5600"/>
                      <a:pt x="5000" y="5645"/>
                      <a:pt x="5000" y="5700"/>
                    </a:cubicBezTo>
                    <a:cubicBezTo>
                      <a:pt x="5000" y="5755"/>
                      <a:pt x="4955" y="5800"/>
                      <a:pt x="4900" y="5800"/>
                    </a:cubicBezTo>
                    <a:lnTo>
                      <a:pt x="900" y="5800"/>
                    </a:lnTo>
                    <a:cubicBezTo>
                      <a:pt x="845" y="5800"/>
                      <a:pt x="800" y="5755"/>
                      <a:pt x="800" y="5700"/>
                    </a:cubicBezTo>
                    <a:cubicBezTo>
                      <a:pt x="800" y="5645"/>
                      <a:pt x="845" y="5600"/>
                      <a:pt x="900" y="5600"/>
                    </a:cubicBezTo>
                    <a:lnTo>
                      <a:pt x="4900" y="5600"/>
                    </a:lnTo>
                    <a:close/>
                    <a:moveTo>
                      <a:pt x="4138" y="5400"/>
                    </a:moveTo>
                    <a:lnTo>
                      <a:pt x="1662" y="5400"/>
                    </a:lnTo>
                    <a:lnTo>
                      <a:pt x="2062" y="4600"/>
                    </a:lnTo>
                    <a:lnTo>
                      <a:pt x="3738" y="4600"/>
                    </a:lnTo>
                    <a:lnTo>
                      <a:pt x="4138" y="5400"/>
                    </a:lnTo>
                    <a:close/>
                    <a:moveTo>
                      <a:pt x="5600" y="4000"/>
                    </a:moveTo>
                    <a:cubicBezTo>
                      <a:pt x="5600" y="4221"/>
                      <a:pt x="5421" y="4400"/>
                      <a:pt x="5200" y="4400"/>
                    </a:cubicBezTo>
                    <a:lnTo>
                      <a:pt x="600" y="4400"/>
                    </a:lnTo>
                    <a:cubicBezTo>
                      <a:pt x="379" y="4400"/>
                      <a:pt x="200" y="4221"/>
                      <a:pt x="200" y="4000"/>
                    </a:cubicBezTo>
                    <a:lnTo>
                      <a:pt x="200" y="3800"/>
                    </a:lnTo>
                    <a:lnTo>
                      <a:pt x="1332" y="3800"/>
                    </a:lnTo>
                    <a:lnTo>
                      <a:pt x="1333" y="3800"/>
                    </a:lnTo>
                    <a:lnTo>
                      <a:pt x="5600" y="3800"/>
                    </a:lnTo>
                    <a:lnTo>
                      <a:pt x="5600" y="4000"/>
                    </a:lnTo>
                    <a:close/>
                    <a:moveTo>
                      <a:pt x="5600" y="3600"/>
                    </a:moveTo>
                    <a:lnTo>
                      <a:pt x="2326" y="3600"/>
                    </a:lnTo>
                    <a:lnTo>
                      <a:pt x="2638" y="3474"/>
                    </a:lnTo>
                    <a:cubicBezTo>
                      <a:pt x="2675" y="3458"/>
                      <a:pt x="2700" y="3422"/>
                      <a:pt x="2700" y="3381"/>
                    </a:cubicBezTo>
                    <a:lnTo>
                      <a:pt x="2700" y="3010"/>
                    </a:lnTo>
                    <a:cubicBezTo>
                      <a:pt x="2700" y="2969"/>
                      <a:pt x="2675" y="2933"/>
                      <a:pt x="2638" y="2917"/>
                    </a:cubicBezTo>
                    <a:lnTo>
                      <a:pt x="2290" y="2777"/>
                    </a:lnTo>
                    <a:lnTo>
                      <a:pt x="2224" y="2574"/>
                    </a:lnTo>
                    <a:lnTo>
                      <a:pt x="2422" y="2256"/>
                    </a:lnTo>
                    <a:cubicBezTo>
                      <a:pt x="2444" y="2222"/>
                      <a:pt x="2442" y="2178"/>
                      <a:pt x="2418" y="2145"/>
                    </a:cubicBezTo>
                    <a:lnTo>
                      <a:pt x="2200" y="1845"/>
                    </a:lnTo>
                    <a:cubicBezTo>
                      <a:pt x="2176" y="1812"/>
                      <a:pt x="2135" y="1796"/>
                      <a:pt x="2095" y="1806"/>
                    </a:cubicBezTo>
                    <a:lnTo>
                      <a:pt x="1732" y="1896"/>
                    </a:lnTo>
                    <a:lnTo>
                      <a:pt x="1560" y="1772"/>
                    </a:lnTo>
                    <a:lnTo>
                      <a:pt x="1534" y="1399"/>
                    </a:lnTo>
                    <a:cubicBezTo>
                      <a:pt x="1531" y="1358"/>
                      <a:pt x="1504" y="1323"/>
                      <a:pt x="1465" y="1310"/>
                    </a:cubicBezTo>
                    <a:lnTo>
                      <a:pt x="1112" y="1196"/>
                    </a:lnTo>
                    <a:cubicBezTo>
                      <a:pt x="1074" y="1183"/>
                      <a:pt x="1031" y="1196"/>
                      <a:pt x="1005" y="1227"/>
                    </a:cubicBezTo>
                    <a:lnTo>
                      <a:pt x="764" y="1513"/>
                    </a:lnTo>
                    <a:lnTo>
                      <a:pt x="551" y="1513"/>
                    </a:lnTo>
                    <a:lnTo>
                      <a:pt x="310" y="1227"/>
                    </a:lnTo>
                    <a:cubicBezTo>
                      <a:pt x="284" y="1196"/>
                      <a:pt x="241" y="1183"/>
                      <a:pt x="202" y="1196"/>
                    </a:cubicBezTo>
                    <a:lnTo>
                      <a:pt x="200" y="1197"/>
                    </a:lnTo>
                    <a:lnTo>
                      <a:pt x="200" y="600"/>
                    </a:lnTo>
                    <a:cubicBezTo>
                      <a:pt x="200" y="379"/>
                      <a:pt x="379" y="200"/>
                      <a:pt x="600" y="200"/>
                    </a:cubicBezTo>
                    <a:lnTo>
                      <a:pt x="5200" y="200"/>
                    </a:lnTo>
                    <a:cubicBezTo>
                      <a:pt x="5421" y="200"/>
                      <a:pt x="5600" y="379"/>
                      <a:pt x="5600" y="600"/>
                    </a:cubicBezTo>
                    <a:lnTo>
                      <a:pt x="5600" y="360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</p:grpSp>
      <p:sp>
        <p:nvSpPr>
          <p:cNvPr id="131" name="TextBox 2">
            <a:extLst>
              <a:ext uri="{FF2B5EF4-FFF2-40B4-BE49-F238E27FC236}">
                <a16:creationId xmlns:a16="http://schemas.microsoft.com/office/drawing/2014/main" id="{B45A9FF5-060C-8F4A-A5FE-2C102E48B52B}"/>
              </a:ext>
            </a:extLst>
          </p:cNvPr>
          <p:cNvSpPr txBox="1"/>
          <p:nvPr/>
        </p:nvSpPr>
        <p:spPr>
          <a:xfrm>
            <a:off x="9043459" y="990982"/>
            <a:ext cx="2520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reate customized dashboards relevant to different individuals KPI’s</a:t>
            </a:r>
          </a:p>
        </p:txBody>
      </p:sp>
      <p:sp>
        <p:nvSpPr>
          <p:cNvPr id="133" name="Freeform 14">
            <a:extLst>
              <a:ext uri="{FF2B5EF4-FFF2-40B4-BE49-F238E27FC236}">
                <a16:creationId xmlns:a16="http://schemas.microsoft.com/office/drawing/2014/main" id="{7FA54939-6B8E-1343-884C-0CE695DCF2BA}"/>
              </a:ext>
            </a:extLst>
          </p:cNvPr>
          <p:cNvSpPr>
            <a:spLocks/>
          </p:cNvSpPr>
          <p:nvPr/>
        </p:nvSpPr>
        <p:spPr bwMode="auto">
          <a:xfrm>
            <a:off x="8433633" y="4087416"/>
            <a:ext cx="592450" cy="74592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34" name="Group 95">
            <a:extLst>
              <a:ext uri="{FF2B5EF4-FFF2-40B4-BE49-F238E27FC236}">
                <a16:creationId xmlns:a16="http://schemas.microsoft.com/office/drawing/2014/main" id="{E72922AD-878F-8F42-9022-988410B7732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98466" y="4174296"/>
            <a:ext cx="462785" cy="464150"/>
            <a:chOff x="4661" y="809"/>
            <a:chExt cx="339" cy="340"/>
          </a:xfrm>
          <a:solidFill>
            <a:srgbClr val="A136A0"/>
          </a:solidFill>
        </p:grpSpPr>
        <p:sp>
          <p:nvSpPr>
            <p:cNvPr id="135" name="Freeform 96">
              <a:extLst>
                <a:ext uri="{FF2B5EF4-FFF2-40B4-BE49-F238E27FC236}">
                  <a16:creationId xmlns:a16="http://schemas.microsoft.com/office/drawing/2014/main" id="{B4926B28-07C7-5241-9DC2-C72E055D4E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1" y="960"/>
              <a:ext cx="199" cy="37"/>
            </a:xfrm>
            <a:custGeom>
              <a:avLst/>
              <a:gdLst>
                <a:gd name="T0" fmla="*/ 4759 w 5009"/>
                <a:gd name="T1" fmla="*/ 808 h 933"/>
                <a:gd name="T2" fmla="*/ 4884 w 5009"/>
                <a:gd name="T3" fmla="*/ 933 h 933"/>
                <a:gd name="T4" fmla="*/ 5009 w 5009"/>
                <a:gd name="T5" fmla="*/ 808 h 933"/>
                <a:gd name="T6" fmla="*/ 4551 w 5009"/>
                <a:gd name="T7" fmla="*/ 350 h 933"/>
                <a:gd name="T8" fmla="*/ 2630 w 5009"/>
                <a:gd name="T9" fmla="*/ 350 h 933"/>
                <a:gd name="T10" fmla="*/ 2630 w 5009"/>
                <a:gd name="T11" fmla="*/ 125 h 933"/>
                <a:gd name="T12" fmla="*/ 2505 w 5009"/>
                <a:gd name="T13" fmla="*/ 0 h 933"/>
                <a:gd name="T14" fmla="*/ 2380 w 5009"/>
                <a:gd name="T15" fmla="*/ 125 h 933"/>
                <a:gd name="T16" fmla="*/ 2380 w 5009"/>
                <a:gd name="T17" fmla="*/ 350 h 933"/>
                <a:gd name="T18" fmla="*/ 459 w 5009"/>
                <a:gd name="T19" fmla="*/ 350 h 933"/>
                <a:gd name="T20" fmla="*/ 0 w 5009"/>
                <a:gd name="T21" fmla="*/ 808 h 933"/>
                <a:gd name="T22" fmla="*/ 125 w 5009"/>
                <a:gd name="T23" fmla="*/ 933 h 933"/>
                <a:gd name="T24" fmla="*/ 250 w 5009"/>
                <a:gd name="T25" fmla="*/ 808 h 933"/>
                <a:gd name="T26" fmla="*/ 459 w 5009"/>
                <a:gd name="T27" fmla="*/ 600 h 933"/>
                <a:gd name="T28" fmla="*/ 4551 w 5009"/>
                <a:gd name="T29" fmla="*/ 600 h 933"/>
                <a:gd name="T30" fmla="*/ 4759 w 5009"/>
                <a:gd name="T31" fmla="*/ 808 h 933"/>
                <a:gd name="T32" fmla="*/ 4759 w 5009"/>
                <a:gd name="T33" fmla="*/ 808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09" h="933">
                  <a:moveTo>
                    <a:pt x="4759" y="808"/>
                  </a:moveTo>
                  <a:cubicBezTo>
                    <a:pt x="4759" y="877"/>
                    <a:pt x="4815" y="933"/>
                    <a:pt x="4884" y="933"/>
                  </a:cubicBezTo>
                  <a:cubicBezTo>
                    <a:pt x="4953" y="933"/>
                    <a:pt x="5009" y="877"/>
                    <a:pt x="5009" y="808"/>
                  </a:cubicBezTo>
                  <a:cubicBezTo>
                    <a:pt x="5009" y="556"/>
                    <a:pt x="4803" y="350"/>
                    <a:pt x="4551" y="350"/>
                  </a:cubicBezTo>
                  <a:lnTo>
                    <a:pt x="2630" y="350"/>
                  </a:lnTo>
                  <a:lnTo>
                    <a:pt x="2630" y="125"/>
                  </a:lnTo>
                  <a:cubicBezTo>
                    <a:pt x="2630" y="56"/>
                    <a:pt x="2574" y="0"/>
                    <a:pt x="2505" y="0"/>
                  </a:cubicBezTo>
                  <a:cubicBezTo>
                    <a:pt x="2436" y="0"/>
                    <a:pt x="2380" y="56"/>
                    <a:pt x="2380" y="125"/>
                  </a:cubicBezTo>
                  <a:lnTo>
                    <a:pt x="2380" y="350"/>
                  </a:lnTo>
                  <a:lnTo>
                    <a:pt x="459" y="350"/>
                  </a:lnTo>
                  <a:cubicBezTo>
                    <a:pt x="206" y="350"/>
                    <a:pt x="0" y="556"/>
                    <a:pt x="0" y="808"/>
                  </a:cubicBezTo>
                  <a:cubicBezTo>
                    <a:pt x="0" y="877"/>
                    <a:pt x="56" y="933"/>
                    <a:pt x="125" y="933"/>
                  </a:cubicBezTo>
                  <a:cubicBezTo>
                    <a:pt x="194" y="933"/>
                    <a:pt x="250" y="877"/>
                    <a:pt x="250" y="808"/>
                  </a:cubicBezTo>
                  <a:cubicBezTo>
                    <a:pt x="250" y="694"/>
                    <a:pt x="344" y="600"/>
                    <a:pt x="459" y="600"/>
                  </a:cubicBezTo>
                  <a:lnTo>
                    <a:pt x="4551" y="600"/>
                  </a:lnTo>
                  <a:cubicBezTo>
                    <a:pt x="4666" y="600"/>
                    <a:pt x="4759" y="694"/>
                    <a:pt x="4759" y="808"/>
                  </a:cubicBezTo>
                  <a:close/>
                  <a:moveTo>
                    <a:pt x="4759" y="80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36" name="Freeform 97">
              <a:extLst>
                <a:ext uri="{FF2B5EF4-FFF2-40B4-BE49-F238E27FC236}">
                  <a16:creationId xmlns:a16="http://schemas.microsoft.com/office/drawing/2014/main" id="{9C5B4E5A-190B-3847-89C7-EE882C4662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48" y="1010"/>
              <a:ext cx="152" cy="139"/>
            </a:xfrm>
            <a:custGeom>
              <a:avLst/>
              <a:gdLst>
                <a:gd name="T0" fmla="*/ 3447 w 3824"/>
                <a:gd name="T1" fmla="*/ 0 h 3486"/>
                <a:gd name="T2" fmla="*/ 377 w 3824"/>
                <a:gd name="T3" fmla="*/ 0 h 3486"/>
                <a:gd name="T4" fmla="*/ 0 w 3824"/>
                <a:gd name="T5" fmla="*/ 378 h 3486"/>
                <a:gd name="T6" fmla="*/ 0 w 3824"/>
                <a:gd name="T7" fmla="*/ 2489 h 3486"/>
                <a:gd name="T8" fmla="*/ 377 w 3824"/>
                <a:gd name="T9" fmla="*/ 2866 h 3486"/>
                <a:gd name="T10" fmla="*/ 1209 w 3824"/>
                <a:gd name="T11" fmla="*/ 2866 h 3486"/>
                <a:gd name="T12" fmla="*/ 1146 w 3824"/>
                <a:gd name="T13" fmla="*/ 3236 h 3486"/>
                <a:gd name="T14" fmla="*/ 1117 w 3824"/>
                <a:gd name="T15" fmla="*/ 3236 h 3486"/>
                <a:gd name="T16" fmla="*/ 992 w 3824"/>
                <a:gd name="T17" fmla="*/ 3361 h 3486"/>
                <a:gd name="T18" fmla="*/ 1117 w 3824"/>
                <a:gd name="T19" fmla="*/ 3486 h 3486"/>
                <a:gd name="T20" fmla="*/ 2708 w 3824"/>
                <a:gd name="T21" fmla="*/ 3486 h 3486"/>
                <a:gd name="T22" fmla="*/ 2833 w 3824"/>
                <a:gd name="T23" fmla="*/ 3361 h 3486"/>
                <a:gd name="T24" fmla="*/ 2708 w 3824"/>
                <a:gd name="T25" fmla="*/ 3236 h 3486"/>
                <a:gd name="T26" fmla="*/ 2678 w 3824"/>
                <a:gd name="T27" fmla="*/ 3236 h 3486"/>
                <a:gd name="T28" fmla="*/ 2616 w 3824"/>
                <a:gd name="T29" fmla="*/ 2866 h 3486"/>
                <a:gd name="T30" fmla="*/ 3447 w 3824"/>
                <a:gd name="T31" fmla="*/ 2866 h 3486"/>
                <a:gd name="T32" fmla="*/ 3824 w 3824"/>
                <a:gd name="T33" fmla="*/ 2489 h 3486"/>
                <a:gd name="T34" fmla="*/ 3824 w 3824"/>
                <a:gd name="T35" fmla="*/ 378 h 3486"/>
                <a:gd name="T36" fmla="*/ 3447 w 3824"/>
                <a:gd name="T37" fmla="*/ 0 h 3486"/>
                <a:gd name="T38" fmla="*/ 377 w 3824"/>
                <a:gd name="T39" fmla="*/ 250 h 3486"/>
                <a:gd name="T40" fmla="*/ 3447 w 3824"/>
                <a:gd name="T41" fmla="*/ 250 h 3486"/>
                <a:gd name="T42" fmla="*/ 3574 w 3824"/>
                <a:gd name="T43" fmla="*/ 378 h 3486"/>
                <a:gd name="T44" fmla="*/ 3574 w 3824"/>
                <a:gd name="T45" fmla="*/ 2007 h 3486"/>
                <a:gd name="T46" fmla="*/ 2902 w 3824"/>
                <a:gd name="T47" fmla="*/ 2007 h 3486"/>
                <a:gd name="T48" fmla="*/ 2902 w 3824"/>
                <a:gd name="T49" fmla="*/ 1991 h 3486"/>
                <a:gd name="T50" fmla="*/ 2899 w 3824"/>
                <a:gd name="T51" fmla="*/ 1962 h 3486"/>
                <a:gd name="T52" fmla="*/ 2749 w 3824"/>
                <a:gd name="T53" fmla="*/ 1714 h 3486"/>
                <a:gd name="T54" fmla="*/ 2367 w 3824"/>
                <a:gd name="T55" fmla="*/ 1570 h 3486"/>
                <a:gd name="T56" fmla="*/ 1458 w 3824"/>
                <a:gd name="T57" fmla="*/ 1570 h 3486"/>
                <a:gd name="T58" fmla="*/ 1076 w 3824"/>
                <a:gd name="T59" fmla="*/ 1714 h 3486"/>
                <a:gd name="T60" fmla="*/ 926 w 3824"/>
                <a:gd name="T61" fmla="*/ 1965 h 3486"/>
                <a:gd name="T62" fmla="*/ 922 w 3824"/>
                <a:gd name="T63" fmla="*/ 1993 h 3486"/>
                <a:gd name="T64" fmla="*/ 922 w 3824"/>
                <a:gd name="T65" fmla="*/ 2008 h 3486"/>
                <a:gd name="T66" fmla="*/ 250 w 3824"/>
                <a:gd name="T67" fmla="*/ 2008 h 3486"/>
                <a:gd name="T68" fmla="*/ 250 w 3824"/>
                <a:gd name="T69" fmla="*/ 378 h 3486"/>
                <a:gd name="T70" fmla="*/ 377 w 3824"/>
                <a:gd name="T71" fmla="*/ 250 h 3486"/>
                <a:gd name="T72" fmla="*/ 1173 w 3824"/>
                <a:gd name="T73" fmla="*/ 2008 h 3486"/>
                <a:gd name="T74" fmla="*/ 1245 w 3824"/>
                <a:gd name="T75" fmla="*/ 1898 h 3486"/>
                <a:gd name="T76" fmla="*/ 1458 w 3824"/>
                <a:gd name="T77" fmla="*/ 1820 h 3486"/>
                <a:gd name="T78" fmla="*/ 2367 w 3824"/>
                <a:gd name="T79" fmla="*/ 1820 h 3486"/>
                <a:gd name="T80" fmla="*/ 2580 w 3824"/>
                <a:gd name="T81" fmla="*/ 1898 h 3486"/>
                <a:gd name="T82" fmla="*/ 2652 w 3824"/>
                <a:gd name="T83" fmla="*/ 2007 h 3486"/>
                <a:gd name="T84" fmla="*/ 2652 w 3824"/>
                <a:gd name="T85" fmla="*/ 2008 h 3486"/>
                <a:gd name="T86" fmla="*/ 1173 w 3824"/>
                <a:gd name="T87" fmla="*/ 2008 h 3486"/>
                <a:gd name="T88" fmla="*/ 2425 w 3824"/>
                <a:gd name="T89" fmla="*/ 3236 h 3486"/>
                <a:gd name="T90" fmla="*/ 1400 w 3824"/>
                <a:gd name="T91" fmla="*/ 3236 h 3486"/>
                <a:gd name="T92" fmla="*/ 1462 w 3824"/>
                <a:gd name="T93" fmla="*/ 2866 h 3486"/>
                <a:gd name="T94" fmla="*/ 2362 w 3824"/>
                <a:gd name="T95" fmla="*/ 2866 h 3486"/>
                <a:gd name="T96" fmla="*/ 2425 w 3824"/>
                <a:gd name="T97" fmla="*/ 3236 h 3486"/>
                <a:gd name="T98" fmla="*/ 3574 w 3824"/>
                <a:gd name="T99" fmla="*/ 2489 h 3486"/>
                <a:gd name="T100" fmla="*/ 3447 w 3824"/>
                <a:gd name="T101" fmla="*/ 2616 h 3486"/>
                <a:gd name="T102" fmla="*/ 377 w 3824"/>
                <a:gd name="T103" fmla="*/ 2616 h 3486"/>
                <a:gd name="T104" fmla="*/ 250 w 3824"/>
                <a:gd name="T105" fmla="*/ 2489 h 3486"/>
                <a:gd name="T106" fmla="*/ 250 w 3824"/>
                <a:gd name="T107" fmla="*/ 2258 h 3486"/>
                <a:gd name="T108" fmla="*/ 3574 w 3824"/>
                <a:gd name="T109" fmla="*/ 2258 h 3486"/>
                <a:gd name="T110" fmla="*/ 3574 w 3824"/>
                <a:gd name="T111" fmla="*/ 2489 h 3486"/>
                <a:gd name="T112" fmla="*/ 3574 w 3824"/>
                <a:gd name="T113" fmla="*/ 2489 h 3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24" h="3486">
                  <a:moveTo>
                    <a:pt x="3447" y="0"/>
                  </a:moveTo>
                  <a:lnTo>
                    <a:pt x="377" y="0"/>
                  </a:lnTo>
                  <a:cubicBezTo>
                    <a:pt x="169" y="0"/>
                    <a:pt x="0" y="170"/>
                    <a:pt x="0" y="378"/>
                  </a:cubicBezTo>
                  <a:lnTo>
                    <a:pt x="0" y="2489"/>
                  </a:lnTo>
                  <a:cubicBezTo>
                    <a:pt x="0" y="2697"/>
                    <a:pt x="169" y="2866"/>
                    <a:pt x="377" y="2866"/>
                  </a:cubicBezTo>
                  <a:lnTo>
                    <a:pt x="1209" y="2866"/>
                  </a:lnTo>
                  <a:lnTo>
                    <a:pt x="1146" y="3236"/>
                  </a:lnTo>
                  <a:lnTo>
                    <a:pt x="1117" y="3236"/>
                  </a:lnTo>
                  <a:cubicBezTo>
                    <a:pt x="1047" y="3236"/>
                    <a:pt x="992" y="3292"/>
                    <a:pt x="992" y="3361"/>
                  </a:cubicBezTo>
                  <a:cubicBezTo>
                    <a:pt x="992" y="3430"/>
                    <a:pt x="1047" y="3486"/>
                    <a:pt x="1117" y="3486"/>
                  </a:cubicBezTo>
                  <a:lnTo>
                    <a:pt x="2708" y="3486"/>
                  </a:lnTo>
                  <a:cubicBezTo>
                    <a:pt x="2777" y="3486"/>
                    <a:pt x="2833" y="3430"/>
                    <a:pt x="2833" y="3361"/>
                  </a:cubicBezTo>
                  <a:cubicBezTo>
                    <a:pt x="2833" y="3292"/>
                    <a:pt x="2777" y="3236"/>
                    <a:pt x="2708" y="3236"/>
                  </a:cubicBezTo>
                  <a:lnTo>
                    <a:pt x="2678" y="3236"/>
                  </a:lnTo>
                  <a:lnTo>
                    <a:pt x="2616" y="2866"/>
                  </a:lnTo>
                  <a:lnTo>
                    <a:pt x="3447" y="2866"/>
                  </a:lnTo>
                  <a:cubicBezTo>
                    <a:pt x="3655" y="2866"/>
                    <a:pt x="3824" y="2697"/>
                    <a:pt x="3824" y="2489"/>
                  </a:cubicBezTo>
                  <a:lnTo>
                    <a:pt x="3824" y="378"/>
                  </a:lnTo>
                  <a:cubicBezTo>
                    <a:pt x="3824" y="170"/>
                    <a:pt x="3655" y="0"/>
                    <a:pt x="3447" y="0"/>
                  </a:cubicBezTo>
                  <a:close/>
                  <a:moveTo>
                    <a:pt x="377" y="250"/>
                  </a:moveTo>
                  <a:lnTo>
                    <a:pt x="3447" y="250"/>
                  </a:lnTo>
                  <a:cubicBezTo>
                    <a:pt x="3517" y="250"/>
                    <a:pt x="3574" y="307"/>
                    <a:pt x="3574" y="378"/>
                  </a:cubicBezTo>
                  <a:lnTo>
                    <a:pt x="3574" y="2007"/>
                  </a:lnTo>
                  <a:lnTo>
                    <a:pt x="2902" y="2007"/>
                  </a:lnTo>
                  <a:lnTo>
                    <a:pt x="2902" y="1991"/>
                  </a:lnTo>
                  <a:cubicBezTo>
                    <a:pt x="2902" y="1981"/>
                    <a:pt x="2901" y="1971"/>
                    <a:pt x="2899" y="1962"/>
                  </a:cubicBezTo>
                  <a:cubicBezTo>
                    <a:pt x="2877" y="1869"/>
                    <a:pt x="2825" y="1784"/>
                    <a:pt x="2749" y="1714"/>
                  </a:cubicBezTo>
                  <a:cubicBezTo>
                    <a:pt x="2648" y="1621"/>
                    <a:pt x="2512" y="1570"/>
                    <a:pt x="2367" y="1570"/>
                  </a:cubicBezTo>
                  <a:lnTo>
                    <a:pt x="1458" y="1570"/>
                  </a:lnTo>
                  <a:cubicBezTo>
                    <a:pt x="1313" y="1570"/>
                    <a:pt x="1177" y="1621"/>
                    <a:pt x="1076" y="1714"/>
                  </a:cubicBezTo>
                  <a:cubicBezTo>
                    <a:pt x="999" y="1784"/>
                    <a:pt x="947" y="1871"/>
                    <a:pt x="926" y="1965"/>
                  </a:cubicBezTo>
                  <a:cubicBezTo>
                    <a:pt x="923" y="1974"/>
                    <a:pt x="922" y="1984"/>
                    <a:pt x="922" y="1993"/>
                  </a:cubicBezTo>
                  <a:lnTo>
                    <a:pt x="922" y="2008"/>
                  </a:lnTo>
                  <a:lnTo>
                    <a:pt x="250" y="2008"/>
                  </a:lnTo>
                  <a:lnTo>
                    <a:pt x="250" y="378"/>
                  </a:lnTo>
                  <a:cubicBezTo>
                    <a:pt x="250" y="307"/>
                    <a:pt x="307" y="250"/>
                    <a:pt x="377" y="250"/>
                  </a:cubicBezTo>
                  <a:close/>
                  <a:moveTo>
                    <a:pt x="1173" y="2008"/>
                  </a:moveTo>
                  <a:cubicBezTo>
                    <a:pt x="1185" y="1968"/>
                    <a:pt x="1210" y="1930"/>
                    <a:pt x="1245" y="1898"/>
                  </a:cubicBezTo>
                  <a:cubicBezTo>
                    <a:pt x="1300" y="1848"/>
                    <a:pt x="1376" y="1820"/>
                    <a:pt x="1458" y="1820"/>
                  </a:cubicBezTo>
                  <a:lnTo>
                    <a:pt x="2367" y="1820"/>
                  </a:lnTo>
                  <a:cubicBezTo>
                    <a:pt x="2449" y="1820"/>
                    <a:pt x="2525" y="1848"/>
                    <a:pt x="2580" y="1898"/>
                  </a:cubicBezTo>
                  <a:cubicBezTo>
                    <a:pt x="2615" y="1930"/>
                    <a:pt x="2640" y="1968"/>
                    <a:pt x="2652" y="2007"/>
                  </a:cubicBezTo>
                  <a:lnTo>
                    <a:pt x="2652" y="2008"/>
                  </a:lnTo>
                  <a:lnTo>
                    <a:pt x="1173" y="2008"/>
                  </a:lnTo>
                  <a:close/>
                  <a:moveTo>
                    <a:pt x="2425" y="3236"/>
                  </a:moveTo>
                  <a:lnTo>
                    <a:pt x="1400" y="3236"/>
                  </a:lnTo>
                  <a:lnTo>
                    <a:pt x="1462" y="2866"/>
                  </a:lnTo>
                  <a:lnTo>
                    <a:pt x="2362" y="2866"/>
                  </a:lnTo>
                  <a:lnTo>
                    <a:pt x="2425" y="3236"/>
                  </a:lnTo>
                  <a:close/>
                  <a:moveTo>
                    <a:pt x="3574" y="2489"/>
                  </a:moveTo>
                  <a:cubicBezTo>
                    <a:pt x="3574" y="2559"/>
                    <a:pt x="3517" y="2616"/>
                    <a:pt x="3447" y="2616"/>
                  </a:cubicBezTo>
                  <a:lnTo>
                    <a:pt x="377" y="2616"/>
                  </a:lnTo>
                  <a:cubicBezTo>
                    <a:pt x="307" y="2616"/>
                    <a:pt x="250" y="2559"/>
                    <a:pt x="250" y="2489"/>
                  </a:cubicBezTo>
                  <a:lnTo>
                    <a:pt x="250" y="2258"/>
                  </a:lnTo>
                  <a:lnTo>
                    <a:pt x="3574" y="2258"/>
                  </a:lnTo>
                  <a:lnTo>
                    <a:pt x="3574" y="2489"/>
                  </a:lnTo>
                  <a:close/>
                  <a:moveTo>
                    <a:pt x="3574" y="248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37" name="Freeform 98">
              <a:extLst>
                <a:ext uri="{FF2B5EF4-FFF2-40B4-BE49-F238E27FC236}">
                  <a16:creationId xmlns:a16="http://schemas.microsoft.com/office/drawing/2014/main" id="{AF252D27-E73F-DB4B-8F06-D17E8A1997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7" y="1031"/>
              <a:ext cx="34" cy="38"/>
            </a:xfrm>
            <a:custGeom>
              <a:avLst/>
              <a:gdLst>
                <a:gd name="T0" fmla="*/ 136 w 847"/>
                <a:gd name="T1" fmla="*/ 831 h 957"/>
                <a:gd name="T2" fmla="*/ 275 w 847"/>
                <a:gd name="T3" fmla="*/ 916 h 957"/>
                <a:gd name="T4" fmla="*/ 423 w 847"/>
                <a:gd name="T5" fmla="*/ 957 h 957"/>
                <a:gd name="T6" fmla="*/ 572 w 847"/>
                <a:gd name="T7" fmla="*/ 916 h 957"/>
                <a:gd name="T8" fmla="*/ 711 w 847"/>
                <a:gd name="T9" fmla="*/ 831 h 957"/>
                <a:gd name="T10" fmla="*/ 847 w 847"/>
                <a:gd name="T11" fmla="*/ 587 h 957"/>
                <a:gd name="T12" fmla="*/ 847 w 847"/>
                <a:gd name="T13" fmla="*/ 310 h 957"/>
                <a:gd name="T14" fmla="*/ 538 w 847"/>
                <a:gd name="T15" fmla="*/ 0 h 957"/>
                <a:gd name="T16" fmla="*/ 309 w 847"/>
                <a:gd name="T17" fmla="*/ 0 h 957"/>
                <a:gd name="T18" fmla="*/ 0 w 847"/>
                <a:gd name="T19" fmla="*/ 310 h 957"/>
                <a:gd name="T20" fmla="*/ 0 w 847"/>
                <a:gd name="T21" fmla="*/ 587 h 957"/>
                <a:gd name="T22" fmla="*/ 136 w 847"/>
                <a:gd name="T23" fmla="*/ 831 h 957"/>
                <a:gd name="T24" fmla="*/ 250 w 847"/>
                <a:gd name="T25" fmla="*/ 310 h 957"/>
                <a:gd name="T26" fmla="*/ 309 w 847"/>
                <a:gd name="T27" fmla="*/ 250 h 957"/>
                <a:gd name="T28" fmla="*/ 538 w 847"/>
                <a:gd name="T29" fmla="*/ 250 h 957"/>
                <a:gd name="T30" fmla="*/ 597 w 847"/>
                <a:gd name="T31" fmla="*/ 310 h 957"/>
                <a:gd name="T32" fmla="*/ 597 w 847"/>
                <a:gd name="T33" fmla="*/ 587 h 957"/>
                <a:gd name="T34" fmla="*/ 580 w 847"/>
                <a:gd name="T35" fmla="*/ 618 h 957"/>
                <a:gd name="T36" fmla="*/ 442 w 847"/>
                <a:gd name="T37" fmla="*/ 702 h 957"/>
                <a:gd name="T38" fmla="*/ 405 w 847"/>
                <a:gd name="T39" fmla="*/ 702 h 957"/>
                <a:gd name="T40" fmla="*/ 267 w 847"/>
                <a:gd name="T41" fmla="*/ 618 h 957"/>
                <a:gd name="T42" fmla="*/ 250 w 847"/>
                <a:gd name="T43" fmla="*/ 587 h 957"/>
                <a:gd name="T44" fmla="*/ 250 w 847"/>
                <a:gd name="T45" fmla="*/ 310 h 957"/>
                <a:gd name="T46" fmla="*/ 250 w 847"/>
                <a:gd name="T47" fmla="*/ 310 h 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47" h="957">
                  <a:moveTo>
                    <a:pt x="136" y="831"/>
                  </a:moveTo>
                  <a:lnTo>
                    <a:pt x="275" y="916"/>
                  </a:lnTo>
                  <a:cubicBezTo>
                    <a:pt x="321" y="943"/>
                    <a:pt x="372" y="957"/>
                    <a:pt x="423" y="957"/>
                  </a:cubicBezTo>
                  <a:cubicBezTo>
                    <a:pt x="475" y="957"/>
                    <a:pt x="526" y="943"/>
                    <a:pt x="572" y="916"/>
                  </a:cubicBezTo>
                  <a:lnTo>
                    <a:pt x="711" y="831"/>
                  </a:lnTo>
                  <a:cubicBezTo>
                    <a:pt x="795" y="780"/>
                    <a:pt x="847" y="686"/>
                    <a:pt x="847" y="587"/>
                  </a:cubicBezTo>
                  <a:lnTo>
                    <a:pt x="847" y="310"/>
                  </a:lnTo>
                  <a:cubicBezTo>
                    <a:pt x="847" y="140"/>
                    <a:pt x="708" y="0"/>
                    <a:pt x="538" y="0"/>
                  </a:cubicBezTo>
                  <a:lnTo>
                    <a:pt x="309" y="0"/>
                  </a:lnTo>
                  <a:cubicBezTo>
                    <a:pt x="138" y="0"/>
                    <a:pt x="0" y="140"/>
                    <a:pt x="0" y="310"/>
                  </a:cubicBezTo>
                  <a:lnTo>
                    <a:pt x="0" y="587"/>
                  </a:lnTo>
                  <a:cubicBezTo>
                    <a:pt x="0" y="686"/>
                    <a:pt x="52" y="780"/>
                    <a:pt x="136" y="831"/>
                  </a:cubicBezTo>
                  <a:close/>
                  <a:moveTo>
                    <a:pt x="250" y="310"/>
                  </a:moveTo>
                  <a:cubicBezTo>
                    <a:pt x="250" y="277"/>
                    <a:pt x="276" y="250"/>
                    <a:pt x="309" y="250"/>
                  </a:cubicBezTo>
                  <a:lnTo>
                    <a:pt x="538" y="250"/>
                  </a:lnTo>
                  <a:cubicBezTo>
                    <a:pt x="571" y="250"/>
                    <a:pt x="597" y="277"/>
                    <a:pt x="597" y="310"/>
                  </a:cubicBezTo>
                  <a:lnTo>
                    <a:pt x="597" y="587"/>
                  </a:lnTo>
                  <a:cubicBezTo>
                    <a:pt x="597" y="599"/>
                    <a:pt x="591" y="611"/>
                    <a:pt x="580" y="618"/>
                  </a:cubicBezTo>
                  <a:lnTo>
                    <a:pt x="442" y="702"/>
                  </a:lnTo>
                  <a:cubicBezTo>
                    <a:pt x="431" y="709"/>
                    <a:pt x="416" y="709"/>
                    <a:pt x="405" y="702"/>
                  </a:cubicBezTo>
                  <a:lnTo>
                    <a:pt x="267" y="618"/>
                  </a:lnTo>
                  <a:cubicBezTo>
                    <a:pt x="256" y="611"/>
                    <a:pt x="250" y="599"/>
                    <a:pt x="250" y="587"/>
                  </a:cubicBezTo>
                  <a:lnTo>
                    <a:pt x="250" y="310"/>
                  </a:lnTo>
                  <a:close/>
                  <a:moveTo>
                    <a:pt x="250" y="31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38" name="Freeform 99">
              <a:extLst>
                <a:ext uri="{FF2B5EF4-FFF2-40B4-BE49-F238E27FC236}">
                  <a16:creationId xmlns:a16="http://schemas.microsoft.com/office/drawing/2014/main" id="{BA3B0A13-3A59-E744-993B-EDDB1082F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55" y="809"/>
              <a:ext cx="152" cy="139"/>
            </a:xfrm>
            <a:custGeom>
              <a:avLst/>
              <a:gdLst>
                <a:gd name="T0" fmla="*/ 377 w 3824"/>
                <a:gd name="T1" fmla="*/ 2866 h 3486"/>
                <a:gd name="T2" fmla="*/ 1208 w 3824"/>
                <a:gd name="T3" fmla="*/ 2866 h 3486"/>
                <a:gd name="T4" fmla="*/ 1146 w 3824"/>
                <a:gd name="T5" fmla="*/ 3236 h 3486"/>
                <a:gd name="T6" fmla="*/ 1116 w 3824"/>
                <a:gd name="T7" fmla="*/ 3236 h 3486"/>
                <a:gd name="T8" fmla="*/ 991 w 3824"/>
                <a:gd name="T9" fmla="*/ 3361 h 3486"/>
                <a:gd name="T10" fmla="*/ 1116 w 3824"/>
                <a:gd name="T11" fmla="*/ 3486 h 3486"/>
                <a:gd name="T12" fmla="*/ 2707 w 3824"/>
                <a:gd name="T13" fmla="*/ 3486 h 3486"/>
                <a:gd name="T14" fmla="*/ 2832 w 3824"/>
                <a:gd name="T15" fmla="*/ 3361 h 3486"/>
                <a:gd name="T16" fmla="*/ 2707 w 3824"/>
                <a:gd name="T17" fmla="*/ 3236 h 3486"/>
                <a:gd name="T18" fmla="*/ 2678 w 3824"/>
                <a:gd name="T19" fmla="*/ 3236 h 3486"/>
                <a:gd name="T20" fmla="*/ 2615 w 3824"/>
                <a:gd name="T21" fmla="*/ 2866 h 3486"/>
                <a:gd name="T22" fmla="*/ 3446 w 3824"/>
                <a:gd name="T23" fmla="*/ 2866 h 3486"/>
                <a:gd name="T24" fmla="*/ 3824 w 3824"/>
                <a:gd name="T25" fmla="*/ 2489 h 3486"/>
                <a:gd name="T26" fmla="*/ 3824 w 3824"/>
                <a:gd name="T27" fmla="*/ 1317 h 3486"/>
                <a:gd name="T28" fmla="*/ 3699 w 3824"/>
                <a:gd name="T29" fmla="*/ 1192 h 3486"/>
                <a:gd name="T30" fmla="*/ 3574 w 3824"/>
                <a:gd name="T31" fmla="*/ 1317 h 3486"/>
                <a:gd name="T32" fmla="*/ 3574 w 3824"/>
                <a:gd name="T33" fmla="*/ 2007 h 3486"/>
                <a:gd name="T34" fmla="*/ 2901 w 3824"/>
                <a:gd name="T35" fmla="*/ 2007 h 3486"/>
                <a:gd name="T36" fmla="*/ 2901 w 3824"/>
                <a:gd name="T37" fmla="*/ 1990 h 3486"/>
                <a:gd name="T38" fmla="*/ 2898 w 3824"/>
                <a:gd name="T39" fmla="*/ 1962 h 3486"/>
                <a:gd name="T40" fmla="*/ 2749 w 3824"/>
                <a:gd name="T41" fmla="*/ 1714 h 3486"/>
                <a:gd name="T42" fmla="*/ 2367 w 3824"/>
                <a:gd name="T43" fmla="*/ 1569 h 3486"/>
                <a:gd name="T44" fmla="*/ 1457 w 3824"/>
                <a:gd name="T45" fmla="*/ 1569 h 3486"/>
                <a:gd name="T46" fmla="*/ 1075 w 3824"/>
                <a:gd name="T47" fmla="*/ 1714 h 3486"/>
                <a:gd name="T48" fmla="*/ 925 w 3824"/>
                <a:gd name="T49" fmla="*/ 1965 h 3486"/>
                <a:gd name="T50" fmla="*/ 922 w 3824"/>
                <a:gd name="T51" fmla="*/ 1993 h 3486"/>
                <a:gd name="T52" fmla="*/ 922 w 3824"/>
                <a:gd name="T53" fmla="*/ 2007 h 3486"/>
                <a:gd name="T54" fmla="*/ 250 w 3824"/>
                <a:gd name="T55" fmla="*/ 2007 h 3486"/>
                <a:gd name="T56" fmla="*/ 250 w 3824"/>
                <a:gd name="T57" fmla="*/ 377 h 3486"/>
                <a:gd name="T58" fmla="*/ 377 w 3824"/>
                <a:gd name="T59" fmla="*/ 250 h 3486"/>
                <a:gd name="T60" fmla="*/ 3446 w 3824"/>
                <a:gd name="T61" fmla="*/ 250 h 3486"/>
                <a:gd name="T62" fmla="*/ 3574 w 3824"/>
                <a:gd name="T63" fmla="*/ 377 h 3486"/>
                <a:gd name="T64" fmla="*/ 3574 w 3824"/>
                <a:gd name="T65" fmla="*/ 783 h 3486"/>
                <a:gd name="T66" fmla="*/ 3699 w 3824"/>
                <a:gd name="T67" fmla="*/ 908 h 3486"/>
                <a:gd name="T68" fmla="*/ 3824 w 3824"/>
                <a:gd name="T69" fmla="*/ 783 h 3486"/>
                <a:gd name="T70" fmla="*/ 3824 w 3824"/>
                <a:gd name="T71" fmla="*/ 377 h 3486"/>
                <a:gd name="T72" fmla="*/ 3446 w 3824"/>
                <a:gd name="T73" fmla="*/ 0 h 3486"/>
                <a:gd name="T74" fmla="*/ 377 w 3824"/>
                <a:gd name="T75" fmla="*/ 0 h 3486"/>
                <a:gd name="T76" fmla="*/ 0 w 3824"/>
                <a:gd name="T77" fmla="*/ 377 h 3486"/>
                <a:gd name="T78" fmla="*/ 0 w 3824"/>
                <a:gd name="T79" fmla="*/ 2489 h 3486"/>
                <a:gd name="T80" fmla="*/ 377 w 3824"/>
                <a:gd name="T81" fmla="*/ 2866 h 3486"/>
                <a:gd name="T82" fmla="*/ 2424 w 3824"/>
                <a:gd name="T83" fmla="*/ 3236 h 3486"/>
                <a:gd name="T84" fmla="*/ 1399 w 3824"/>
                <a:gd name="T85" fmla="*/ 3236 h 3486"/>
                <a:gd name="T86" fmla="*/ 1462 w 3824"/>
                <a:gd name="T87" fmla="*/ 2866 h 3486"/>
                <a:gd name="T88" fmla="*/ 2362 w 3824"/>
                <a:gd name="T89" fmla="*/ 2866 h 3486"/>
                <a:gd name="T90" fmla="*/ 2424 w 3824"/>
                <a:gd name="T91" fmla="*/ 3236 h 3486"/>
                <a:gd name="T92" fmla="*/ 1244 w 3824"/>
                <a:gd name="T93" fmla="*/ 1898 h 3486"/>
                <a:gd name="T94" fmla="*/ 1457 w 3824"/>
                <a:gd name="T95" fmla="*/ 1819 h 3486"/>
                <a:gd name="T96" fmla="*/ 2367 w 3824"/>
                <a:gd name="T97" fmla="*/ 1819 h 3486"/>
                <a:gd name="T98" fmla="*/ 2580 w 3824"/>
                <a:gd name="T99" fmla="*/ 1898 h 3486"/>
                <a:gd name="T100" fmla="*/ 2651 w 3824"/>
                <a:gd name="T101" fmla="*/ 2007 h 3486"/>
                <a:gd name="T102" fmla="*/ 2651 w 3824"/>
                <a:gd name="T103" fmla="*/ 2007 h 3486"/>
                <a:gd name="T104" fmla="*/ 1172 w 3824"/>
                <a:gd name="T105" fmla="*/ 2007 h 3486"/>
                <a:gd name="T106" fmla="*/ 1244 w 3824"/>
                <a:gd name="T107" fmla="*/ 1898 h 3486"/>
                <a:gd name="T108" fmla="*/ 3574 w 3824"/>
                <a:gd name="T109" fmla="*/ 2257 h 3486"/>
                <a:gd name="T110" fmla="*/ 3574 w 3824"/>
                <a:gd name="T111" fmla="*/ 2489 h 3486"/>
                <a:gd name="T112" fmla="*/ 3446 w 3824"/>
                <a:gd name="T113" fmla="*/ 2616 h 3486"/>
                <a:gd name="T114" fmla="*/ 377 w 3824"/>
                <a:gd name="T115" fmla="*/ 2616 h 3486"/>
                <a:gd name="T116" fmla="*/ 250 w 3824"/>
                <a:gd name="T117" fmla="*/ 2489 h 3486"/>
                <a:gd name="T118" fmla="*/ 250 w 3824"/>
                <a:gd name="T119" fmla="*/ 2257 h 3486"/>
                <a:gd name="T120" fmla="*/ 3574 w 3824"/>
                <a:gd name="T121" fmla="*/ 2257 h 3486"/>
                <a:gd name="T122" fmla="*/ 3574 w 3824"/>
                <a:gd name="T123" fmla="*/ 2257 h 3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24" h="3486">
                  <a:moveTo>
                    <a:pt x="377" y="2866"/>
                  </a:moveTo>
                  <a:lnTo>
                    <a:pt x="1208" y="2866"/>
                  </a:lnTo>
                  <a:lnTo>
                    <a:pt x="1146" y="3236"/>
                  </a:lnTo>
                  <a:lnTo>
                    <a:pt x="1116" y="3236"/>
                  </a:lnTo>
                  <a:cubicBezTo>
                    <a:pt x="1047" y="3236"/>
                    <a:pt x="991" y="3292"/>
                    <a:pt x="991" y="3361"/>
                  </a:cubicBezTo>
                  <a:cubicBezTo>
                    <a:pt x="991" y="3430"/>
                    <a:pt x="1047" y="3486"/>
                    <a:pt x="1116" y="3486"/>
                  </a:cubicBezTo>
                  <a:lnTo>
                    <a:pt x="2707" y="3486"/>
                  </a:lnTo>
                  <a:cubicBezTo>
                    <a:pt x="2776" y="3486"/>
                    <a:pt x="2832" y="3430"/>
                    <a:pt x="2832" y="3361"/>
                  </a:cubicBezTo>
                  <a:cubicBezTo>
                    <a:pt x="2832" y="3292"/>
                    <a:pt x="2776" y="3236"/>
                    <a:pt x="2707" y="3236"/>
                  </a:cubicBezTo>
                  <a:lnTo>
                    <a:pt x="2678" y="3236"/>
                  </a:lnTo>
                  <a:lnTo>
                    <a:pt x="2615" y="2866"/>
                  </a:lnTo>
                  <a:lnTo>
                    <a:pt x="3446" y="2866"/>
                  </a:lnTo>
                  <a:cubicBezTo>
                    <a:pt x="3654" y="2866"/>
                    <a:pt x="3824" y="2697"/>
                    <a:pt x="3824" y="2489"/>
                  </a:cubicBezTo>
                  <a:lnTo>
                    <a:pt x="3824" y="1317"/>
                  </a:lnTo>
                  <a:cubicBezTo>
                    <a:pt x="3824" y="1248"/>
                    <a:pt x="3768" y="1192"/>
                    <a:pt x="3699" y="1192"/>
                  </a:cubicBezTo>
                  <a:cubicBezTo>
                    <a:pt x="3630" y="1192"/>
                    <a:pt x="3574" y="1248"/>
                    <a:pt x="3574" y="1317"/>
                  </a:cubicBezTo>
                  <a:lnTo>
                    <a:pt x="3574" y="2007"/>
                  </a:lnTo>
                  <a:lnTo>
                    <a:pt x="2901" y="2007"/>
                  </a:lnTo>
                  <a:lnTo>
                    <a:pt x="2901" y="1990"/>
                  </a:lnTo>
                  <a:cubicBezTo>
                    <a:pt x="2901" y="1981"/>
                    <a:pt x="2900" y="1971"/>
                    <a:pt x="2898" y="1962"/>
                  </a:cubicBezTo>
                  <a:cubicBezTo>
                    <a:pt x="2876" y="1869"/>
                    <a:pt x="2824" y="1784"/>
                    <a:pt x="2749" y="1714"/>
                  </a:cubicBezTo>
                  <a:cubicBezTo>
                    <a:pt x="2647" y="1621"/>
                    <a:pt x="2512" y="1569"/>
                    <a:pt x="2367" y="1569"/>
                  </a:cubicBezTo>
                  <a:lnTo>
                    <a:pt x="1457" y="1569"/>
                  </a:lnTo>
                  <a:cubicBezTo>
                    <a:pt x="1312" y="1569"/>
                    <a:pt x="1177" y="1621"/>
                    <a:pt x="1075" y="1714"/>
                  </a:cubicBezTo>
                  <a:cubicBezTo>
                    <a:pt x="999" y="1784"/>
                    <a:pt x="947" y="1871"/>
                    <a:pt x="925" y="1965"/>
                  </a:cubicBezTo>
                  <a:cubicBezTo>
                    <a:pt x="923" y="1974"/>
                    <a:pt x="922" y="1984"/>
                    <a:pt x="922" y="1993"/>
                  </a:cubicBezTo>
                  <a:lnTo>
                    <a:pt x="922" y="2007"/>
                  </a:lnTo>
                  <a:lnTo>
                    <a:pt x="250" y="2007"/>
                  </a:lnTo>
                  <a:lnTo>
                    <a:pt x="250" y="377"/>
                  </a:lnTo>
                  <a:cubicBezTo>
                    <a:pt x="250" y="307"/>
                    <a:pt x="307" y="250"/>
                    <a:pt x="377" y="250"/>
                  </a:cubicBezTo>
                  <a:lnTo>
                    <a:pt x="3446" y="250"/>
                  </a:lnTo>
                  <a:cubicBezTo>
                    <a:pt x="3517" y="250"/>
                    <a:pt x="3574" y="307"/>
                    <a:pt x="3574" y="377"/>
                  </a:cubicBezTo>
                  <a:lnTo>
                    <a:pt x="3574" y="783"/>
                  </a:lnTo>
                  <a:cubicBezTo>
                    <a:pt x="3574" y="852"/>
                    <a:pt x="3630" y="908"/>
                    <a:pt x="3699" y="908"/>
                  </a:cubicBezTo>
                  <a:cubicBezTo>
                    <a:pt x="3768" y="908"/>
                    <a:pt x="3824" y="852"/>
                    <a:pt x="3824" y="783"/>
                  </a:cubicBezTo>
                  <a:lnTo>
                    <a:pt x="3824" y="377"/>
                  </a:lnTo>
                  <a:cubicBezTo>
                    <a:pt x="3824" y="169"/>
                    <a:pt x="3654" y="0"/>
                    <a:pt x="3446" y="0"/>
                  </a:cubicBezTo>
                  <a:lnTo>
                    <a:pt x="377" y="0"/>
                  </a:lnTo>
                  <a:cubicBezTo>
                    <a:pt x="169" y="0"/>
                    <a:pt x="0" y="169"/>
                    <a:pt x="0" y="377"/>
                  </a:cubicBezTo>
                  <a:lnTo>
                    <a:pt x="0" y="2489"/>
                  </a:lnTo>
                  <a:cubicBezTo>
                    <a:pt x="0" y="2697"/>
                    <a:pt x="169" y="2866"/>
                    <a:pt x="377" y="2866"/>
                  </a:cubicBezTo>
                  <a:close/>
                  <a:moveTo>
                    <a:pt x="2424" y="3236"/>
                  </a:moveTo>
                  <a:lnTo>
                    <a:pt x="1399" y="3236"/>
                  </a:lnTo>
                  <a:lnTo>
                    <a:pt x="1462" y="2866"/>
                  </a:lnTo>
                  <a:lnTo>
                    <a:pt x="2362" y="2866"/>
                  </a:lnTo>
                  <a:lnTo>
                    <a:pt x="2424" y="3236"/>
                  </a:lnTo>
                  <a:close/>
                  <a:moveTo>
                    <a:pt x="1244" y="1898"/>
                  </a:moveTo>
                  <a:cubicBezTo>
                    <a:pt x="1299" y="1847"/>
                    <a:pt x="1375" y="1819"/>
                    <a:pt x="1457" y="1819"/>
                  </a:cubicBezTo>
                  <a:lnTo>
                    <a:pt x="2367" y="1819"/>
                  </a:lnTo>
                  <a:cubicBezTo>
                    <a:pt x="2449" y="1819"/>
                    <a:pt x="2524" y="1847"/>
                    <a:pt x="2580" y="1898"/>
                  </a:cubicBezTo>
                  <a:cubicBezTo>
                    <a:pt x="2615" y="1930"/>
                    <a:pt x="2639" y="1968"/>
                    <a:pt x="2651" y="2007"/>
                  </a:cubicBezTo>
                  <a:lnTo>
                    <a:pt x="2651" y="2007"/>
                  </a:lnTo>
                  <a:lnTo>
                    <a:pt x="1172" y="2007"/>
                  </a:lnTo>
                  <a:cubicBezTo>
                    <a:pt x="1185" y="1968"/>
                    <a:pt x="1209" y="1930"/>
                    <a:pt x="1244" y="1898"/>
                  </a:cubicBezTo>
                  <a:close/>
                  <a:moveTo>
                    <a:pt x="3574" y="2257"/>
                  </a:moveTo>
                  <a:lnTo>
                    <a:pt x="3574" y="2489"/>
                  </a:lnTo>
                  <a:cubicBezTo>
                    <a:pt x="3574" y="2559"/>
                    <a:pt x="3517" y="2616"/>
                    <a:pt x="3446" y="2616"/>
                  </a:cubicBezTo>
                  <a:lnTo>
                    <a:pt x="377" y="2616"/>
                  </a:lnTo>
                  <a:cubicBezTo>
                    <a:pt x="307" y="2616"/>
                    <a:pt x="250" y="2559"/>
                    <a:pt x="250" y="2489"/>
                  </a:cubicBezTo>
                  <a:lnTo>
                    <a:pt x="250" y="2257"/>
                  </a:lnTo>
                  <a:lnTo>
                    <a:pt x="3574" y="2257"/>
                  </a:lnTo>
                  <a:close/>
                  <a:moveTo>
                    <a:pt x="3574" y="225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39" name="Freeform 100">
              <a:extLst>
                <a:ext uri="{FF2B5EF4-FFF2-40B4-BE49-F238E27FC236}">
                  <a16:creationId xmlns:a16="http://schemas.microsoft.com/office/drawing/2014/main" id="{E7401368-5439-AA4E-8E49-A306C4EED9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14" y="830"/>
              <a:ext cx="34" cy="38"/>
            </a:xfrm>
            <a:custGeom>
              <a:avLst/>
              <a:gdLst>
                <a:gd name="T0" fmla="*/ 310 w 848"/>
                <a:gd name="T1" fmla="*/ 0 h 957"/>
                <a:gd name="T2" fmla="*/ 0 w 848"/>
                <a:gd name="T3" fmla="*/ 310 h 957"/>
                <a:gd name="T4" fmla="*/ 0 w 848"/>
                <a:gd name="T5" fmla="*/ 587 h 957"/>
                <a:gd name="T6" fmla="*/ 137 w 848"/>
                <a:gd name="T7" fmla="*/ 831 h 957"/>
                <a:gd name="T8" fmla="*/ 276 w 848"/>
                <a:gd name="T9" fmla="*/ 915 h 957"/>
                <a:gd name="T10" fmla="*/ 424 w 848"/>
                <a:gd name="T11" fmla="*/ 957 h 957"/>
                <a:gd name="T12" fmla="*/ 572 w 848"/>
                <a:gd name="T13" fmla="*/ 915 h 957"/>
                <a:gd name="T14" fmla="*/ 711 w 848"/>
                <a:gd name="T15" fmla="*/ 831 h 957"/>
                <a:gd name="T16" fmla="*/ 848 w 848"/>
                <a:gd name="T17" fmla="*/ 587 h 957"/>
                <a:gd name="T18" fmla="*/ 848 w 848"/>
                <a:gd name="T19" fmla="*/ 310 h 957"/>
                <a:gd name="T20" fmla="*/ 538 w 848"/>
                <a:gd name="T21" fmla="*/ 0 h 957"/>
                <a:gd name="T22" fmla="*/ 310 w 848"/>
                <a:gd name="T23" fmla="*/ 0 h 957"/>
                <a:gd name="T24" fmla="*/ 598 w 848"/>
                <a:gd name="T25" fmla="*/ 310 h 957"/>
                <a:gd name="T26" fmla="*/ 598 w 848"/>
                <a:gd name="T27" fmla="*/ 587 h 957"/>
                <a:gd name="T28" fmla="*/ 581 w 848"/>
                <a:gd name="T29" fmla="*/ 617 h 957"/>
                <a:gd name="T30" fmla="*/ 442 w 848"/>
                <a:gd name="T31" fmla="*/ 702 h 957"/>
                <a:gd name="T32" fmla="*/ 406 w 848"/>
                <a:gd name="T33" fmla="*/ 702 h 957"/>
                <a:gd name="T34" fmla="*/ 267 w 848"/>
                <a:gd name="T35" fmla="*/ 617 h 957"/>
                <a:gd name="T36" fmla="*/ 250 w 848"/>
                <a:gd name="T37" fmla="*/ 587 h 957"/>
                <a:gd name="T38" fmla="*/ 250 w 848"/>
                <a:gd name="T39" fmla="*/ 310 h 957"/>
                <a:gd name="T40" fmla="*/ 310 w 848"/>
                <a:gd name="T41" fmla="*/ 250 h 957"/>
                <a:gd name="T42" fmla="*/ 538 w 848"/>
                <a:gd name="T43" fmla="*/ 250 h 957"/>
                <a:gd name="T44" fmla="*/ 598 w 848"/>
                <a:gd name="T45" fmla="*/ 310 h 957"/>
                <a:gd name="T46" fmla="*/ 598 w 848"/>
                <a:gd name="T47" fmla="*/ 310 h 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48" h="957">
                  <a:moveTo>
                    <a:pt x="310" y="0"/>
                  </a:moveTo>
                  <a:cubicBezTo>
                    <a:pt x="139" y="0"/>
                    <a:pt x="0" y="139"/>
                    <a:pt x="0" y="310"/>
                  </a:cubicBezTo>
                  <a:lnTo>
                    <a:pt x="0" y="587"/>
                  </a:lnTo>
                  <a:cubicBezTo>
                    <a:pt x="0" y="686"/>
                    <a:pt x="52" y="779"/>
                    <a:pt x="137" y="831"/>
                  </a:cubicBezTo>
                  <a:lnTo>
                    <a:pt x="276" y="915"/>
                  </a:lnTo>
                  <a:cubicBezTo>
                    <a:pt x="321" y="943"/>
                    <a:pt x="373" y="957"/>
                    <a:pt x="424" y="957"/>
                  </a:cubicBezTo>
                  <a:cubicBezTo>
                    <a:pt x="475" y="957"/>
                    <a:pt x="527" y="943"/>
                    <a:pt x="572" y="915"/>
                  </a:cubicBezTo>
                  <a:lnTo>
                    <a:pt x="711" y="831"/>
                  </a:lnTo>
                  <a:cubicBezTo>
                    <a:pt x="795" y="779"/>
                    <a:pt x="848" y="686"/>
                    <a:pt x="848" y="587"/>
                  </a:cubicBezTo>
                  <a:lnTo>
                    <a:pt x="848" y="310"/>
                  </a:lnTo>
                  <a:cubicBezTo>
                    <a:pt x="848" y="139"/>
                    <a:pt x="709" y="0"/>
                    <a:pt x="538" y="0"/>
                  </a:cubicBezTo>
                  <a:lnTo>
                    <a:pt x="310" y="0"/>
                  </a:lnTo>
                  <a:close/>
                  <a:moveTo>
                    <a:pt x="598" y="310"/>
                  </a:moveTo>
                  <a:lnTo>
                    <a:pt x="598" y="587"/>
                  </a:lnTo>
                  <a:cubicBezTo>
                    <a:pt x="598" y="599"/>
                    <a:pt x="591" y="611"/>
                    <a:pt x="581" y="617"/>
                  </a:cubicBezTo>
                  <a:lnTo>
                    <a:pt x="442" y="702"/>
                  </a:lnTo>
                  <a:cubicBezTo>
                    <a:pt x="431" y="709"/>
                    <a:pt x="417" y="709"/>
                    <a:pt x="406" y="702"/>
                  </a:cubicBezTo>
                  <a:lnTo>
                    <a:pt x="267" y="617"/>
                  </a:lnTo>
                  <a:cubicBezTo>
                    <a:pt x="257" y="611"/>
                    <a:pt x="250" y="599"/>
                    <a:pt x="250" y="587"/>
                  </a:cubicBezTo>
                  <a:lnTo>
                    <a:pt x="250" y="310"/>
                  </a:lnTo>
                  <a:cubicBezTo>
                    <a:pt x="250" y="277"/>
                    <a:pt x="277" y="250"/>
                    <a:pt x="310" y="250"/>
                  </a:cubicBezTo>
                  <a:lnTo>
                    <a:pt x="538" y="250"/>
                  </a:lnTo>
                  <a:cubicBezTo>
                    <a:pt x="571" y="250"/>
                    <a:pt x="598" y="277"/>
                    <a:pt x="598" y="310"/>
                  </a:cubicBezTo>
                  <a:close/>
                  <a:moveTo>
                    <a:pt x="598" y="31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40" name="Freeform 101">
              <a:extLst>
                <a:ext uri="{FF2B5EF4-FFF2-40B4-BE49-F238E27FC236}">
                  <a16:creationId xmlns:a16="http://schemas.microsoft.com/office/drawing/2014/main" id="{4FDEC327-61D5-5148-BE29-A3DEDDB88A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1" y="1010"/>
              <a:ext cx="152" cy="139"/>
            </a:xfrm>
            <a:custGeom>
              <a:avLst/>
              <a:gdLst>
                <a:gd name="T0" fmla="*/ 3447 w 3824"/>
                <a:gd name="T1" fmla="*/ 0 h 3486"/>
                <a:gd name="T2" fmla="*/ 377 w 3824"/>
                <a:gd name="T3" fmla="*/ 0 h 3486"/>
                <a:gd name="T4" fmla="*/ 0 w 3824"/>
                <a:gd name="T5" fmla="*/ 378 h 3486"/>
                <a:gd name="T6" fmla="*/ 0 w 3824"/>
                <a:gd name="T7" fmla="*/ 2489 h 3486"/>
                <a:gd name="T8" fmla="*/ 377 w 3824"/>
                <a:gd name="T9" fmla="*/ 2866 h 3486"/>
                <a:gd name="T10" fmla="*/ 1209 w 3824"/>
                <a:gd name="T11" fmla="*/ 2866 h 3486"/>
                <a:gd name="T12" fmla="*/ 1146 w 3824"/>
                <a:gd name="T13" fmla="*/ 3236 h 3486"/>
                <a:gd name="T14" fmla="*/ 1116 w 3824"/>
                <a:gd name="T15" fmla="*/ 3236 h 3486"/>
                <a:gd name="T16" fmla="*/ 991 w 3824"/>
                <a:gd name="T17" fmla="*/ 3361 h 3486"/>
                <a:gd name="T18" fmla="*/ 1116 w 3824"/>
                <a:gd name="T19" fmla="*/ 3486 h 3486"/>
                <a:gd name="T20" fmla="*/ 2708 w 3824"/>
                <a:gd name="T21" fmla="*/ 3486 h 3486"/>
                <a:gd name="T22" fmla="*/ 2833 w 3824"/>
                <a:gd name="T23" fmla="*/ 3361 h 3486"/>
                <a:gd name="T24" fmla="*/ 2708 w 3824"/>
                <a:gd name="T25" fmla="*/ 3236 h 3486"/>
                <a:gd name="T26" fmla="*/ 2678 w 3824"/>
                <a:gd name="T27" fmla="*/ 3236 h 3486"/>
                <a:gd name="T28" fmla="*/ 2616 w 3824"/>
                <a:gd name="T29" fmla="*/ 2866 h 3486"/>
                <a:gd name="T30" fmla="*/ 3447 w 3824"/>
                <a:gd name="T31" fmla="*/ 2866 h 3486"/>
                <a:gd name="T32" fmla="*/ 3824 w 3824"/>
                <a:gd name="T33" fmla="*/ 2489 h 3486"/>
                <a:gd name="T34" fmla="*/ 3824 w 3824"/>
                <a:gd name="T35" fmla="*/ 378 h 3486"/>
                <a:gd name="T36" fmla="*/ 3447 w 3824"/>
                <a:gd name="T37" fmla="*/ 0 h 3486"/>
                <a:gd name="T38" fmla="*/ 377 w 3824"/>
                <a:gd name="T39" fmla="*/ 250 h 3486"/>
                <a:gd name="T40" fmla="*/ 3447 w 3824"/>
                <a:gd name="T41" fmla="*/ 250 h 3486"/>
                <a:gd name="T42" fmla="*/ 3574 w 3824"/>
                <a:gd name="T43" fmla="*/ 378 h 3486"/>
                <a:gd name="T44" fmla="*/ 3574 w 3824"/>
                <a:gd name="T45" fmla="*/ 2007 h 3486"/>
                <a:gd name="T46" fmla="*/ 2902 w 3824"/>
                <a:gd name="T47" fmla="*/ 2007 h 3486"/>
                <a:gd name="T48" fmla="*/ 2902 w 3824"/>
                <a:gd name="T49" fmla="*/ 1991 h 3486"/>
                <a:gd name="T50" fmla="*/ 2898 w 3824"/>
                <a:gd name="T51" fmla="*/ 1962 h 3486"/>
                <a:gd name="T52" fmla="*/ 2749 w 3824"/>
                <a:gd name="T53" fmla="*/ 1714 h 3486"/>
                <a:gd name="T54" fmla="*/ 2367 w 3824"/>
                <a:gd name="T55" fmla="*/ 1570 h 3486"/>
                <a:gd name="T56" fmla="*/ 1458 w 3824"/>
                <a:gd name="T57" fmla="*/ 1570 h 3486"/>
                <a:gd name="T58" fmla="*/ 1076 w 3824"/>
                <a:gd name="T59" fmla="*/ 1714 h 3486"/>
                <a:gd name="T60" fmla="*/ 926 w 3824"/>
                <a:gd name="T61" fmla="*/ 1965 h 3486"/>
                <a:gd name="T62" fmla="*/ 922 w 3824"/>
                <a:gd name="T63" fmla="*/ 1993 h 3486"/>
                <a:gd name="T64" fmla="*/ 922 w 3824"/>
                <a:gd name="T65" fmla="*/ 2008 h 3486"/>
                <a:gd name="T66" fmla="*/ 250 w 3824"/>
                <a:gd name="T67" fmla="*/ 2008 h 3486"/>
                <a:gd name="T68" fmla="*/ 250 w 3824"/>
                <a:gd name="T69" fmla="*/ 378 h 3486"/>
                <a:gd name="T70" fmla="*/ 377 w 3824"/>
                <a:gd name="T71" fmla="*/ 250 h 3486"/>
                <a:gd name="T72" fmla="*/ 2425 w 3824"/>
                <a:gd name="T73" fmla="*/ 3236 h 3486"/>
                <a:gd name="T74" fmla="*/ 1400 w 3824"/>
                <a:gd name="T75" fmla="*/ 3236 h 3486"/>
                <a:gd name="T76" fmla="*/ 1462 w 3824"/>
                <a:gd name="T77" fmla="*/ 2866 h 3486"/>
                <a:gd name="T78" fmla="*/ 2362 w 3824"/>
                <a:gd name="T79" fmla="*/ 2866 h 3486"/>
                <a:gd name="T80" fmla="*/ 2425 w 3824"/>
                <a:gd name="T81" fmla="*/ 3236 h 3486"/>
                <a:gd name="T82" fmla="*/ 3574 w 3824"/>
                <a:gd name="T83" fmla="*/ 2489 h 3486"/>
                <a:gd name="T84" fmla="*/ 3447 w 3824"/>
                <a:gd name="T85" fmla="*/ 2616 h 3486"/>
                <a:gd name="T86" fmla="*/ 377 w 3824"/>
                <a:gd name="T87" fmla="*/ 2616 h 3486"/>
                <a:gd name="T88" fmla="*/ 250 w 3824"/>
                <a:gd name="T89" fmla="*/ 2489 h 3486"/>
                <a:gd name="T90" fmla="*/ 250 w 3824"/>
                <a:gd name="T91" fmla="*/ 2258 h 3486"/>
                <a:gd name="T92" fmla="*/ 1300 w 3824"/>
                <a:gd name="T93" fmla="*/ 2258 h 3486"/>
                <a:gd name="T94" fmla="*/ 1425 w 3824"/>
                <a:gd name="T95" fmla="*/ 2133 h 3486"/>
                <a:gd name="T96" fmla="*/ 1300 w 3824"/>
                <a:gd name="T97" fmla="*/ 2008 h 3486"/>
                <a:gd name="T98" fmla="*/ 1173 w 3824"/>
                <a:gd name="T99" fmla="*/ 2008 h 3486"/>
                <a:gd name="T100" fmla="*/ 1245 w 3824"/>
                <a:gd name="T101" fmla="*/ 1898 h 3486"/>
                <a:gd name="T102" fmla="*/ 1458 w 3824"/>
                <a:gd name="T103" fmla="*/ 1820 h 3486"/>
                <a:gd name="T104" fmla="*/ 2367 w 3824"/>
                <a:gd name="T105" fmla="*/ 1820 h 3486"/>
                <a:gd name="T106" fmla="*/ 2580 w 3824"/>
                <a:gd name="T107" fmla="*/ 1898 h 3486"/>
                <a:gd name="T108" fmla="*/ 2652 w 3824"/>
                <a:gd name="T109" fmla="*/ 2007 h 3486"/>
                <a:gd name="T110" fmla="*/ 2652 w 3824"/>
                <a:gd name="T111" fmla="*/ 2008 h 3486"/>
                <a:gd name="T112" fmla="*/ 1823 w 3824"/>
                <a:gd name="T113" fmla="*/ 2008 h 3486"/>
                <a:gd name="T114" fmla="*/ 1698 w 3824"/>
                <a:gd name="T115" fmla="*/ 2133 h 3486"/>
                <a:gd name="T116" fmla="*/ 1823 w 3824"/>
                <a:gd name="T117" fmla="*/ 2258 h 3486"/>
                <a:gd name="T118" fmla="*/ 3574 w 3824"/>
                <a:gd name="T119" fmla="*/ 2258 h 3486"/>
                <a:gd name="T120" fmla="*/ 3574 w 3824"/>
                <a:gd name="T121" fmla="*/ 2489 h 3486"/>
                <a:gd name="T122" fmla="*/ 3574 w 3824"/>
                <a:gd name="T123" fmla="*/ 2489 h 3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24" h="3486">
                  <a:moveTo>
                    <a:pt x="3447" y="0"/>
                  </a:moveTo>
                  <a:lnTo>
                    <a:pt x="377" y="0"/>
                  </a:lnTo>
                  <a:cubicBezTo>
                    <a:pt x="169" y="0"/>
                    <a:pt x="0" y="170"/>
                    <a:pt x="0" y="378"/>
                  </a:cubicBezTo>
                  <a:lnTo>
                    <a:pt x="0" y="2489"/>
                  </a:lnTo>
                  <a:cubicBezTo>
                    <a:pt x="0" y="2697"/>
                    <a:pt x="169" y="2866"/>
                    <a:pt x="377" y="2866"/>
                  </a:cubicBezTo>
                  <a:lnTo>
                    <a:pt x="1209" y="2866"/>
                  </a:lnTo>
                  <a:lnTo>
                    <a:pt x="1146" y="3236"/>
                  </a:lnTo>
                  <a:lnTo>
                    <a:pt x="1116" y="3236"/>
                  </a:lnTo>
                  <a:cubicBezTo>
                    <a:pt x="1047" y="3236"/>
                    <a:pt x="991" y="3292"/>
                    <a:pt x="991" y="3361"/>
                  </a:cubicBezTo>
                  <a:cubicBezTo>
                    <a:pt x="991" y="3430"/>
                    <a:pt x="1047" y="3486"/>
                    <a:pt x="1116" y="3486"/>
                  </a:cubicBezTo>
                  <a:lnTo>
                    <a:pt x="2708" y="3486"/>
                  </a:lnTo>
                  <a:cubicBezTo>
                    <a:pt x="2777" y="3486"/>
                    <a:pt x="2833" y="3430"/>
                    <a:pt x="2833" y="3361"/>
                  </a:cubicBezTo>
                  <a:cubicBezTo>
                    <a:pt x="2833" y="3292"/>
                    <a:pt x="2777" y="3236"/>
                    <a:pt x="2708" y="3236"/>
                  </a:cubicBezTo>
                  <a:lnTo>
                    <a:pt x="2678" y="3236"/>
                  </a:lnTo>
                  <a:lnTo>
                    <a:pt x="2616" y="2866"/>
                  </a:lnTo>
                  <a:lnTo>
                    <a:pt x="3447" y="2866"/>
                  </a:lnTo>
                  <a:cubicBezTo>
                    <a:pt x="3655" y="2866"/>
                    <a:pt x="3824" y="2697"/>
                    <a:pt x="3824" y="2489"/>
                  </a:cubicBezTo>
                  <a:lnTo>
                    <a:pt x="3824" y="378"/>
                  </a:lnTo>
                  <a:cubicBezTo>
                    <a:pt x="3824" y="170"/>
                    <a:pt x="3655" y="0"/>
                    <a:pt x="3447" y="0"/>
                  </a:cubicBezTo>
                  <a:close/>
                  <a:moveTo>
                    <a:pt x="377" y="250"/>
                  </a:moveTo>
                  <a:lnTo>
                    <a:pt x="3447" y="250"/>
                  </a:lnTo>
                  <a:cubicBezTo>
                    <a:pt x="3517" y="250"/>
                    <a:pt x="3574" y="307"/>
                    <a:pt x="3574" y="378"/>
                  </a:cubicBezTo>
                  <a:lnTo>
                    <a:pt x="3574" y="2007"/>
                  </a:lnTo>
                  <a:lnTo>
                    <a:pt x="2902" y="2007"/>
                  </a:lnTo>
                  <a:lnTo>
                    <a:pt x="2902" y="1991"/>
                  </a:lnTo>
                  <a:cubicBezTo>
                    <a:pt x="2902" y="1981"/>
                    <a:pt x="2901" y="1971"/>
                    <a:pt x="2898" y="1962"/>
                  </a:cubicBezTo>
                  <a:cubicBezTo>
                    <a:pt x="2876" y="1869"/>
                    <a:pt x="2825" y="1784"/>
                    <a:pt x="2749" y="1714"/>
                  </a:cubicBezTo>
                  <a:cubicBezTo>
                    <a:pt x="2648" y="1621"/>
                    <a:pt x="2512" y="1570"/>
                    <a:pt x="2367" y="1570"/>
                  </a:cubicBezTo>
                  <a:lnTo>
                    <a:pt x="1458" y="1570"/>
                  </a:lnTo>
                  <a:cubicBezTo>
                    <a:pt x="1313" y="1570"/>
                    <a:pt x="1177" y="1621"/>
                    <a:pt x="1076" y="1714"/>
                  </a:cubicBezTo>
                  <a:cubicBezTo>
                    <a:pt x="999" y="1784"/>
                    <a:pt x="947" y="1871"/>
                    <a:pt x="926" y="1965"/>
                  </a:cubicBezTo>
                  <a:cubicBezTo>
                    <a:pt x="923" y="1974"/>
                    <a:pt x="922" y="1984"/>
                    <a:pt x="922" y="1993"/>
                  </a:cubicBezTo>
                  <a:lnTo>
                    <a:pt x="922" y="2008"/>
                  </a:lnTo>
                  <a:lnTo>
                    <a:pt x="250" y="2008"/>
                  </a:lnTo>
                  <a:lnTo>
                    <a:pt x="250" y="378"/>
                  </a:lnTo>
                  <a:cubicBezTo>
                    <a:pt x="250" y="307"/>
                    <a:pt x="307" y="250"/>
                    <a:pt x="377" y="250"/>
                  </a:cubicBezTo>
                  <a:close/>
                  <a:moveTo>
                    <a:pt x="2425" y="3236"/>
                  </a:moveTo>
                  <a:lnTo>
                    <a:pt x="1400" y="3236"/>
                  </a:lnTo>
                  <a:lnTo>
                    <a:pt x="1462" y="2866"/>
                  </a:lnTo>
                  <a:lnTo>
                    <a:pt x="2362" y="2866"/>
                  </a:lnTo>
                  <a:lnTo>
                    <a:pt x="2425" y="3236"/>
                  </a:lnTo>
                  <a:close/>
                  <a:moveTo>
                    <a:pt x="3574" y="2489"/>
                  </a:moveTo>
                  <a:cubicBezTo>
                    <a:pt x="3574" y="2559"/>
                    <a:pt x="3517" y="2616"/>
                    <a:pt x="3447" y="2616"/>
                  </a:cubicBezTo>
                  <a:lnTo>
                    <a:pt x="377" y="2616"/>
                  </a:lnTo>
                  <a:cubicBezTo>
                    <a:pt x="307" y="2616"/>
                    <a:pt x="250" y="2559"/>
                    <a:pt x="250" y="2489"/>
                  </a:cubicBezTo>
                  <a:lnTo>
                    <a:pt x="250" y="2258"/>
                  </a:lnTo>
                  <a:lnTo>
                    <a:pt x="1300" y="2258"/>
                  </a:lnTo>
                  <a:cubicBezTo>
                    <a:pt x="1369" y="2258"/>
                    <a:pt x="1425" y="2202"/>
                    <a:pt x="1425" y="2133"/>
                  </a:cubicBezTo>
                  <a:cubicBezTo>
                    <a:pt x="1425" y="2063"/>
                    <a:pt x="1369" y="2008"/>
                    <a:pt x="1300" y="2008"/>
                  </a:cubicBezTo>
                  <a:lnTo>
                    <a:pt x="1173" y="2008"/>
                  </a:lnTo>
                  <a:cubicBezTo>
                    <a:pt x="1185" y="1968"/>
                    <a:pt x="1210" y="1930"/>
                    <a:pt x="1245" y="1898"/>
                  </a:cubicBezTo>
                  <a:cubicBezTo>
                    <a:pt x="1300" y="1848"/>
                    <a:pt x="1376" y="1820"/>
                    <a:pt x="1458" y="1820"/>
                  </a:cubicBezTo>
                  <a:lnTo>
                    <a:pt x="2367" y="1820"/>
                  </a:lnTo>
                  <a:cubicBezTo>
                    <a:pt x="2449" y="1820"/>
                    <a:pt x="2525" y="1848"/>
                    <a:pt x="2580" y="1898"/>
                  </a:cubicBezTo>
                  <a:cubicBezTo>
                    <a:pt x="2615" y="1930"/>
                    <a:pt x="2640" y="1968"/>
                    <a:pt x="2652" y="2007"/>
                  </a:cubicBezTo>
                  <a:lnTo>
                    <a:pt x="2652" y="2008"/>
                  </a:lnTo>
                  <a:lnTo>
                    <a:pt x="1823" y="2008"/>
                  </a:lnTo>
                  <a:cubicBezTo>
                    <a:pt x="1754" y="2008"/>
                    <a:pt x="1698" y="2063"/>
                    <a:pt x="1698" y="2133"/>
                  </a:cubicBezTo>
                  <a:cubicBezTo>
                    <a:pt x="1698" y="2202"/>
                    <a:pt x="1754" y="2258"/>
                    <a:pt x="1823" y="2258"/>
                  </a:cubicBezTo>
                  <a:lnTo>
                    <a:pt x="3574" y="2258"/>
                  </a:lnTo>
                  <a:lnTo>
                    <a:pt x="3574" y="2489"/>
                  </a:lnTo>
                  <a:close/>
                  <a:moveTo>
                    <a:pt x="3574" y="248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41" name="Freeform 102">
              <a:extLst>
                <a:ext uri="{FF2B5EF4-FFF2-40B4-BE49-F238E27FC236}">
                  <a16:creationId xmlns:a16="http://schemas.microsoft.com/office/drawing/2014/main" id="{AB4A17A8-5384-3C4E-9712-021C70E136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0" y="1031"/>
              <a:ext cx="34" cy="38"/>
            </a:xfrm>
            <a:custGeom>
              <a:avLst/>
              <a:gdLst>
                <a:gd name="T0" fmla="*/ 137 w 848"/>
                <a:gd name="T1" fmla="*/ 831 h 957"/>
                <a:gd name="T2" fmla="*/ 276 w 848"/>
                <a:gd name="T3" fmla="*/ 916 h 957"/>
                <a:gd name="T4" fmla="*/ 424 w 848"/>
                <a:gd name="T5" fmla="*/ 957 h 957"/>
                <a:gd name="T6" fmla="*/ 573 w 848"/>
                <a:gd name="T7" fmla="*/ 916 h 957"/>
                <a:gd name="T8" fmla="*/ 711 w 848"/>
                <a:gd name="T9" fmla="*/ 831 h 957"/>
                <a:gd name="T10" fmla="*/ 848 w 848"/>
                <a:gd name="T11" fmla="*/ 587 h 957"/>
                <a:gd name="T12" fmla="*/ 848 w 848"/>
                <a:gd name="T13" fmla="*/ 310 h 957"/>
                <a:gd name="T14" fmla="*/ 539 w 848"/>
                <a:gd name="T15" fmla="*/ 0 h 957"/>
                <a:gd name="T16" fmla="*/ 310 w 848"/>
                <a:gd name="T17" fmla="*/ 0 h 957"/>
                <a:gd name="T18" fmla="*/ 0 w 848"/>
                <a:gd name="T19" fmla="*/ 310 h 957"/>
                <a:gd name="T20" fmla="*/ 0 w 848"/>
                <a:gd name="T21" fmla="*/ 587 h 957"/>
                <a:gd name="T22" fmla="*/ 137 w 848"/>
                <a:gd name="T23" fmla="*/ 831 h 957"/>
                <a:gd name="T24" fmla="*/ 251 w 848"/>
                <a:gd name="T25" fmla="*/ 310 h 957"/>
                <a:gd name="T26" fmla="*/ 310 w 848"/>
                <a:gd name="T27" fmla="*/ 250 h 957"/>
                <a:gd name="T28" fmla="*/ 539 w 848"/>
                <a:gd name="T29" fmla="*/ 250 h 957"/>
                <a:gd name="T30" fmla="*/ 598 w 848"/>
                <a:gd name="T31" fmla="*/ 310 h 957"/>
                <a:gd name="T32" fmla="*/ 598 w 848"/>
                <a:gd name="T33" fmla="*/ 587 h 957"/>
                <a:gd name="T34" fmla="*/ 581 w 848"/>
                <a:gd name="T35" fmla="*/ 618 h 957"/>
                <a:gd name="T36" fmla="*/ 443 w 848"/>
                <a:gd name="T37" fmla="*/ 702 h 957"/>
                <a:gd name="T38" fmla="*/ 406 w 848"/>
                <a:gd name="T39" fmla="*/ 702 h 957"/>
                <a:gd name="T40" fmla="*/ 268 w 848"/>
                <a:gd name="T41" fmla="*/ 618 h 957"/>
                <a:gd name="T42" fmla="*/ 251 w 848"/>
                <a:gd name="T43" fmla="*/ 587 h 957"/>
                <a:gd name="T44" fmla="*/ 251 w 848"/>
                <a:gd name="T45" fmla="*/ 310 h 957"/>
                <a:gd name="T46" fmla="*/ 251 w 848"/>
                <a:gd name="T47" fmla="*/ 310 h 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48" h="957">
                  <a:moveTo>
                    <a:pt x="137" y="831"/>
                  </a:moveTo>
                  <a:lnTo>
                    <a:pt x="276" y="916"/>
                  </a:lnTo>
                  <a:cubicBezTo>
                    <a:pt x="322" y="943"/>
                    <a:pt x="373" y="957"/>
                    <a:pt x="424" y="957"/>
                  </a:cubicBezTo>
                  <a:cubicBezTo>
                    <a:pt x="476" y="957"/>
                    <a:pt x="527" y="943"/>
                    <a:pt x="573" y="916"/>
                  </a:cubicBezTo>
                  <a:lnTo>
                    <a:pt x="711" y="831"/>
                  </a:lnTo>
                  <a:cubicBezTo>
                    <a:pt x="796" y="780"/>
                    <a:pt x="848" y="686"/>
                    <a:pt x="848" y="587"/>
                  </a:cubicBezTo>
                  <a:lnTo>
                    <a:pt x="848" y="310"/>
                  </a:lnTo>
                  <a:cubicBezTo>
                    <a:pt x="848" y="140"/>
                    <a:pt x="709" y="0"/>
                    <a:pt x="539" y="0"/>
                  </a:cubicBezTo>
                  <a:lnTo>
                    <a:pt x="310" y="0"/>
                  </a:lnTo>
                  <a:cubicBezTo>
                    <a:pt x="139" y="0"/>
                    <a:pt x="0" y="140"/>
                    <a:pt x="0" y="310"/>
                  </a:cubicBezTo>
                  <a:lnTo>
                    <a:pt x="0" y="587"/>
                  </a:lnTo>
                  <a:cubicBezTo>
                    <a:pt x="1" y="686"/>
                    <a:pt x="53" y="780"/>
                    <a:pt x="137" y="831"/>
                  </a:cubicBezTo>
                  <a:close/>
                  <a:moveTo>
                    <a:pt x="251" y="310"/>
                  </a:moveTo>
                  <a:cubicBezTo>
                    <a:pt x="251" y="277"/>
                    <a:pt x="277" y="250"/>
                    <a:pt x="310" y="250"/>
                  </a:cubicBezTo>
                  <a:lnTo>
                    <a:pt x="539" y="250"/>
                  </a:lnTo>
                  <a:cubicBezTo>
                    <a:pt x="572" y="250"/>
                    <a:pt x="598" y="277"/>
                    <a:pt x="598" y="310"/>
                  </a:cubicBezTo>
                  <a:lnTo>
                    <a:pt x="598" y="587"/>
                  </a:lnTo>
                  <a:cubicBezTo>
                    <a:pt x="598" y="599"/>
                    <a:pt x="592" y="611"/>
                    <a:pt x="581" y="618"/>
                  </a:cubicBezTo>
                  <a:lnTo>
                    <a:pt x="443" y="702"/>
                  </a:lnTo>
                  <a:cubicBezTo>
                    <a:pt x="431" y="709"/>
                    <a:pt x="417" y="709"/>
                    <a:pt x="406" y="702"/>
                  </a:cubicBezTo>
                  <a:lnTo>
                    <a:pt x="268" y="618"/>
                  </a:lnTo>
                  <a:cubicBezTo>
                    <a:pt x="257" y="611"/>
                    <a:pt x="251" y="599"/>
                    <a:pt x="251" y="587"/>
                  </a:cubicBezTo>
                  <a:lnTo>
                    <a:pt x="251" y="310"/>
                  </a:lnTo>
                  <a:close/>
                  <a:moveTo>
                    <a:pt x="251" y="31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142" name="Rectangle 141">
            <a:extLst>
              <a:ext uri="{FF2B5EF4-FFF2-40B4-BE49-F238E27FC236}">
                <a16:creationId xmlns:a16="http://schemas.microsoft.com/office/drawing/2014/main" id="{12E4FBCB-3CC9-5143-820C-0E174A083BFD}"/>
              </a:ext>
            </a:extLst>
          </p:cNvPr>
          <p:cNvSpPr/>
          <p:nvPr/>
        </p:nvSpPr>
        <p:spPr>
          <a:xfrm>
            <a:off x="9043459" y="3140969"/>
            <a:ext cx="2520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espoke dashboards for each member of the team</a:t>
            </a:r>
          </a:p>
        </p:txBody>
      </p:sp>
      <p:sp>
        <p:nvSpPr>
          <p:cNvPr id="144" name="Freeform 14">
            <a:extLst>
              <a:ext uri="{FF2B5EF4-FFF2-40B4-BE49-F238E27FC236}">
                <a16:creationId xmlns:a16="http://schemas.microsoft.com/office/drawing/2014/main" id="{2DD74FE8-58A6-4F4B-8026-F603B01FC494}"/>
              </a:ext>
            </a:extLst>
          </p:cNvPr>
          <p:cNvSpPr>
            <a:spLocks/>
          </p:cNvSpPr>
          <p:nvPr/>
        </p:nvSpPr>
        <p:spPr bwMode="auto">
          <a:xfrm>
            <a:off x="8433633" y="5113508"/>
            <a:ext cx="592450" cy="74592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45" name="Group 9">
            <a:extLst>
              <a:ext uri="{FF2B5EF4-FFF2-40B4-BE49-F238E27FC236}">
                <a16:creationId xmlns:a16="http://schemas.microsoft.com/office/drawing/2014/main" id="{C4C975BD-AE1F-2745-ABBA-6C51A4937C0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34337" y="5260679"/>
            <a:ext cx="393690" cy="393690"/>
            <a:chOff x="2407" y="727"/>
            <a:chExt cx="2854" cy="2854"/>
          </a:xfrm>
          <a:solidFill>
            <a:srgbClr val="A136A0"/>
          </a:solidFill>
        </p:grpSpPr>
        <p:sp>
          <p:nvSpPr>
            <p:cNvPr id="146" name="Freeform 10">
              <a:extLst>
                <a:ext uri="{FF2B5EF4-FFF2-40B4-BE49-F238E27FC236}">
                  <a16:creationId xmlns:a16="http://schemas.microsoft.com/office/drawing/2014/main" id="{C65709B1-3EA4-C045-A979-DCD13791DB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7" y="727"/>
              <a:ext cx="2854" cy="2854"/>
            </a:xfrm>
            <a:custGeom>
              <a:avLst/>
              <a:gdLst>
                <a:gd name="T0" fmla="*/ 4735 w 5944"/>
                <a:gd name="T1" fmla="*/ 476 h 5944"/>
                <a:gd name="T2" fmla="*/ 4648 w 5944"/>
                <a:gd name="T3" fmla="*/ 0 h 5944"/>
                <a:gd name="T4" fmla="*/ 4187 w 5944"/>
                <a:gd name="T5" fmla="*/ 87 h 5944"/>
                <a:gd name="T6" fmla="*/ 3246 w 5944"/>
                <a:gd name="T7" fmla="*/ 476 h 5944"/>
                <a:gd name="T8" fmla="*/ 3159 w 5944"/>
                <a:gd name="T9" fmla="*/ 0 h 5944"/>
                <a:gd name="T10" fmla="*/ 2698 w 5944"/>
                <a:gd name="T11" fmla="*/ 87 h 5944"/>
                <a:gd name="T12" fmla="*/ 1757 w 5944"/>
                <a:gd name="T13" fmla="*/ 476 h 5944"/>
                <a:gd name="T14" fmla="*/ 1669 w 5944"/>
                <a:gd name="T15" fmla="*/ 0 h 5944"/>
                <a:gd name="T16" fmla="*/ 1209 w 5944"/>
                <a:gd name="T17" fmla="*/ 87 h 5944"/>
                <a:gd name="T18" fmla="*/ 87 w 5944"/>
                <a:gd name="T19" fmla="*/ 476 h 5944"/>
                <a:gd name="T20" fmla="*/ 0 w 5944"/>
                <a:gd name="T21" fmla="*/ 5857 h 5944"/>
                <a:gd name="T22" fmla="*/ 5857 w 5944"/>
                <a:gd name="T23" fmla="*/ 5944 h 5944"/>
                <a:gd name="T24" fmla="*/ 5944 w 5944"/>
                <a:gd name="T25" fmla="*/ 564 h 5944"/>
                <a:gd name="T26" fmla="*/ 4362 w 5944"/>
                <a:gd name="T27" fmla="*/ 175 h 5944"/>
                <a:gd name="T28" fmla="*/ 4560 w 5944"/>
                <a:gd name="T29" fmla="*/ 953 h 5944"/>
                <a:gd name="T30" fmla="*/ 4362 w 5944"/>
                <a:gd name="T31" fmla="*/ 175 h 5944"/>
                <a:gd name="T32" fmla="*/ 3071 w 5944"/>
                <a:gd name="T33" fmla="*/ 175 h 5944"/>
                <a:gd name="T34" fmla="*/ 2873 w 5944"/>
                <a:gd name="T35" fmla="*/ 953 h 5944"/>
                <a:gd name="T36" fmla="*/ 1384 w 5944"/>
                <a:gd name="T37" fmla="*/ 175 h 5944"/>
                <a:gd name="T38" fmla="*/ 1582 w 5944"/>
                <a:gd name="T39" fmla="*/ 953 h 5944"/>
                <a:gd name="T40" fmla="*/ 1384 w 5944"/>
                <a:gd name="T41" fmla="*/ 175 h 5944"/>
                <a:gd name="T42" fmla="*/ 1209 w 5944"/>
                <a:gd name="T43" fmla="*/ 651 h 5944"/>
                <a:gd name="T44" fmla="*/ 1296 w 5944"/>
                <a:gd name="T45" fmla="*/ 1128 h 5944"/>
                <a:gd name="T46" fmla="*/ 1757 w 5944"/>
                <a:gd name="T47" fmla="*/ 1040 h 5944"/>
                <a:gd name="T48" fmla="*/ 2698 w 5944"/>
                <a:gd name="T49" fmla="*/ 651 h 5944"/>
                <a:gd name="T50" fmla="*/ 2785 w 5944"/>
                <a:gd name="T51" fmla="*/ 1128 h 5944"/>
                <a:gd name="T52" fmla="*/ 3246 w 5944"/>
                <a:gd name="T53" fmla="*/ 1040 h 5944"/>
                <a:gd name="T54" fmla="*/ 4187 w 5944"/>
                <a:gd name="T55" fmla="*/ 651 h 5944"/>
                <a:gd name="T56" fmla="*/ 4275 w 5944"/>
                <a:gd name="T57" fmla="*/ 1128 h 5944"/>
                <a:gd name="T58" fmla="*/ 4735 w 5944"/>
                <a:gd name="T59" fmla="*/ 1040 h 5944"/>
                <a:gd name="T60" fmla="*/ 5769 w 5944"/>
                <a:gd name="T61" fmla="*/ 651 h 5944"/>
                <a:gd name="T62" fmla="*/ 175 w 5944"/>
                <a:gd name="T63" fmla="*/ 1653 h 5944"/>
                <a:gd name="T64" fmla="*/ 175 w 5944"/>
                <a:gd name="T65" fmla="*/ 5769 h 5944"/>
                <a:gd name="T66" fmla="*/ 5769 w 5944"/>
                <a:gd name="T67" fmla="*/ 1828 h 5944"/>
                <a:gd name="T68" fmla="*/ 175 w 5944"/>
                <a:gd name="T69" fmla="*/ 5769 h 5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44" h="5944">
                  <a:moveTo>
                    <a:pt x="5857" y="476"/>
                  </a:moveTo>
                  <a:lnTo>
                    <a:pt x="4735" y="476"/>
                  </a:lnTo>
                  <a:lnTo>
                    <a:pt x="4735" y="87"/>
                  </a:lnTo>
                  <a:cubicBezTo>
                    <a:pt x="4735" y="39"/>
                    <a:pt x="4696" y="0"/>
                    <a:pt x="4648" y="0"/>
                  </a:cubicBezTo>
                  <a:lnTo>
                    <a:pt x="4275" y="0"/>
                  </a:lnTo>
                  <a:cubicBezTo>
                    <a:pt x="4226" y="0"/>
                    <a:pt x="4187" y="39"/>
                    <a:pt x="4187" y="87"/>
                  </a:cubicBezTo>
                  <a:lnTo>
                    <a:pt x="4187" y="476"/>
                  </a:lnTo>
                  <a:lnTo>
                    <a:pt x="3246" y="476"/>
                  </a:lnTo>
                  <a:lnTo>
                    <a:pt x="3246" y="87"/>
                  </a:lnTo>
                  <a:cubicBezTo>
                    <a:pt x="3246" y="39"/>
                    <a:pt x="3207" y="0"/>
                    <a:pt x="3159" y="0"/>
                  </a:cubicBezTo>
                  <a:lnTo>
                    <a:pt x="2785" y="0"/>
                  </a:lnTo>
                  <a:cubicBezTo>
                    <a:pt x="2737" y="0"/>
                    <a:pt x="2698" y="39"/>
                    <a:pt x="2698" y="87"/>
                  </a:cubicBezTo>
                  <a:lnTo>
                    <a:pt x="2698" y="476"/>
                  </a:lnTo>
                  <a:lnTo>
                    <a:pt x="1757" y="476"/>
                  </a:lnTo>
                  <a:lnTo>
                    <a:pt x="1757" y="87"/>
                  </a:lnTo>
                  <a:cubicBezTo>
                    <a:pt x="1757" y="39"/>
                    <a:pt x="1718" y="0"/>
                    <a:pt x="1669" y="0"/>
                  </a:cubicBezTo>
                  <a:lnTo>
                    <a:pt x="1296" y="0"/>
                  </a:lnTo>
                  <a:cubicBezTo>
                    <a:pt x="1248" y="0"/>
                    <a:pt x="1209" y="39"/>
                    <a:pt x="1209" y="87"/>
                  </a:cubicBezTo>
                  <a:lnTo>
                    <a:pt x="1209" y="476"/>
                  </a:lnTo>
                  <a:lnTo>
                    <a:pt x="87" y="476"/>
                  </a:lnTo>
                  <a:cubicBezTo>
                    <a:pt x="39" y="476"/>
                    <a:pt x="0" y="516"/>
                    <a:pt x="0" y="564"/>
                  </a:cubicBezTo>
                  <a:lnTo>
                    <a:pt x="0" y="5857"/>
                  </a:lnTo>
                  <a:cubicBezTo>
                    <a:pt x="0" y="5905"/>
                    <a:pt x="39" y="5944"/>
                    <a:pt x="87" y="5944"/>
                  </a:cubicBezTo>
                  <a:lnTo>
                    <a:pt x="5857" y="5944"/>
                  </a:lnTo>
                  <a:cubicBezTo>
                    <a:pt x="5905" y="5944"/>
                    <a:pt x="5944" y="5905"/>
                    <a:pt x="5944" y="5857"/>
                  </a:cubicBezTo>
                  <a:lnTo>
                    <a:pt x="5944" y="564"/>
                  </a:lnTo>
                  <a:cubicBezTo>
                    <a:pt x="5944" y="516"/>
                    <a:pt x="5905" y="476"/>
                    <a:pt x="5857" y="476"/>
                  </a:cubicBezTo>
                  <a:close/>
                  <a:moveTo>
                    <a:pt x="4362" y="175"/>
                  </a:moveTo>
                  <a:lnTo>
                    <a:pt x="4560" y="175"/>
                  </a:lnTo>
                  <a:lnTo>
                    <a:pt x="4560" y="953"/>
                  </a:lnTo>
                  <a:lnTo>
                    <a:pt x="4362" y="953"/>
                  </a:lnTo>
                  <a:lnTo>
                    <a:pt x="4362" y="175"/>
                  </a:lnTo>
                  <a:close/>
                  <a:moveTo>
                    <a:pt x="2873" y="175"/>
                  </a:moveTo>
                  <a:lnTo>
                    <a:pt x="3071" y="175"/>
                  </a:lnTo>
                  <a:lnTo>
                    <a:pt x="3071" y="953"/>
                  </a:lnTo>
                  <a:lnTo>
                    <a:pt x="2873" y="953"/>
                  </a:lnTo>
                  <a:lnTo>
                    <a:pt x="2873" y="175"/>
                  </a:lnTo>
                  <a:close/>
                  <a:moveTo>
                    <a:pt x="1384" y="175"/>
                  </a:moveTo>
                  <a:lnTo>
                    <a:pt x="1582" y="175"/>
                  </a:lnTo>
                  <a:lnTo>
                    <a:pt x="1582" y="953"/>
                  </a:lnTo>
                  <a:lnTo>
                    <a:pt x="1384" y="953"/>
                  </a:lnTo>
                  <a:lnTo>
                    <a:pt x="1384" y="175"/>
                  </a:lnTo>
                  <a:close/>
                  <a:moveTo>
                    <a:pt x="175" y="651"/>
                  </a:moveTo>
                  <a:lnTo>
                    <a:pt x="1209" y="651"/>
                  </a:lnTo>
                  <a:lnTo>
                    <a:pt x="1209" y="1040"/>
                  </a:lnTo>
                  <a:cubicBezTo>
                    <a:pt x="1209" y="1089"/>
                    <a:pt x="1248" y="1128"/>
                    <a:pt x="1296" y="1128"/>
                  </a:cubicBezTo>
                  <a:lnTo>
                    <a:pt x="1669" y="1128"/>
                  </a:lnTo>
                  <a:cubicBezTo>
                    <a:pt x="1718" y="1128"/>
                    <a:pt x="1757" y="1089"/>
                    <a:pt x="1757" y="1040"/>
                  </a:cubicBezTo>
                  <a:lnTo>
                    <a:pt x="1757" y="651"/>
                  </a:lnTo>
                  <a:lnTo>
                    <a:pt x="2698" y="651"/>
                  </a:lnTo>
                  <a:lnTo>
                    <a:pt x="2698" y="1040"/>
                  </a:lnTo>
                  <a:cubicBezTo>
                    <a:pt x="2698" y="1089"/>
                    <a:pt x="2737" y="1128"/>
                    <a:pt x="2785" y="1128"/>
                  </a:cubicBezTo>
                  <a:lnTo>
                    <a:pt x="3159" y="1128"/>
                  </a:lnTo>
                  <a:cubicBezTo>
                    <a:pt x="3207" y="1128"/>
                    <a:pt x="3246" y="1089"/>
                    <a:pt x="3246" y="1040"/>
                  </a:cubicBezTo>
                  <a:lnTo>
                    <a:pt x="3246" y="651"/>
                  </a:lnTo>
                  <a:lnTo>
                    <a:pt x="4187" y="651"/>
                  </a:lnTo>
                  <a:lnTo>
                    <a:pt x="4187" y="1040"/>
                  </a:lnTo>
                  <a:cubicBezTo>
                    <a:pt x="4187" y="1089"/>
                    <a:pt x="4226" y="1128"/>
                    <a:pt x="4275" y="1128"/>
                  </a:cubicBezTo>
                  <a:lnTo>
                    <a:pt x="4648" y="1128"/>
                  </a:lnTo>
                  <a:cubicBezTo>
                    <a:pt x="4696" y="1128"/>
                    <a:pt x="4735" y="1089"/>
                    <a:pt x="4735" y="1040"/>
                  </a:cubicBezTo>
                  <a:lnTo>
                    <a:pt x="4735" y="651"/>
                  </a:lnTo>
                  <a:lnTo>
                    <a:pt x="5769" y="651"/>
                  </a:lnTo>
                  <a:lnTo>
                    <a:pt x="5769" y="1653"/>
                  </a:lnTo>
                  <a:lnTo>
                    <a:pt x="175" y="1653"/>
                  </a:lnTo>
                  <a:lnTo>
                    <a:pt x="175" y="651"/>
                  </a:lnTo>
                  <a:close/>
                  <a:moveTo>
                    <a:pt x="175" y="5769"/>
                  </a:moveTo>
                  <a:lnTo>
                    <a:pt x="175" y="1828"/>
                  </a:lnTo>
                  <a:lnTo>
                    <a:pt x="5769" y="1828"/>
                  </a:lnTo>
                  <a:lnTo>
                    <a:pt x="5769" y="5769"/>
                  </a:lnTo>
                  <a:lnTo>
                    <a:pt x="175" y="576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47" name="Freeform 11">
              <a:extLst>
                <a:ext uri="{FF2B5EF4-FFF2-40B4-BE49-F238E27FC236}">
                  <a16:creationId xmlns:a16="http://schemas.microsoft.com/office/drawing/2014/main" id="{6A387895-3B23-B54F-9080-FFAC792770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4" y="1795"/>
              <a:ext cx="401" cy="400"/>
            </a:xfrm>
            <a:custGeom>
              <a:avLst/>
              <a:gdLst>
                <a:gd name="T0" fmla="*/ 433 w 835"/>
                <a:gd name="T1" fmla="*/ 0 h 835"/>
                <a:gd name="T2" fmla="*/ 62 w 835"/>
                <a:gd name="T3" fmla="*/ 248 h 835"/>
                <a:gd name="T4" fmla="*/ 149 w 835"/>
                <a:gd name="T5" fmla="*/ 685 h 835"/>
                <a:gd name="T6" fmla="*/ 587 w 835"/>
                <a:gd name="T7" fmla="*/ 772 h 835"/>
                <a:gd name="T8" fmla="*/ 835 w 835"/>
                <a:gd name="T9" fmla="*/ 401 h 835"/>
                <a:gd name="T10" fmla="*/ 433 w 835"/>
                <a:gd name="T11" fmla="*/ 0 h 835"/>
                <a:gd name="T12" fmla="*/ 433 w 835"/>
                <a:gd name="T13" fmla="*/ 628 h 835"/>
                <a:gd name="T14" fmla="*/ 273 w 835"/>
                <a:gd name="T15" fmla="*/ 241 h 835"/>
                <a:gd name="T16" fmla="*/ 660 w 835"/>
                <a:gd name="T17" fmla="*/ 401 h 835"/>
                <a:gd name="T18" fmla="*/ 433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3" y="0"/>
                  </a:moveTo>
                  <a:cubicBezTo>
                    <a:pt x="271" y="0"/>
                    <a:pt x="124" y="98"/>
                    <a:pt x="62" y="248"/>
                  </a:cubicBezTo>
                  <a:cubicBezTo>
                    <a:pt x="0" y="398"/>
                    <a:pt x="34" y="571"/>
                    <a:pt x="149" y="685"/>
                  </a:cubicBezTo>
                  <a:cubicBezTo>
                    <a:pt x="264" y="800"/>
                    <a:pt x="437" y="835"/>
                    <a:pt x="587" y="772"/>
                  </a:cubicBezTo>
                  <a:cubicBezTo>
                    <a:pt x="737" y="710"/>
                    <a:pt x="835" y="564"/>
                    <a:pt x="835" y="401"/>
                  </a:cubicBezTo>
                  <a:cubicBezTo>
                    <a:pt x="834" y="180"/>
                    <a:pt x="655" y="0"/>
                    <a:pt x="433" y="0"/>
                  </a:cubicBezTo>
                  <a:close/>
                  <a:moveTo>
                    <a:pt x="433" y="628"/>
                  </a:moveTo>
                  <a:cubicBezTo>
                    <a:pt x="231" y="628"/>
                    <a:pt x="130" y="384"/>
                    <a:pt x="273" y="241"/>
                  </a:cubicBezTo>
                  <a:cubicBezTo>
                    <a:pt x="416" y="98"/>
                    <a:pt x="660" y="199"/>
                    <a:pt x="660" y="401"/>
                  </a:cubicBezTo>
                  <a:cubicBezTo>
                    <a:pt x="660" y="527"/>
                    <a:pt x="558" y="628"/>
                    <a:pt x="433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48" name="Freeform 12">
              <a:extLst>
                <a:ext uri="{FF2B5EF4-FFF2-40B4-BE49-F238E27FC236}">
                  <a16:creationId xmlns:a16="http://schemas.microsoft.com/office/drawing/2014/main" id="{B07E65E1-93FC-3D4C-909C-FF3B4735F1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5" y="1795"/>
              <a:ext cx="401" cy="400"/>
            </a:xfrm>
            <a:custGeom>
              <a:avLst/>
              <a:gdLst>
                <a:gd name="T0" fmla="*/ 433 w 835"/>
                <a:gd name="T1" fmla="*/ 0 h 835"/>
                <a:gd name="T2" fmla="*/ 62 w 835"/>
                <a:gd name="T3" fmla="*/ 248 h 835"/>
                <a:gd name="T4" fmla="*/ 149 w 835"/>
                <a:gd name="T5" fmla="*/ 685 h 835"/>
                <a:gd name="T6" fmla="*/ 587 w 835"/>
                <a:gd name="T7" fmla="*/ 772 h 835"/>
                <a:gd name="T8" fmla="*/ 835 w 835"/>
                <a:gd name="T9" fmla="*/ 401 h 835"/>
                <a:gd name="T10" fmla="*/ 433 w 835"/>
                <a:gd name="T11" fmla="*/ 0 h 835"/>
                <a:gd name="T12" fmla="*/ 433 w 835"/>
                <a:gd name="T13" fmla="*/ 628 h 835"/>
                <a:gd name="T14" fmla="*/ 273 w 835"/>
                <a:gd name="T15" fmla="*/ 241 h 835"/>
                <a:gd name="T16" fmla="*/ 660 w 835"/>
                <a:gd name="T17" fmla="*/ 401 h 835"/>
                <a:gd name="T18" fmla="*/ 433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3" y="0"/>
                  </a:moveTo>
                  <a:cubicBezTo>
                    <a:pt x="271" y="0"/>
                    <a:pt x="124" y="98"/>
                    <a:pt x="62" y="248"/>
                  </a:cubicBezTo>
                  <a:cubicBezTo>
                    <a:pt x="0" y="398"/>
                    <a:pt x="34" y="571"/>
                    <a:pt x="149" y="685"/>
                  </a:cubicBezTo>
                  <a:cubicBezTo>
                    <a:pt x="264" y="800"/>
                    <a:pt x="437" y="835"/>
                    <a:pt x="587" y="772"/>
                  </a:cubicBezTo>
                  <a:cubicBezTo>
                    <a:pt x="737" y="710"/>
                    <a:pt x="835" y="564"/>
                    <a:pt x="835" y="401"/>
                  </a:cubicBezTo>
                  <a:cubicBezTo>
                    <a:pt x="835" y="180"/>
                    <a:pt x="655" y="0"/>
                    <a:pt x="433" y="0"/>
                  </a:cubicBezTo>
                  <a:close/>
                  <a:moveTo>
                    <a:pt x="433" y="628"/>
                  </a:moveTo>
                  <a:cubicBezTo>
                    <a:pt x="231" y="628"/>
                    <a:pt x="130" y="384"/>
                    <a:pt x="273" y="241"/>
                  </a:cubicBezTo>
                  <a:cubicBezTo>
                    <a:pt x="416" y="98"/>
                    <a:pt x="660" y="199"/>
                    <a:pt x="660" y="401"/>
                  </a:cubicBezTo>
                  <a:cubicBezTo>
                    <a:pt x="660" y="527"/>
                    <a:pt x="558" y="628"/>
                    <a:pt x="433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49" name="Freeform 13">
              <a:extLst>
                <a:ext uri="{FF2B5EF4-FFF2-40B4-BE49-F238E27FC236}">
                  <a16:creationId xmlns:a16="http://schemas.microsoft.com/office/drawing/2014/main" id="{E7B3C9E0-001B-DC49-A3A0-268F77B48C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1795"/>
              <a:ext cx="400" cy="400"/>
            </a:xfrm>
            <a:custGeom>
              <a:avLst/>
              <a:gdLst>
                <a:gd name="T0" fmla="*/ 434 w 835"/>
                <a:gd name="T1" fmla="*/ 0 h 835"/>
                <a:gd name="T2" fmla="*/ 63 w 835"/>
                <a:gd name="T3" fmla="*/ 248 h 835"/>
                <a:gd name="T4" fmla="*/ 150 w 835"/>
                <a:gd name="T5" fmla="*/ 685 h 835"/>
                <a:gd name="T6" fmla="*/ 587 w 835"/>
                <a:gd name="T7" fmla="*/ 772 h 835"/>
                <a:gd name="T8" fmla="*/ 835 w 835"/>
                <a:gd name="T9" fmla="*/ 401 h 835"/>
                <a:gd name="T10" fmla="*/ 434 w 835"/>
                <a:gd name="T11" fmla="*/ 0 h 835"/>
                <a:gd name="T12" fmla="*/ 434 w 835"/>
                <a:gd name="T13" fmla="*/ 628 h 835"/>
                <a:gd name="T14" fmla="*/ 273 w 835"/>
                <a:gd name="T15" fmla="*/ 241 h 835"/>
                <a:gd name="T16" fmla="*/ 660 w 835"/>
                <a:gd name="T17" fmla="*/ 401 h 835"/>
                <a:gd name="T18" fmla="*/ 434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4" y="0"/>
                  </a:moveTo>
                  <a:cubicBezTo>
                    <a:pt x="271" y="0"/>
                    <a:pt x="125" y="98"/>
                    <a:pt x="63" y="248"/>
                  </a:cubicBezTo>
                  <a:cubicBezTo>
                    <a:pt x="0" y="398"/>
                    <a:pt x="35" y="571"/>
                    <a:pt x="150" y="685"/>
                  </a:cubicBezTo>
                  <a:cubicBezTo>
                    <a:pt x="265" y="800"/>
                    <a:pt x="437" y="835"/>
                    <a:pt x="587" y="772"/>
                  </a:cubicBezTo>
                  <a:cubicBezTo>
                    <a:pt x="737" y="710"/>
                    <a:pt x="835" y="564"/>
                    <a:pt x="835" y="401"/>
                  </a:cubicBezTo>
                  <a:cubicBezTo>
                    <a:pt x="835" y="180"/>
                    <a:pt x="655" y="0"/>
                    <a:pt x="434" y="0"/>
                  </a:cubicBezTo>
                  <a:close/>
                  <a:moveTo>
                    <a:pt x="434" y="628"/>
                  </a:moveTo>
                  <a:cubicBezTo>
                    <a:pt x="232" y="628"/>
                    <a:pt x="131" y="384"/>
                    <a:pt x="273" y="241"/>
                  </a:cubicBezTo>
                  <a:cubicBezTo>
                    <a:pt x="416" y="98"/>
                    <a:pt x="660" y="199"/>
                    <a:pt x="660" y="401"/>
                  </a:cubicBezTo>
                  <a:cubicBezTo>
                    <a:pt x="660" y="527"/>
                    <a:pt x="559" y="628"/>
                    <a:pt x="434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50" name="Freeform 14">
              <a:extLst>
                <a:ext uri="{FF2B5EF4-FFF2-40B4-BE49-F238E27FC236}">
                  <a16:creationId xmlns:a16="http://schemas.microsoft.com/office/drawing/2014/main" id="{9D6683B1-4D35-CB4A-BF80-A99447C887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8" y="1795"/>
              <a:ext cx="401" cy="400"/>
            </a:xfrm>
            <a:custGeom>
              <a:avLst/>
              <a:gdLst>
                <a:gd name="T0" fmla="*/ 433 w 835"/>
                <a:gd name="T1" fmla="*/ 0 h 835"/>
                <a:gd name="T2" fmla="*/ 62 w 835"/>
                <a:gd name="T3" fmla="*/ 248 h 835"/>
                <a:gd name="T4" fmla="*/ 149 w 835"/>
                <a:gd name="T5" fmla="*/ 685 h 835"/>
                <a:gd name="T6" fmla="*/ 587 w 835"/>
                <a:gd name="T7" fmla="*/ 772 h 835"/>
                <a:gd name="T8" fmla="*/ 835 w 835"/>
                <a:gd name="T9" fmla="*/ 401 h 835"/>
                <a:gd name="T10" fmla="*/ 433 w 835"/>
                <a:gd name="T11" fmla="*/ 0 h 835"/>
                <a:gd name="T12" fmla="*/ 433 w 835"/>
                <a:gd name="T13" fmla="*/ 628 h 835"/>
                <a:gd name="T14" fmla="*/ 273 w 835"/>
                <a:gd name="T15" fmla="*/ 241 h 835"/>
                <a:gd name="T16" fmla="*/ 660 w 835"/>
                <a:gd name="T17" fmla="*/ 401 h 835"/>
                <a:gd name="T18" fmla="*/ 433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3" y="0"/>
                  </a:moveTo>
                  <a:cubicBezTo>
                    <a:pt x="271" y="0"/>
                    <a:pt x="124" y="98"/>
                    <a:pt x="62" y="248"/>
                  </a:cubicBezTo>
                  <a:cubicBezTo>
                    <a:pt x="0" y="398"/>
                    <a:pt x="34" y="570"/>
                    <a:pt x="149" y="685"/>
                  </a:cubicBezTo>
                  <a:cubicBezTo>
                    <a:pt x="264" y="800"/>
                    <a:pt x="437" y="835"/>
                    <a:pt x="587" y="772"/>
                  </a:cubicBezTo>
                  <a:cubicBezTo>
                    <a:pt x="737" y="710"/>
                    <a:pt x="835" y="564"/>
                    <a:pt x="835" y="401"/>
                  </a:cubicBezTo>
                  <a:cubicBezTo>
                    <a:pt x="834" y="180"/>
                    <a:pt x="655" y="0"/>
                    <a:pt x="433" y="0"/>
                  </a:cubicBezTo>
                  <a:close/>
                  <a:moveTo>
                    <a:pt x="433" y="628"/>
                  </a:moveTo>
                  <a:cubicBezTo>
                    <a:pt x="231" y="628"/>
                    <a:pt x="130" y="384"/>
                    <a:pt x="273" y="241"/>
                  </a:cubicBezTo>
                  <a:cubicBezTo>
                    <a:pt x="415" y="98"/>
                    <a:pt x="660" y="199"/>
                    <a:pt x="660" y="401"/>
                  </a:cubicBezTo>
                  <a:cubicBezTo>
                    <a:pt x="659" y="527"/>
                    <a:pt x="558" y="628"/>
                    <a:pt x="433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51" name="Freeform 15">
              <a:extLst>
                <a:ext uri="{FF2B5EF4-FFF2-40B4-BE49-F238E27FC236}">
                  <a16:creationId xmlns:a16="http://schemas.microsoft.com/office/drawing/2014/main" id="{706407BA-4E16-8E4E-BD45-9D28876F0C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4" y="2358"/>
              <a:ext cx="401" cy="401"/>
            </a:xfrm>
            <a:custGeom>
              <a:avLst/>
              <a:gdLst>
                <a:gd name="T0" fmla="*/ 433 w 835"/>
                <a:gd name="T1" fmla="*/ 0 h 835"/>
                <a:gd name="T2" fmla="*/ 62 w 835"/>
                <a:gd name="T3" fmla="*/ 248 h 835"/>
                <a:gd name="T4" fmla="*/ 149 w 835"/>
                <a:gd name="T5" fmla="*/ 686 h 835"/>
                <a:gd name="T6" fmla="*/ 587 w 835"/>
                <a:gd name="T7" fmla="*/ 773 h 835"/>
                <a:gd name="T8" fmla="*/ 835 w 835"/>
                <a:gd name="T9" fmla="*/ 402 h 835"/>
                <a:gd name="T10" fmla="*/ 433 w 835"/>
                <a:gd name="T11" fmla="*/ 0 h 835"/>
                <a:gd name="T12" fmla="*/ 433 w 835"/>
                <a:gd name="T13" fmla="*/ 628 h 835"/>
                <a:gd name="T14" fmla="*/ 273 w 835"/>
                <a:gd name="T15" fmla="*/ 241 h 835"/>
                <a:gd name="T16" fmla="*/ 660 w 835"/>
                <a:gd name="T17" fmla="*/ 402 h 835"/>
                <a:gd name="T18" fmla="*/ 433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3" y="0"/>
                  </a:moveTo>
                  <a:cubicBezTo>
                    <a:pt x="271" y="0"/>
                    <a:pt x="124" y="98"/>
                    <a:pt x="62" y="248"/>
                  </a:cubicBezTo>
                  <a:cubicBezTo>
                    <a:pt x="0" y="398"/>
                    <a:pt x="34" y="571"/>
                    <a:pt x="149" y="686"/>
                  </a:cubicBezTo>
                  <a:cubicBezTo>
                    <a:pt x="264" y="801"/>
                    <a:pt x="437" y="835"/>
                    <a:pt x="587" y="773"/>
                  </a:cubicBezTo>
                  <a:cubicBezTo>
                    <a:pt x="737" y="711"/>
                    <a:pt x="835" y="564"/>
                    <a:pt x="835" y="402"/>
                  </a:cubicBezTo>
                  <a:cubicBezTo>
                    <a:pt x="834" y="180"/>
                    <a:pt x="655" y="0"/>
                    <a:pt x="433" y="0"/>
                  </a:cubicBezTo>
                  <a:close/>
                  <a:moveTo>
                    <a:pt x="433" y="628"/>
                  </a:moveTo>
                  <a:cubicBezTo>
                    <a:pt x="231" y="628"/>
                    <a:pt x="130" y="384"/>
                    <a:pt x="273" y="241"/>
                  </a:cubicBezTo>
                  <a:cubicBezTo>
                    <a:pt x="415" y="99"/>
                    <a:pt x="660" y="200"/>
                    <a:pt x="660" y="402"/>
                  </a:cubicBezTo>
                  <a:cubicBezTo>
                    <a:pt x="659" y="527"/>
                    <a:pt x="558" y="628"/>
                    <a:pt x="433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52" name="Freeform 16">
              <a:extLst>
                <a:ext uri="{FF2B5EF4-FFF2-40B4-BE49-F238E27FC236}">
                  <a16:creationId xmlns:a16="http://schemas.microsoft.com/office/drawing/2014/main" id="{2E17CBBB-8B40-2C42-91D2-83C809019F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5" y="2358"/>
              <a:ext cx="401" cy="401"/>
            </a:xfrm>
            <a:custGeom>
              <a:avLst/>
              <a:gdLst>
                <a:gd name="T0" fmla="*/ 433 w 835"/>
                <a:gd name="T1" fmla="*/ 0 h 835"/>
                <a:gd name="T2" fmla="*/ 62 w 835"/>
                <a:gd name="T3" fmla="*/ 248 h 835"/>
                <a:gd name="T4" fmla="*/ 149 w 835"/>
                <a:gd name="T5" fmla="*/ 686 h 835"/>
                <a:gd name="T6" fmla="*/ 587 w 835"/>
                <a:gd name="T7" fmla="*/ 773 h 835"/>
                <a:gd name="T8" fmla="*/ 835 w 835"/>
                <a:gd name="T9" fmla="*/ 402 h 835"/>
                <a:gd name="T10" fmla="*/ 433 w 835"/>
                <a:gd name="T11" fmla="*/ 0 h 835"/>
                <a:gd name="T12" fmla="*/ 433 w 835"/>
                <a:gd name="T13" fmla="*/ 628 h 835"/>
                <a:gd name="T14" fmla="*/ 273 w 835"/>
                <a:gd name="T15" fmla="*/ 241 h 835"/>
                <a:gd name="T16" fmla="*/ 660 w 835"/>
                <a:gd name="T17" fmla="*/ 402 h 835"/>
                <a:gd name="T18" fmla="*/ 433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3" y="0"/>
                  </a:moveTo>
                  <a:cubicBezTo>
                    <a:pt x="271" y="0"/>
                    <a:pt x="124" y="98"/>
                    <a:pt x="62" y="248"/>
                  </a:cubicBezTo>
                  <a:cubicBezTo>
                    <a:pt x="0" y="398"/>
                    <a:pt x="34" y="571"/>
                    <a:pt x="149" y="686"/>
                  </a:cubicBezTo>
                  <a:cubicBezTo>
                    <a:pt x="264" y="801"/>
                    <a:pt x="437" y="835"/>
                    <a:pt x="587" y="773"/>
                  </a:cubicBezTo>
                  <a:cubicBezTo>
                    <a:pt x="737" y="711"/>
                    <a:pt x="835" y="564"/>
                    <a:pt x="835" y="402"/>
                  </a:cubicBezTo>
                  <a:cubicBezTo>
                    <a:pt x="835" y="180"/>
                    <a:pt x="655" y="0"/>
                    <a:pt x="433" y="0"/>
                  </a:cubicBezTo>
                  <a:close/>
                  <a:moveTo>
                    <a:pt x="433" y="628"/>
                  </a:moveTo>
                  <a:cubicBezTo>
                    <a:pt x="231" y="628"/>
                    <a:pt x="130" y="384"/>
                    <a:pt x="273" y="241"/>
                  </a:cubicBezTo>
                  <a:cubicBezTo>
                    <a:pt x="416" y="99"/>
                    <a:pt x="660" y="200"/>
                    <a:pt x="660" y="402"/>
                  </a:cubicBezTo>
                  <a:cubicBezTo>
                    <a:pt x="660" y="527"/>
                    <a:pt x="558" y="628"/>
                    <a:pt x="433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53" name="Freeform 17">
              <a:extLst>
                <a:ext uri="{FF2B5EF4-FFF2-40B4-BE49-F238E27FC236}">
                  <a16:creationId xmlns:a16="http://schemas.microsoft.com/office/drawing/2014/main" id="{A4188FA8-AE3A-B345-ABF8-4E97FA86B2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358"/>
              <a:ext cx="400" cy="401"/>
            </a:xfrm>
            <a:custGeom>
              <a:avLst/>
              <a:gdLst>
                <a:gd name="T0" fmla="*/ 434 w 835"/>
                <a:gd name="T1" fmla="*/ 0 h 835"/>
                <a:gd name="T2" fmla="*/ 62 w 835"/>
                <a:gd name="T3" fmla="*/ 248 h 835"/>
                <a:gd name="T4" fmla="*/ 150 w 835"/>
                <a:gd name="T5" fmla="*/ 686 h 835"/>
                <a:gd name="T6" fmla="*/ 587 w 835"/>
                <a:gd name="T7" fmla="*/ 773 h 835"/>
                <a:gd name="T8" fmla="*/ 835 w 835"/>
                <a:gd name="T9" fmla="*/ 402 h 835"/>
                <a:gd name="T10" fmla="*/ 434 w 835"/>
                <a:gd name="T11" fmla="*/ 0 h 835"/>
                <a:gd name="T12" fmla="*/ 434 w 835"/>
                <a:gd name="T13" fmla="*/ 628 h 835"/>
                <a:gd name="T14" fmla="*/ 273 w 835"/>
                <a:gd name="T15" fmla="*/ 241 h 835"/>
                <a:gd name="T16" fmla="*/ 660 w 835"/>
                <a:gd name="T17" fmla="*/ 402 h 835"/>
                <a:gd name="T18" fmla="*/ 434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4" y="0"/>
                  </a:moveTo>
                  <a:cubicBezTo>
                    <a:pt x="271" y="0"/>
                    <a:pt x="125" y="98"/>
                    <a:pt x="62" y="248"/>
                  </a:cubicBezTo>
                  <a:cubicBezTo>
                    <a:pt x="0" y="398"/>
                    <a:pt x="35" y="571"/>
                    <a:pt x="150" y="686"/>
                  </a:cubicBezTo>
                  <a:cubicBezTo>
                    <a:pt x="264" y="801"/>
                    <a:pt x="437" y="835"/>
                    <a:pt x="587" y="773"/>
                  </a:cubicBezTo>
                  <a:cubicBezTo>
                    <a:pt x="737" y="711"/>
                    <a:pt x="835" y="564"/>
                    <a:pt x="835" y="402"/>
                  </a:cubicBezTo>
                  <a:cubicBezTo>
                    <a:pt x="835" y="180"/>
                    <a:pt x="655" y="0"/>
                    <a:pt x="434" y="0"/>
                  </a:cubicBezTo>
                  <a:close/>
                  <a:moveTo>
                    <a:pt x="434" y="628"/>
                  </a:moveTo>
                  <a:cubicBezTo>
                    <a:pt x="232" y="628"/>
                    <a:pt x="130" y="384"/>
                    <a:pt x="273" y="241"/>
                  </a:cubicBezTo>
                  <a:cubicBezTo>
                    <a:pt x="416" y="99"/>
                    <a:pt x="660" y="200"/>
                    <a:pt x="660" y="402"/>
                  </a:cubicBezTo>
                  <a:cubicBezTo>
                    <a:pt x="660" y="527"/>
                    <a:pt x="559" y="628"/>
                    <a:pt x="434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54" name="Freeform 18">
              <a:extLst>
                <a:ext uri="{FF2B5EF4-FFF2-40B4-BE49-F238E27FC236}">
                  <a16:creationId xmlns:a16="http://schemas.microsoft.com/office/drawing/2014/main" id="{67C35CBD-AF48-D748-8112-EFA106883E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8" y="2358"/>
              <a:ext cx="401" cy="401"/>
            </a:xfrm>
            <a:custGeom>
              <a:avLst/>
              <a:gdLst>
                <a:gd name="T0" fmla="*/ 433 w 835"/>
                <a:gd name="T1" fmla="*/ 0 h 835"/>
                <a:gd name="T2" fmla="*/ 62 w 835"/>
                <a:gd name="T3" fmla="*/ 248 h 835"/>
                <a:gd name="T4" fmla="*/ 149 w 835"/>
                <a:gd name="T5" fmla="*/ 686 h 835"/>
                <a:gd name="T6" fmla="*/ 587 w 835"/>
                <a:gd name="T7" fmla="*/ 773 h 835"/>
                <a:gd name="T8" fmla="*/ 835 w 835"/>
                <a:gd name="T9" fmla="*/ 402 h 835"/>
                <a:gd name="T10" fmla="*/ 433 w 835"/>
                <a:gd name="T11" fmla="*/ 0 h 835"/>
                <a:gd name="T12" fmla="*/ 433 w 835"/>
                <a:gd name="T13" fmla="*/ 628 h 835"/>
                <a:gd name="T14" fmla="*/ 273 w 835"/>
                <a:gd name="T15" fmla="*/ 241 h 835"/>
                <a:gd name="T16" fmla="*/ 660 w 835"/>
                <a:gd name="T17" fmla="*/ 402 h 835"/>
                <a:gd name="T18" fmla="*/ 433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3" y="0"/>
                  </a:moveTo>
                  <a:cubicBezTo>
                    <a:pt x="271" y="0"/>
                    <a:pt x="124" y="98"/>
                    <a:pt x="62" y="248"/>
                  </a:cubicBezTo>
                  <a:cubicBezTo>
                    <a:pt x="0" y="398"/>
                    <a:pt x="34" y="571"/>
                    <a:pt x="149" y="686"/>
                  </a:cubicBezTo>
                  <a:cubicBezTo>
                    <a:pt x="264" y="801"/>
                    <a:pt x="437" y="835"/>
                    <a:pt x="587" y="773"/>
                  </a:cubicBezTo>
                  <a:cubicBezTo>
                    <a:pt x="737" y="711"/>
                    <a:pt x="835" y="564"/>
                    <a:pt x="835" y="402"/>
                  </a:cubicBezTo>
                  <a:cubicBezTo>
                    <a:pt x="834" y="180"/>
                    <a:pt x="655" y="0"/>
                    <a:pt x="433" y="0"/>
                  </a:cubicBezTo>
                  <a:close/>
                  <a:moveTo>
                    <a:pt x="433" y="628"/>
                  </a:moveTo>
                  <a:cubicBezTo>
                    <a:pt x="231" y="628"/>
                    <a:pt x="130" y="384"/>
                    <a:pt x="273" y="241"/>
                  </a:cubicBezTo>
                  <a:cubicBezTo>
                    <a:pt x="415" y="99"/>
                    <a:pt x="660" y="200"/>
                    <a:pt x="660" y="402"/>
                  </a:cubicBezTo>
                  <a:cubicBezTo>
                    <a:pt x="659" y="527"/>
                    <a:pt x="558" y="628"/>
                    <a:pt x="433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55" name="Freeform 19">
              <a:extLst>
                <a:ext uri="{FF2B5EF4-FFF2-40B4-BE49-F238E27FC236}">
                  <a16:creationId xmlns:a16="http://schemas.microsoft.com/office/drawing/2014/main" id="{BE013080-0809-6340-A0CE-43B8A36D97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4" y="2922"/>
              <a:ext cx="401" cy="400"/>
            </a:xfrm>
            <a:custGeom>
              <a:avLst/>
              <a:gdLst>
                <a:gd name="T0" fmla="*/ 433 w 835"/>
                <a:gd name="T1" fmla="*/ 0 h 835"/>
                <a:gd name="T2" fmla="*/ 62 w 835"/>
                <a:gd name="T3" fmla="*/ 248 h 835"/>
                <a:gd name="T4" fmla="*/ 149 w 835"/>
                <a:gd name="T5" fmla="*/ 685 h 835"/>
                <a:gd name="T6" fmla="*/ 587 w 835"/>
                <a:gd name="T7" fmla="*/ 773 h 835"/>
                <a:gd name="T8" fmla="*/ 835 w 835"/>
                <a:gd name="T9" fmla="*/ 401 h 835"/>
                <a:gd name="T10" fmla="*/ 433 w 835"/>
                <a:gd name="T11" fmla="*/ 0 h 835"/>
                <a:gd name="T12" fmla="*/ 433 w 835"/>
                <a:gd name="T13" fmla="*/ 628 h 835"/>
                <a:gd name="T14" fmla="*/ 273 w 835"/>
                <a:gd name="T15" fmla="*/ 241 h 835"/>
                <a:gd name="T16" fmla="*/ 660 w 835"/>
                <a:gd name="T17" fmla="*/ 401 h 835"/>
                <a:gd name="T18" fmla="*/ 433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3" y="0"/>
                  </a:moveTo>
                  <a:cubicBezTo>
                    <a:pt x="271" y="0"/>
                    <a:pt x="124" y="98"/>
                    <a:pt x="62" y="248"/>
                  </a:cubicBezTo>
                  <a:cubicBezTo>
                    <a:pt x="0" y="398"/>
                    <a:pt x="34" y="571"/>
                    <a:pt x="149" y="685"/>
                  </a:cubicBezTo>
                  <a:cubicBezTo>
                    <a:pt x="264" y="800"/>
                    <a:pt x="437" y="835"/>
                    <a:pt x="587" y="773"/>
                  </a:cubicBezTo>
                  <a:cubicBezTo>
                    <a:pt x="737" y="710"/>
                    <a:pt x="835" y="564"/>
                    <a:pt x="835" y="401"/>
                  </a:cubicBezTo>
                  <a:cubicBezTo>
                    <a:pt x="834" y="180"/>
                    <a:pt x="655" y="0"/>
                    <a:pt x="433" y="0"/>
                  </a:cubicBezTo>
                  <a:close/>
                  <a:moveTo>
                    <a:pt x="433" y="628"/>
                  </a:moveTo>
                  <a:cubicBezTo>
                    <a:pt x="231" y="628"/>
                    <a:pt x="130" y="384"/>
                    <a:pt x="273" y="241"/>
                  </a:cubicBezTo>
                  <a:cubicBezTo>
                    <a:pt x="416" y="98"/>
                    <a:pt x="660" y="200"/>
                    <a:pt x="660" y="401"/>
                  </a:cubicBezTo>
                  <a:cubicBezTo>
                    <a:pt x="660" y="527"/>
                    <a:pt x="558" y="628"/>
                    <a:pt x="433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56" name="Freeform 20">
              <a:extLst>
                <a:ext uri="{FF2B5EF4-FFF2-40B4-BE49-F238E27FC236}">
                  <a16:creationId xmlns:a16="http://schemas.microsoft.com/office/drawing/2014/main" id="{5111F058-DB4C-7B44-8B83-20425EC624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5" y="2922"/>
              <a:ext cx="401" cy="400"/>
            </a:xfrm>
            <a:custGeom>
              <a:avLst/>
              <a:gdLst>
                <a:gd name="T0" fmla="*/ 433 w 835"/>
                <a:gd name="T1" fmla="*/ 0 h 835"/>
                <a:gd name="T2" fmla="*/ 62 w 835"/>
                <a:gd name="T3" fmla="*/ 248 h 835"/>
                <a:gd name="T4" fmla="*/ 149 w 835"/>
                <a:gd name="T5" fmla="*/ 685 h 835"/>
                <a:gd name="T6" fmla="*/ 587 w 835"/>
                <a:gd name="T7" fmla="*/ 773 h 835"/>
                <a:gd name="T8" fmla="*/ 835 w 835"/>
                <a:gd name="T9" fmla="*/ 401 h 835"/>
                <a:gd name="T10" fmla="*/ 433 w 835"/>
                <a:gd name="T11" fmla="*/ 0 h 835"/>
                <a:gd name="T12" fmla="*/ 433 w 835"/>
                <a:gd name="T13" fmla="*/ 628 h 835"/>
                <a:gd name="T14" fmla="*/ 273 w 835"/>
                <a:gd name="T15" fmla="*/ 241 h 835"/>
                <a:gd name="T16" fmla="*/ 660 w 835"/>
                <a:gd name="T17" fmla="*/ 401 h 835"/>
                <a:gd name="T18" fmla="*/ 433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3" y="0"/>
                  </a:moveTo>
                  <a:cubicBezTo>
                    <a:pt x="271" y="0"/>
                    <a:pt x="124" y="98"/>
                    <a:pt x="62" y="248"/>
                  </a:cubicBezTo>
                  <a:cubicBezTo>
                    <a:pt x="0" y="398"/>
                    <a:pt x="34" y="571"/>
                    <a:pt x="149" y="685"/>
                  </a:cubicBezTo>
                  <a:cubicBezTo>
                    <a:pt x="264" y="800"/>
                    <a:pt x="437" y="835"/>
                    <a:pt x="587" y="773"/>
                  </a:cubicBezTo>
                  <a:cubicBezTo>
                    <a:pt x="737" y="710"/>
                    <a:pt x="835" y="564"/>
                    <a:pt x="835" y="401"/>
                  </a:cubicBezTo>
                  <a:cubicBezTo>
                    <a:pt x="835" y="180"/>
                    <a:pt x="655" y="0"/>
                    <a:pt x="433" y="0"/>
                  </a:cubicBezTo>
                  <a:close/>
                  <a:moveTo>
                    <a:pt x="433" y="628"/>
                  </a:moveTo>
                  <a:cubicBezTo>
                    <a:pt x="231" y="628"/>
                    <a:pt x="130" y="384"/>
                    <a:pt x="273" y="241"/>
                  </a:cubicBezTo>
                  <a:cubicBezTo>
                    <a:pt x="416" y="98"/>
                    <a:pt x="660" y="200"/>
                    <a:pt x="660" y="401"/>
                  </a:cubicBezTo>
                  <a:cubicBezTo>
                    <a:pt x="660" y="527"/>
                    <a:pt x="558" y="628"/>
                    <a:pt x="433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57" name="Freeform 21">
              <a:extLst>
                <a:ext uri="{FF2B5EF4-FFF2-40B4-BE49-F238E27FC236}">
                  <a16:creationId xmlns:a16="http://schemas.microsoft.com/office/drawing/2014/main" id="{5B170C7B-C5DB-6642-95DC-078658709A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922"/>
              <a:ext cx="400" cy="400"/>
            </a:xfrm>
            <a:custGeom>
              <a:avLst/>
              <a:gdLst>
                <a:gd name="T0" fmla="*/ 434 w 835"/>
                <a:gd name="T1" fmla="*/ 0 h 835"/>
                <a:gd name="T2" fmla="*/ 63 w 835"/>
                <a:gd name="T3" fmla="*/ 248 h 835"/>
                <a:gd name="T4" fmla="*/ 150 w 835"/>
                <a:gd name="T5" fmla="*/ 685 h 835"/>
                <a:gd name="T6" fmla="*/ 587 w 835"/>
                <a:gd name="T7" fmla="*/ 773 h 835"/>
                <a:gd name="T8" fmla="*/ 835 w 835"/>
                <a:gd name="T9" fmla="*/ 401 h 835"/>
                <a:gd name="T10" fmla="*/ 434 w 835"/>
                <a:gd name="T11" fmla="*/ 0 h 835"/>
                <a:gd name="T12" fmla="*/ 434 w 835"/>
                <a:gd name="T13" fmla="*/ 628 h 835"/>
                <a:gd name="T14" fmla="*/ 273 w 835"/>
                <a:gd name="T15" fmla="*/ 241 h 835"/>
                <a:gd name="T16" fmla="*/ 660 w 835"/>
                <a:gd name="T17" fmla="*/ 401 h 835"/>
                <a:gd name="T18" fmla="*/ 434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4" y="0"/>
                  </a:moveTo>
                  <a:cubicBezTo>
                    <a:pt x="271" y="0"/>
                    <a:pt x="125" y="98"/>
                    <a:pt x="63" y="248"/>
                  </a:cubicBezTo>
                  <a:cubicBezTo>
                    <a:pt x="0" y="398"/>
                    <a:pt x="35" y="571"/>
                    <a:pt x="150" y="685"/>
                  </a:cubicBezTo>
                  <a:cubicBezTo>
                    <a:pt x="265" y="800"/>
                    <a:pt x="437" y="835"/>
                    <a:pt x="587" y="773"/>
                  </a:cubicBezTo>
                  <a:cubicBezTo>
                    <a:pt x="737" y="710"/>
                    <a:pt x="835" y="564"/>
                    <a:pt x="835" y="401"/>
                  </a:cubicBezTo>
                  <a:cubicBezTo>
                    <a:pt x="835" y="180"/>
                    <a:pt x="655" y="0"/>
                    <a:pt x="434" y="0"/>
                  </a:cubicBezTo>
                  <a:close/>
                  <a:moveTo>
                    <a:pt x="434" y="628"/>
                  </a:moveTo>
                  <a:cubicBezTo>
                    <a:pt x="232" y="628"/>
                    <a:pt x="131" y="384"/>
                    <a:pt x="273" y="241"/>
                  </a:cubicBezTo>
                  <a:cubicBezTo>
                    <a:pt x="416" y="98"/>
                    <a:pt x="660" y="200"/>
                    <a:pt x="660" y="401"/>
                  </a:cubicBezTo>
                  <a:cubicBezTo>
                    <a:pt x="660" y="527"/>
                    <a:pt x="559" y="628"/>
                    <a:pt x="434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58" name="Freeform 22">
              <a:extLst>
                <a:ext uri="{FF2B5EF4-FFF2-40B4-BE49-F238E27FC236}">
                  <a16:creationId xmlns:a16="http://schemas.microsoft.com/office/drawing/2014/main" id="{19C39ED1-510C-504C-B72E-809951F451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8" y="2922"/>
              <a:ext cx="401" cy="400"/>
            </a:xfrm>
            <a:custGeom>
              <a:avLst/>
              <a:gdLst>
                <a:gd name="T0" fmla="*/ 433 w 835"/>
                <a:gd name="T1" fmla="*/ 0 h 835"/>
                <a:gd name="T2" fmla="*/ 62 w 835"/>
                <a:gd name="T3" fmla="*/ 248 h 835"/>
                <a:gd name="T4" fmla="*/ 149 w 835"/>
                <a:gd name="T5" fmla="*/ 685 h 835"/>
                <a:gd name="T6" fmla="*/ 587 w 835"/>
                <a:gd name="T7" fmla="*/ 773 h 835"/>
                <a:gd name="T8" fmla="*/ 835 w 835"/>
                <a:gd name="T9" fmla="*/ 401 h 835"/>
                <a:gd name="T10" fmla="*/ 433 w 835"/>
                <a:gd name="T11" fmla="*/ 0 h 835"/>
                <a:gd name="T12" fmla="*/ 433 w 835"/>
                <a:gd name="T13" fmla="*/ 628 h 835"/>
                <a:gd name="T14" fmla="*/ 273 w 835"/>
                <a:gd name="T15" fmla="*/ 241 h 835"/>
                <a:gd name="T16" fmla="*/ 660 w 835"/>
                <a:gd name="T17" fmla="*/ 401 h 835"/>
                <a:gd name="T18" fmla="*/ 433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3" y="0"/>
                  </a:moveTo>
                  <a:cubicBezTo>
                    <a:pt x="271" y="0"/>
                    <a:pt x="124" y="98"/>
                    <a:pt x="62" y="248"/>
                  </a:cubicBezTo>
                  <a:cubicBezTo>
                    <a:pt x="0" y="398"/>
                    <a:pt x="34" y="571"/>
                    <a:pt x="149" y="685"/>
                  </a:cubicBezTo>
                  <a:cubicBezTo>
                    <a:pt x="264" y="800"/>
                    <a:pt x="437" y="835"/>
                    <a:pt x="587" y="773"/>
                  </a:cubicBezTo>
                  <a:cubicBezTo>
                    <a:pt x="737" y="710"/>
                    <a:pt x="835" y="564"/>
                    <a:pt x="835" y="401"/>
                  </a:cubicBezTo>
                  <a:cubicBezTo>
                    <a:pt x="834" y="180"/>
                    <a:pt x="655" y="0"/>
                    <a:pt x="433" y="0"/>
                  </a:cubicBezTo>
                  <a:close/>
                  <a:moveTo>
                    <a:pt x="433" y="628"/>
                  </a:moveTo>
                  <a:cubicBezTo>
                    <a:pt x="231" y="628"/>
                    <a:pt x="130" y="384"/>
                    <a:pt x="273" y="241"/>
                  </a:cubicBezTo>
                  <a:cubicBezTo>
                    <a:pt x="415" y="98"/>
                    <a:pt x="660" y="200"/>
                    <a:pt x="660" y="401"/>
                  </a:cubicBezTo>
                  <a:cubicBezTo>
                    <a:pt x="659" y="527"/>
                    <a:pt x="558" y="628"/>
                    <a:pt x="433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159" name="Rectangle 158">
            <a:extLst>
              <a:ext uri="{FF2B5EF4-FFF2-40B4-BE49-F238E27FC236}">
                <a16:creationId xmlns:a16="http://schemas.microsoft.com/office/drawing/2014/main" id="{77CC1447-C272-9646-A0DB-08402C4FB63A}"/>
              </a:ext>
            </a:extLst>
          </p:cNvPr>
          <p:cNvSpPr/>
          <p:nvPr/>
        </p:nvSpPr>
        <p:spPr>
          <a:xfrm>
            <a:off x="9043459" y="5116332"/>
            <a:ext cx="2520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chedule distribution of reports to key members of the management team</a:t>
            </a:r>
          </a:p>
        </p:txBody>
      </p:sp>
      <p:sp>
        <p:nvSpPr>
          <p:cNvPr id="161" name="Freeform 14">
            <a:extLst>
              <a:ext uri="{FF2B5EF4-FFF2-40B4-BE49-F238E27FC236}">
                <a16:creationId xmlns:a16="http://schemas.microsoft.com/office/drawing/2014/main" id="{E1271759-F623-7F45-A57E-F75D5C5F1D5D}"/>
              </a:ext>
            </a:extLst>
          </p:cNvPr>
          <p:cNvSpPr>
            <a:spLocks/>
          </p:cNvSpPr>
          <p:nvPr/>
        </p:nvSpPr>
        <p:spPr bwMode="auto">
          <a:xfrm>
            <a:off x="8433633" y="2035232"/>
            <a:ext cx="592450" cy="74592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62" name="Group 34">
            <a:extLst>
              <a:ext uri="{FF2B5EF4-FFF2-40B4-BE49-F238E27FC236}">
                <a16:creationId xmlns:a16="http://schemas.microsoft.com/office/drawing/2014/main" id="{6045D7C2-50C2-2E45-8DF7-CBDC619F382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78108" y="2106579"/>
            <a:ext cx="503500" cy="489318"/>
            <a:chOff x="1169" y="873"/>
            <a:chExt cx="355" cy="345"/>
          </a:xfrm>
          <a:solidFill>
            <a:srgbClr val="A136A0"/>
          </a:solidFill>
        </p:grpSpPr>
        <p:sp>
          <p:nvSpPr>
            <p:cNvPr id="163" name="Freeform 35">
              <a:extLst>
                <a:ext uri="{FF2B5EF4-FFF2-40B4-BE49-F238E27FC236}">
                  <a16:creationId xmlns:a16="http://schemas.microsoft.com/office/drawing/2014/main" id="{E64AEED5-45BB-9B42-9700-16EF54E22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" y="873"/>
              <a:ext cx="278" cy="207"/>
            </a:xfrm>
            <a:custGeom>
              <a:avLst/>
              <a:gdLst>
                <a:gd name="T0" fmla="*/ 3838 w 5261"/>
                <a:gd name="T1" fmla="*/ 1327 h 3897"/>
                <a:gd name="T2" fmla="*/ 3612 w 5261"/>
                <a:gd name="T3" fmla="*/ 1347 h 3897"/>
                <a:gd name="T4" fmla="*/ 1564 w 5261"/>
                <a:gd name="T5" fmla="*/ 126 h 3897"/>
                <a:gd name="T6" fmla="*/ 0 w 5261"/>
                <a:gd name="T7" fmla="*/ 1527 h 3897"/>
                <a:gd name="T8" fmla="*/ 182 w 5261"/>
                <a:gd name="T9" fmla="*/ 1574 h 3897"/>
                <a:gd name="T10" fmla="*/ 1884 w 5261"/>
                <a:gd name="T11" fmla="*/ 295 h 3897"/>
                <a:gd name="T12" fmla="*/ 3487 w 5261"/>
                <a:gd name="T13" fmla="*/ 1569 h 3897"/>
                <a:gd name="T14" fmla="*/ 4528 w 5261"/>
                <a:gd name="T15" fmla="*/ 1761 h 3897"/>
                <a:gd name="T16" fmla="*/ 4927 w 5261"/>
                <a:gd name="T17" fmla="*/ 2735 h 3897"/>
                <a:gd name="T18" fmla="*/ 4280 w 5261"/>
                <a:gd name="T19" fmla="*/ 3614 h 3897"/>
                <a:gd name="T20" fmla="*/ 3634 w 5261"/>
                <a:gd name="T21" fmla="*/ 3698 h 3897"/>
                <a:gd name="T22" fmla="*/ 3634 w 5261"/>
                <a:gd name="T23" fmla="*/ 3886 h 3897"/>
                <a:gd name="T24" fmla="*/ 4290 w 5261"/>
                <a:gd name="T25" fmla="*/ 3814 h 3897"/>
                <a:gd name="T26" fmla="*/ 5094 w 5261"/>
                <a:gd name="T27" fmla="*/ 2880 h 3897"/>
                <a:gd name="T28" fmla="*/ 3838 w 5261"/>
                <a:gd name="T29" fmla="*/ 1327 h 3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61" h="3897">
                  <a:moveTo>
                    <a:pt x="3838" y="1327"/>
                  </a:moveTo>
                  <a:cubicBezTo>
                    <a:pt x="3763" y="1327"/>
                    <a:pt x="3687" y="1334"/>
                    <a:pt x="3612" y="1347"/>
                  </a:cubicBezTo>
                  <a:cubicBezTo>
                    <a:pt x="3308" y="517"/>
                    <a:pt x="2439" y="0"/>
                    <a:pt x="1564" y="126"/>
                  </a:cubicBezTo>
                  <a:cubicBezTo>
                    <a:pt x="816" y="234"/>
                    <a:pt x="189" y="794"/>
                    <a:pt x="0" y="1527"/>
                  </a:cubicBezTo>
                  <a:lnTo>
                    <a:pt x="182" y="1574"/>
                  </a:lnTo>
                  <a:cubicBezTo>
                    <a:pt x="379" y="811"/>
                    <a:pt x="1097" y="273"/>
                    <a:pt x="1884" y="295"/>
                  </a:cubicBezTo>
                  <a:cubicBezTo>
                    <a:pt x="2662" y="317"/>
                    <a:pt x="3259" y="848"/>
                    <a:pt x="3487" y="1569"/>
                  </a:cubicBezTo>
                  <a:cubicBezTo>
                    <a:pt x="3856" y="1478"/>
                    <a:pt x="4226" y="1515"/>
                    <a:pt x="4528" y="1761"/>
                  </a:cubicBezTo>
                  <a:cubicBezTo>
                    <a:pt x="4816" y="1994"/>
                    <a:pt x="4970" y="2366"/>
                    <a:pt x="4927" y="2735"/>
                  </a:cubicBezTo>
                  <a:cubicBezTo>
                    <a:pt x="4882" y="3119"/>
                    <a:pt x="4632" y="3455"/>
                    <a:pt x="4280" y="3614"/>
                  </a:cubicBezTo>
                  <a:cubicBezTo>
                    <a:pt x="4067" y="3710"/>
                    <a:pt x="3862" y="3698"/>
                    <a:pt x="3634" y="3698"/>
                  </a:cubicBezTo>
                  <a:lnTo>
                    <a:pt x="3634" y="3886"/>
                  </a:lnTo>
                  <a:cubicBezTo>
                    <a:pt x="3863" y="3886"/>
                    <a:pt x="4071" y="3897"/>
                    <a:pt x="4290" y="3814"/>
                  </a:cubicBezTo>
                  <a:cubicBezTo>
                    <a:pt x="4734" y="3646"/>
                    <a:pt x="5002" y="3309"/>
                    <a:pt x="5094" y="2880"/>
                  </a:cubicBezTo>
                  <a:cubicBezTo>
                    <a:pt x="5261" y="2093"/>
                    <a:pt x="4643" y="1327"/>
                    <a:pt x="3838" y="132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64" name="Freeform 36">
              <a:extLst>
                <a:ext uri="{FF2B5EF4-FFF2-40B4-BE49-F238E27FC236}">
                  <a16:creationId xmlns:a16="http://schemas.microsoft.com/office/drawing/2014/main" id="{A48C03F9-9154-9B4C-879D-FBF63B589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" y="958"/>
              <a:ext cx="111" cy="122"/>
            </a:xfrm>
            <a:custGeom>
              <a:avLst/>
              <a:gdLst>
                <a:gd name="T0" fmla="*/ 1103 w 2100"/>
                <a:gd name="T1" fmla="*/ 2089 h 2312"/>
                <a:gd name="T2" fmla="*/ 514 w 2100"/>
                <a:gd name="T3" fmla="*/ 758 h 2312"/>
                <a:gd name="T4" fmla="*/ 1963 w 2100"/>
                <a:gd name="T5" fmla="*/ 623 h 2312"/>
                <a:gd name="T6" fmla="*/ 2100 w 2100"/>
                <a:gd name="T7" fmla="*/ 494 h 2312"/>
                <a:gd name="T8" fmla="*/ 1507 w 2100"/>
                <a:gd name="T9" fmla="*/ 146 h 2312"/>
                <a:gd name="T10" fmla="*/ 1507 w 2100"/>
                <a:gd name="T11" fmla="*/ 147 h 2312"/>
                <a:gd name="T12" fmla="*/ 256 w 2100"/>
                <a:gd name="T13" fmla="*/ 1544 h 2312"/>
                <a:gd name="T14" fmla="*/ 1066 w 2100"/>
                <a:gd name="T15" fmla="*/ 2274 h 2312"/>
                <a:gd name="T16" fmla="*/ 1691 w 2100"/>
                <a:gd name="T17" fmla="*/ 2295 h 2312"/>
                <a:gd name="T18" fmla="*/ 1691 w 2100"/>
                <a:gd name="T19" fmla="*/ 2107 h 2312"/>
                <a:gd name="T20" fmla="*/ 1103 w 2100"/>
                <a:gd name="T21" fmla="*/ 2089 h 2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00" h="2312">
                  <a:moveTo>
                    <a:pt x="1103" y="2089"/>
                  </a:moveTo>
                  <a:cubicBezTo>
                    <a:pt x="515" y="1965"/>
                    <a:pt x="210" y="1276"/>
                    <a:pt x="514" y="758"/>
                  </a:cubicBezTo>
                  <a:cubicBezTo>
                    <a:pt x="828" y="223"/>
                    <a:pt x="1553" y="182"/>
                    <a:pt x="1963" y="623"/>
                  </a:cubicBezTo>
                  <a:lnTo>
                    <a:pt x="2100" y="494"/>
                  </a:lnTo>
                  <a:cubicBezTo>
                    <a:pt x="1939" y="321"/>
                    <a:pt x="1740" y="194"/>
                    <a:pt x="1507" y="146"/>
                  </a:cubicBezTo>
                  <a:lnTo>
                    <a:pt x="1507" y="147"/>
                  </a:lnTo>
                  <a:cubicBezTo>
                    <a:pt x="710" y="0"/>
                    <a:pt x="0" y="756"/>
                    <a:pt x="256" y="1544"/>
                  </a:cubicBezTo>
                  <a:cubicBezTo>
                    <a:pt x="374" y="1905"/>
                    <a:pt x="689" y="2202"/>
                    <a:pt x="1066" y="2274"/>
                  </a:cubicBezTo>
                  <a:cubicBezTo>
                    <a:pt x="1269" y="2312"/>
                    <a:pt x="1486" y="2295"/>
                    <a:pt x="1691" y="2295"/>
                  </a:cubicBezTo>
                  <a:lnTo>
                    <a:pt x="1691" y="2107"/>
                  </a:lnTo>
                  <a:cubicBezTo>
                    <a:pt x="1496" y="2107"/>
                    <a:pt x="1296" y="2119"/>
                    <a:pt x="1103" y="208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65" name="Rectangle 37">
              <a:extLst>
                <a:ext uri="{FF2B5EF4-FFF2-40B4-BE49-F238E27FC236}">
                  <a16:creationId xmlns:a16="http://schemas.microsoft.com/office/drawing/2014/main" id="{F62A33BB-53ED-574C-B07E-AFF2BA8DA9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9" y="1128"/>
              <a:ext cx="1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66" name="Rectangle 38">
              <a:extLst>
                <a:ext uri="{FF2B5EF4-FFF2-40B4-BE49-F238E27FC236}">
                  <a16:creationId xmlns:a16="http://schemas.microsoft.com/office/drawing/2014/main" id="{FF97F2FA-9BEA-E74B-9088-8F5668B810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9" y="1128"/>
              <a:ext cx="9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67" name="Rectangle 39">
              <a:extLst>
                <a:ext uri="{FF2B5EF4-FFF2-40B4-BE49-F238E27FC236}">
                  <a16:creationId xmlns:a16="http://schemas.microsoft.com/office/drawing/2014/main" id="{9BBD2563-71EA-5F47-A7E3-C7B4977EB7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" y="1128"/>
              <a:ext cx="4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68" name="Rectangle 40">
              <a:extLst>
                <a:ext uri="{FF2B5EF4-FFF2-40B4-BE49-F238E27FC236}">
                  <a16:creationId xmlns:a16="http://schemas.microsoft.com/office/drawing/2014/main" id="{A5BAD5C0-8F75-7940-9DAF-B04A8FB859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4" y="1168"/>
              <a:ext cx="1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69" name="Rectangle 41">
              <a:extLst>
                <a:ext uri="{FF2B5EF4-FFF2-40B4-BE49-F238E27FC236}">
                  <a16:creationId xmlns:a16="http://schemas.microsoft.com/office/drawing/2014/main" id="{94517C4B-382A-6B47-BD4A-185D4F22A9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9" y="1188"/>
              <a:ext cx="1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70" name="Rectangle 42">
              <a:extLst>
                <a:ext uri="{FF2B5EF4-FFF2-40B4-BE49-F238E27FC236}">
                  <a16:creationId xmlns:a16="http://schemas.microsoft.com/office/drawing/2014/main" id="{AB427481-F26F-6540-B843-471957668E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9" y="1188"/>
              <a:ext cx="9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71" name="Rectangle 43">
              <a:extLst>
                <a:ext uri="{FF2B5EF4-FFF2-40B4-BE49-F238E27FC236}">
                  <a16:creationId xmlns:a16="http://schemas.microsoft.com/office/drawing/2014/main" id="{CDC1D13A-6AB3-0046-808E-0F58FC1C92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" y="1188"/>
              <a:ext cx="4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72" name="Rectangle 44">
              <a:extLst>
                <a:ext uri="{FF2B5EF4-FFF2-40B4-BE49-F238E27FC236}">
                  <a16:creationId xmlns:a16="http://schemas.microsoft.com/office/drawing/2014/main" id="{C7A88DB0-A1F3-4C4A-BD27-B1CE9E246A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4" y="1089"/>
              <a:ext cx="1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73" name="Rectangle 45">
              <a:extLst>
                <a:ext uri="{FF2B5EF4-FFF2-40B4-BE49-F238E27FC236}">
                  <a16:creationId xmlns:a16="http://schemas.microsoft.com/office/drawing/2014/main" id="{9F17B88E-117F-E544-9F14-345D8C1E43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9" y="1069"/>
              <a:ext cx="1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74" name="Rectangle 46">
              <a:extLst>
                <a:ext uri="{FF2B5EF4-FFF2-40B4-BE49-F238E27FC236}">
                  <a16:creationId xmlns:a16="http://schemas.microsoft.com/office/drawing/2014/main" id="{97628E1B-B7C7-7945-A15B-47399968F7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9" y="1069"/>
              <a:ext cx="9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75" name="Rectangle 47">
              <a:extLst>
                <a:ext uri="{FF2B5EF4-FFF2-40B4-BE49-F238E27FC236}">
                  <a16:creationId xmlns:a16="http://schemas.microsoft.com/office/drawing/2014/main" id="{06571A0B-6AB8-5343-A453-87AD8EC045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" y="1069"/>
              <a:ext cx="4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76" name="Freeform 48">
              <a:extLst>
                <a:ext uri="{FF2B5EF4-FFF2-40B4-BE49-F238E27FC236}">
                  <a16:creationId xmlns:a16="http://schemas.microsoft.com/office/drawing/2014/main" id="{1F6D2B72-966B-A34A-AD32-3AB44B467E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69" y="909"/>
              <a:ext cx="159" cy="309"/>
            </a:xfrm>
            <a:custGeom>
              <a:avLst/>
              <a:gdLst>
                <a:gd name="T0" fmla="*/ 2453 w 3006"/>
                <a:gd name="T1" fmla="*/ 1888 h 5830"/>
                <a:gd name="T2" fmla="*/ 3003 w 3006"/>
                <a:gd name="T3" fmla="*/ 1789 h 5830"/>
                <a:gd name="T4" fmla="*/ 2450 w 3006"/>
                <a:gd name="T5" fmla="*/ 1700 h 5830"/>
                <a:gd name="T6" fmla="*/ 1973 w 3006"/>
                <a:gd name="T7" fmla="*/ 2640 h 5830"/>
                <a:gd name="T8" fmla="*/ 1785 w 3006"/>
                <a:gd name="T9" fmla="*/ 1256 h 5830"/>
                <a:gd name="T10" fmla="*/ 2122 w 3006"/>
                <a:gd name="T11" fmla="*/ 1082 h 5830"/>
                <a:gd name="T12" fmla="*/ 2122 w 3006"/>
                <a:gd name="T13" fmla="*/ 514 h 5830"/>
                <a:gd name="T14" fmla="*/ 1862 w 3006"/>
                <a:gd name="T15" fmla="*/ 913 h 5830"/>
                <a:gd name="T16" fmla="*/ 1597 w 3006"/>
                <a:gd name="T17" fmla="*/ 2640 h 5830"/>
                <a:gd name="T18" fmla="*/ 1409 w 3006"/>
                <a:gd name="T19" fmla="*/ 634 h 5830"/>
                <a:gd name="T20" fmla="*/ 1176 w 3006"/>
                <a:gd name="T21" fmla="*/ 284 h 5830"/>
                <a:gd name="T22" fmla="*/ 609 w 3006"/>
                <a:gd name="T23" fmla="*/ 284 h 5830"/>
                <a:gd name="T24" fmla="*/ 1036 w 3006"/>
                <a:gd name="T25" fmla="*/ 528 h 5830"/>
                <a:gd name="T26" fmla="*/ 1220 w 3006"/>
                <a:gd name="T27" fmla="*/ 2640 h 5830"/>
                <a:gd name="T28" fmla="*/ 1032 w 3006"/>
                <a:gd name="T29" fmla="*/ 1879 h 5830"/>
                <a:gd name="T30" fmla="*/ 289 w 3006"/>
                <a:gd name="T31" fmla="*/ 1695 h 5830"/>
                <a:gd name="T32" fmla="*/ 289 w 3006"/>
                <a:gd name="T33" fmla="*/ 2262 h 5830"/>
                <a:gd name="T34" fmla="*/ 844 w 3006"/>
                <a:gd name="T35" fmla="*/ 2068 h 5830"/>
                <a:gd name="T36" fmla="*/ 0 w 3006"/>
                <a:gd name="T37" fmla="*/ 2640 h 5830"/>
                <a:gd name="T38" fmla="*/ 192 w 3006"/>
                <a:gd name="T39" fmla="*/ 3581 h 5830"/>
                <a:gd name="T40" fmla="*/ 0 w 3006"/>
                <a:gd name="T41" fmla="*/ 3765 h 5830"/>
                <a:gd name="T42" fmla="*/ 192 w 3006"/>
                <a:gd name="T43" fmla="*/ 4705 h 5830"/>
                <a:gd name="T44" fmla="*/ 0 w 3006"/>
                <a:gd name="T45" fmla="*/ 4889 h 5830"/>
                <a:gd name="T46" fmla="*/ 3006 w 3006"/>
                <a:gd name="T47" fmla="*/ 5830 h 5830"/>
                <a:gd name="T48" fmla="*/ 2826 w 3006"/>
                <a:gd name="T49" fmla="*/ 4889 h 5830"/>
                <a:gd name="T50" fmla="*/ 3006 w 3006"/>
                <a:gd name="T51" fmla="*/ 4705 h 5830"/>
                <a:gd name="T52" fmla="*/ 2826 w 3006"/>
                <a:gd name="T53" fmla="*/ 3765 h 5830"/>
                <a:gd name="T54" fmla="*/ 3006 w 3006"/>
                <a:gd name="T55" fmla="*/ 3581 h 5830"/>
                <a:gd name="T56" fmla="*/ 2161 w 3006"/>
                <a:gd name="T57" fmla="*/ 2640 h 5830"/>
                <a:gd name="T58" fmla="*/ 2719 w 3006"/>
                <a:gd name="T59" fmla="*/ 1693 h 5830"/>
                <a:gd name="T60" fmla="*/ 2719 w 3006"/>
                <a:gd name="T61" fmla="*/ 1884 h 5830"/>
                <a:gd name="T62" fmla="*/ 2719 w 3006"/>
                <a:gd name="T63" fmla="*/ 1693 h 5830"/>
                <a:gd name="T64" fmla="*/ 2217 w 3006"/>
                <a:gd name="T65" fmla="*/ 798 h 5830"/>
                <a:gd name="T66" fmla="*/ 2026 w 3006"/>
                <a:gd name="T67" fmla="*/ 798 h 5830"/>
                <a:gd name="T68" fmla="*/ 797 w 3006"/>
                <a:gd name="T69" fmla="*/ 284 h 5830"/>
                <a:gd name="T70" fmla="*/ 988 w 3006"/>
                <a:gd name="T71" fmla="*/ 284 h 5830"/>
                <a:gd name="T72" fmla="*/ 797 w 3006"/>
                <a:gd name="T73" fmla="*/ 284 h 5830"/>
                <a:gd name="T74" fmla="*/ 193 w 3006"/>
                <a:gd name="T75" fmla="*/ 1979 h 5830"/>
                <a:gd name="T76" fmla="*/ 384 w 3006"/>
                <a:gd name="T77" fmla="*/ 1979 h 5830"/>
                <a:gd name="T78" fmla="*/ 188 w 3006"/>
                <a:gd name="T79" fmla="*/ 3953 h 5830"/>
                <a:gd name="T80" fmla="*/ 2818 w 3006"/>
                <a:gd name="T81" fmla="*/ 4517 h 5830"/>
                <a:gd name="T82" fmla="*/ 188 w 3006"/>
                <a:gd name="T83" fmla="*/ 3953 h 5830"/>
                <a:gd name="T84" fmla="*/ 1791 w 3006"/>
                <a:gd name="T85" fmla="*/ 4889 h 5830"/>
                <a:gd name="T86" fmla="*/ 2818 w 3006"/>
                <a:gd name="T87" fmla="*/ 5077 h 5830"/>
                <a:gd name="T88" fmla="*/ 188 w 3006"/>
                <a:gd name="T89" fmla="*/ 5642 h 5830"/>
                <a:gd name="T90" fmla="*/ 1227 w 3006"/>
                <a:gd name="T91" fmla="*/ 5077 h 5830"/>
                <a:gd name="T92" fmla="*/ 380 w 3006"/>
                <a:gd name="T93" fmla="*/ 4889 h 5830"/>
                <a:gd name="T94" fmla="*/ 2638 w 3006"/>
                <a:gd name="T95" fmla="*/ 4705 h 5830"/>
                <a:gd name="T96" fmla="*/ 2818 w 3006"/>
                <a:gd name="T97" fmla="*/ 3393 h 5830"/>
                <a:gd name="T98" fmla="*/ 1791 w 3006"/>
                <a:gd name="T99" fmla="*/ 3581 h 5830"/>
                <a:gd name="T100" fmla="*/ 2638 w 3006"/>
                <a:gd name="T101" fmla="*/ 3765 h 5830"/>
                <a:gd name="T102" fmla="*/ 380 w 3006"/>
                <a:gd name="T103" fmla="*/ 3581 h 5830"/>
                <a:gd name="T104" fmla="*/ 1227 w 3006"/>
                <a:gd name="T105" fmla="*/ 3393 h 5830"/>
                <a:gd name="T106" fmla="*/ 188 w 3006"/>
                <a:gd name="T107" fmla="*/ 2828 h 5830"/>
                <a:gd name="T108" fmla="*/ 2818 w 3006"/>
                <a:gd name="T109" fmla="*/ 3393 h 58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06" h="5830">
                  <a:moveTo>
                    <a:pt x="2161" y="1888"/>
                  </a:moveTo>
                  <a:lnTo>
                    <a:pt x="2453" y="1888"/>
                  </a:lnTo>
                  <a:cubicBezTo>
                    <a:pt x="2494" y="1996"/>
                    <a:pt x="2598" y="2073"/>
                    <a:pt x="2719" y="2073"/>
                  </a:cubicBezTo>
                  <a:cubicBezTo>
                    <a:pt x="2876" y="2073"/>
                    <a:pt x="3003" y="1945"/>
                    <a:pt x="3003" y="1789"/>
                  </a:cubicBezTo>
                  <a:cubicBezTo>
                    <a:pt x="3003" y="1633"/>
                    <a:pt x="2876" y="1505"/>
                    <a:pt x="2719" y="1505"/>
                  </a:cubicBezTo>
                  <a:cubicBezTo>
                    <a:pt x="2594" y="1505"/>
                    <a:pt x="2488" y="1587"/>
                    <a:pt x="2450" y="1700"/>
                  </a:cubicBezTo>
                  <a:lnTo>
                    <a:pt x="1973" y="1700"/>
                  </a:lnTo>
                  <a:lnTo>
                    <a:pt x="1973" y="2640"/>
                  </a:lnTo>
                  <a:lnTo>
                    <a:pt x="1785" y="2640"/>
                  </a:lnTo>
                  <a:lnTo>
                    <a:pt x="1785" y="1256"/>
                  </a:lnTo>
                  <a:lnTo>
                    <a:pt x="1991" y="1050"/>
                  </a:lnTo>
                  <a:cubicBezTo>
                    <a:pt x="2030" y="1070"/>
                    <a:pt x="2074" y="1082"/>
                    <a:pt x="2122" y="1082"/>
                  </a:cubicBezTo>
                  <a:cubicBezTo>
                    <a:pt x="2278" y="1082"/>
                    <a:pt x="2405" y="954"/>
                    <a:pt x="2405" y="798"/>
                  </a:cubicBezTo>
                  <a:cubicBezTo>
                    <a:pt x="2405" y="642"/>
                    <a:pt x="2278" y="514"/>
                    <a:pt x="2122" y="514"/>
                  </a:cubicBezTo>
                  <a:cubicBezTo>
                    <a:pt x="1965" y="514"/>
                    <a:pt x="1838" y="642"/>
                    <a:pt x="1838" y="798"/>
                  </a:cubicBezTo>
                  <a:cubicBezTo>
                    <a:pt x="1838" y="839"/>
                    <a:pt x="1847" y="877"/>
                    <a:pt x="1862" y="913"/>
                  </a:cubicBezTo>
                  <a:lnTo>
                    <a:pt x="1597" y="1178"/>
                  </a:lnTo>
                  <a:lnTo>
                    <a:pt x="1597" y="2640"/>
                  </a:lnTo>
                  <a:lnTo>
                    <a:pt x="1409" y="2640"/>
                  </a:lnTo>
                  <a:lnTo>
                    <a:pt x="1409" y="634"/>
                  </a:lnTo>
                  <a:lnTo>
                    <a:pt x="1158" y="384"/>
                  </a:lnTo>
                  <a:cubicBezTo>
                    <a:pt x="1170" y="353"/>
                    <a:pt x="1176" y="319"/>
                    <a:pt x="1176" y="284"/>
                  </a:cubicBezTo>
                  <a:cubicBezTo>
                    <a:pt x="1176" y="127"/>
                    <a:pt x="1049" y="0"/>
                    <a:pt x="893" y="0"/>
                  </a:cubicBezTo>
                  <a:cubicBezTo>
                    <a:pt x="736" y="0"/>
                    <a:pt x="609" y="127"/>
                    <a:pt x="609" y="284"/>
                  </a:cubicBezTo>
                  <a:cubicBezTo>
                    <a:pt x="609" y="440"/>
                    <a:pt x="736" y="567"/>
                    <a:pt x="893" y="567"/>
                  </a:cubicBezTo>
                  <a:cubicBezTo>
                    <a:pt x="945" y="567"/>
                    <a:pt x="994" y="553"/>
                    <a:pt x="1036" y="528"/>
                  </a:cubicBezTo>
                  <a:lnTo>
                    <a:pt x="1220" y="712"/>
                  </a:lnTo>
                  <a:lnTo>
                    <a:pt x="1220" y="2640"/>
                  </a:lnTo>
                  <a:lnTo>
                    <a:pt x="1032" y="2640"/>
                  </a:lnTo>
                  <a:lnTo>
                    <a:pt x="1032" y="1879"/>
                  </a:lnTo>
                  <a:lnTo>
                    <a:pt x="554" y="1879"/>
                  </a:lnTo>
                  <a:cubicBezTo>
                    <a:pt x="514" y="1772"/>
                    <a:pt x="410" y="1695"/>
                    <a:pt x="289" y="1695"/>
                  </a:cubicBezTo>
                  <a:cubicBezTo>
                    <a:pt x="132" y="1695"/>
                    <a:pt x="5" y="1822"/>
                    <a:pt x="5" y="1979"/>
                  </a:cubicBezTo>
                  <a:cubicBezTo>
                    <a:pt x="5" y="2135"/>
                    <a:pt x="132" y="2262"/>
                    <a:pt x="289" y="2262"/>
                  </a:cubicBezTo>
                  <a:cubicBezTo>
                    <a:pt x="414" y="2262"/>
                    <a:pt x="520" y="2181"/>
                    <a:pt x="558" y="2068"/>
                  </a:cubicBezTo>
                  <a:lnTo>
                    <a:pt x="844" y="2068"/>
                  </a:lnTo>
                  <a:lnTo>
                    <a:pt x="844" y="2640"/>
                  </a:lnTo>
                  <a:lnTo>
                    <a:pt x="0" y="2640"/>
                  </a:lnTo>
                  <a:lnTo>
                    <a:pt x="0" y="3581"/>
                  </a:lnTo>
                  <a:lnTo>
                    <a:pt x="192" y="3581"/>
                  </a:lnTo>
                  <a:lnTo>
                    <a:pt x="192" y="3765"/>
                  </a:lnTo>
                  <a:lnTo>
                    <a:pt x="0" y="3765"/>
                  </a:lnTo>
                  <a:lnTo>
                    <a:pt x="0" y="4705"/>
                  </a:lnTo>
                  <a:lnTo>
                    <a:pt x="192" y="4705"/>
                  </a:lnTo>
                  <a:lnTo>
                    <a:pt x="192" y="4889"/>
                  </a:lnTo>
                  <a:lnTo>
                    <a:pt x="0" y="4889"/>
                  </a:lnTo>
                  <a:lnTo>
                    <a:pt x="0" y="5830"/>
                  </a:lnTo>
                  <a:lnTo>
                    <a:pt x="3006" y="5830"/>
                  </a:lnTo>
                  <a:lnTo>
                    <a:pt x="3006" y="4889"/>
                  </a:lnTo>
                  <a:lnTo>
                    <a:pt x="2826" y="4889"/>
                  </a:lnTo>
                  <a:lnTo>
                    <a:pt x="2826" y="4705"/>
                  </a:lnTo>
                  <a:lnTo>
                    <a:pt x="3006" y="4705"/>
                  </a:lnTo>
                  <a:lnTo>
                    <a:pt x="3006" y="3765"/>
                  </a:lnTo>
                  <a:lnTo>
                    <a:pt x="2826" y="3765"/>
                  </a:lnTo>
                  <a:lnTo>
                    <a:pt x="2826" y="3581"/>
                  </a:lnTo>
                  <a:lnTo>
                    <a:pt x="3006" y="3581"/>
                  </a:lnTo>
                  <a:lnTo>
                    <a:pt x="3006" y="2640"/>
                  </a:lnTo>
                  <a:lnTo>
                    <a:pt x="2161" y="2640"/>
                  </a:lnTo>
                  <a:lnTo>
                    <a:pt x="2161" y="1888"/>
                  </a:lnTo>
                  <a:close/>
                  <a:moveTo>
                    <a:pt x="2719" y="1693"/>
                  </a:moveTo>
                  <a:cubicBezTo>
                    <a:pt x="2772" y="1693"/>
                    <a:pt x="2815" y="1736"/>
                    <a:pt x="2815" y="1789"/>
                  </a:cubicBezTo>
                  <a:cubicBezTo>
                    <a:pt x="2815" y="1842"/>
                    <a:pt x="2772" y="1884"/>
                    <a:pt x="2719" y="1884"/>
                  </a:cubicBezTo>
                  <a:cubicBezTo>
                    <a:pt x="2667" y="1884"/>
                    <a:pt x="2624" y="1842"/>
                    <a:pt x="2624" y="1789"/>
                  </a:cubicBezTo>
                  <a:cubicBezTo>
                    <a:pt x="2624" y="1736"/>
                    <a:pt x="2667" y="1693"/>
                    <a:pt x="2719" y="1693"/>
                  </a:cubicBezTo>
                  <a:close/>
                  <a:moveTo>
                    <a:pt x="2122" y="703"/>
                  </a:moveTo>
                  <a:cubicBezTo>
                    <a:pt x="2174" y="703"/>
                    <a:pt x="2217" y="745"/>
                    <a:pt x="2217" y="798"/>
                  </a:cubicBezTo>
                  <a:cubicBezTo>
                    <a:pt x="2217" y="851"/>
                    <a:pt x="2174" y="894"/>
                    <a:pt x="2122" y="894"/>
                  </a:cubicBezTo>
                  <a:cubicBezTo>
                    <a:pt x="2069" y="894"/>
                    <a:pt x="2026" y="851"/>
                    <a:pt x="2026" y="798"/>
                  </a:cubicBezTo>
                  <a:cubicBezTo>
                    <a:pt x="2026" y="745"/>
                    <a:pt x="2069" y="703"/>
                    <a:pt x="2122" y="703"/>
                  </a:cubicBezTo>
                  <a:close/>
                  <a:moveTo>
                    <a:pt x="797" y="284"/>
                  </a:moveTo>
                  <a:cubicBezTo>
                    <a:pt x="797" y="231"/>
                    <a:pt x="840" y="188"/>
                    <a:pt x="893" y="188"/>
                  </a:cubicBezTo>
                  <a:cubicBezTo>
                    <a:pt x="945" y="188"/>
                    <a:pt x="988" y="231"/>
                    <a:pt x="988" y="284"/>
                  </a:cubicBezTo>
                  <a:cubicBezTo>
                    <a:pt x="988" y="336"/>
                    <a:pt x="945" y="379"/>
                    <a:pt x="893" y="379"/>
                  </a:cubicBezTo>
                  <a:cubicBezTo>
                    <a:pt x="840" y="379"/>
                    <a:pt x="797" y="336"/>
                    <a:pt x="797" y="284"/>
                  </a:cubicBezTo>
                  <a:close/>
                  <a:moveTo>
                    <a:pt x="289" y="2074"/>
                  </a:moveTo>
                  <a:cubicBezTo>
                    <a:pt x="236" y="2074"/>
                    <a:pt x="193" y="2031"/>
                    <a:pt x="193" y="1979"/>
                  </a:cubicBezTo>
                  <a:cubicBezTo>
                    <a:pt x="193" y="1926"/>
                    <a:pt x="236" y="1883"/>
                    <a:pt x="289" y="1883"/>
                  </a:cubicBezTo>
                  <a:cubicBezTo>
                    <a:pt x="341" y="1883"/>
                    <a:pt x="384" y="1926"/>
                    <a:pt x="384" y="1979"/>
                  </a:cubicBezTo>
                  <a:cubicBezTo>
                    <a:pt x="384" y="2031"/>
                    <a:pt x="341" y="2074"/>
                    <a:pt x="289" y="2074"/>
                  </a:cubicBezTo>
                  <a:close/>
                  <a:moveTo>
                    <a:pt x="188" y="3953"/>
                  </a:moveTo>
                  <a:lnTo>
                    <a:pt x="2818" y="3953"/>
                  </a:lnTo>
                  <a:lnTo>
                    <a:pt x="2818" y="4517"/>
                  </a:lnTo>
                  <a:lnTo>
                    <a:pt x="188" y="4517"/>
                  </a:lnTo>
                  <a:lnTo>
                    <a:pt x="188" y="3953"/>
                  </a:lnTo>
                  <a:close/>
                  <a:moveTo>
                    <a:pt x="2638" y="4889"/>
                  </a:moveTo>
                  <a:lnTo>
                    <a:pt x="1791" y="4889"/>
                  </a:lnTo>
                  <a:lnTo>
                    <a:pt x="1791" y="5077"/>
                  </a:lnTo>
                  <a:lnTo>
                    <a:pt x="2818" y="5077"/>
                  </a:lnTo>
                  <a:lnTo>
                    <a:pt x="2818" y="5642"/>
                  </a:lnTo>
                  <a:lnTo>
                    <a:pt x="188" y="5642"/>
                  </a:lnTo>
                  <a:lnTo>
                    <a:pt x="188" y="5077"/>
                  </a:lnTo>
                  <a:lnTo>
                    <a:pt x="1227" y="5077"/>
                  </a:lnTo>
                  <a:lnTo>
                    <a:pt x="1227" y="4889"/>
                  </a:lnTo>
                  <a:lnTo>
                    <a:pt x="380" y="4889"/>
                  </a:lnTo>
                  <a:lnTo>
                    <a:pt x="380" y="4705"/>
                  </a:lnTo>
                  <a:lnTo>
                    <a:pt x="2638" y="4705"/>
                  </a:lnTo>
                  <a:lnTo>
                    <a:pt x="2638" y="4889"/>
                  </a:lnTo>
                  <a:close/>
                  <a:moveTo>
                    <a:pt x="2818" y="3393"/>
                  </a:moveTo>
                  <a:lnTo>
                    <a:pt x="1791" y="3393"/>
                  </a:lnTo>
                  <a:lnTo>
                    <a:pt x="1791" y="3581"/>
                  </a:lnTo>
                  <a:lnTo>
                    <a:pt x="2638" y="3581"/>
                  </a:lnTo>
                  <a:lnTo>
                    <a:pt x="2638" y="3765"/>
                  </a:lnTo>
                  <a:lnTo>
                    <a:pt x="380" y="3765"/>
                  </a:lnTo>
                  <a:lnTo>
                    <a:pt x="380" y="3581"/>
                  </a:lnTo>
                  <a:lnTo>
                    <a:pt x="1227" y="3581"/>
                  </a:lnTo>
                  <a:lnTo>
                    <a:pt x="1227" y="3393"/>
                  </a:lnTo>
                  <a:lnTo>
                    <a:pt x="188" y="3393"/>
                  </a:lnTo>
                  <a:lnTo>
                    <a:pt x="188" y="2828"/>
                  </a:lnTo>
                  <a:lnTo>
                    <a:pt x="2818" y="2828"/>
                  </a:lnTo>
                  <a:lnTo>
                    <a:pt x="2818" y="339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177" name="TextBox 2">
            <a:extLst>
              <a:ext uri="{FF2B5EF4-FFF2-40B4-BE49-F238E27FC236}">
                <a16:creationId xmlns:a16="http://schemas.microsoft.com/office/drawing/2014/main" id="{FA9398DD-CD02-D347-961F-90A4B66718C8}"/>
              </a:ext>
            </a:extLst>
          </p:cNvPr>
          <p:cNvSpPr txBox="1"/>
          <p:nvPr/>
        </p:nvSpPr>
        <p:spPr>
          <a:xfrm>
            <a:off x="9043459" y="2237763"/>
            <a:ext cx="252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eal time data</a:t>
            </a:r>
          </a:p>
        </p:txBody>
      </p:sp>
      <p:grpSp>
        <p:nvGrpSpPr>
          <p:cNvPr id="178" name="Groupe 177"/>
          <p:cNvGrpSpPr/>
          <p:nvPr/>
        </p:nvGrpSpPr>
        <p:grpSpPr>
          <a:xfrm>
            <a:off x="8433633" y="3061324"/>
            <a:ext cx="592450" cy="745925"/>
            <a:chOff x="8211502" y="867580"/>
            <a:chExt cx="592450" cy="745925"/>
          </a:xfrm>
        </p:grpSpPr>
        <p:sp>
          <p:nvSpPr>
            <p:cNvPr id="179" name="Freeform 14">
              <a:extLst>
                <a:ext uri="{FF2B5EF4-FFF2-40B4-BE49-F238E27FC236}">
                  <a16:creationId xmlns:a16="http://schemas.microsoft.com/office/drawing/2014/main" id="{7D92FF7C-326D-1C49-A57F-2CE4C5F5B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1502" y="867580"/>
              <a:ext cx="592450" cy="745925"/>
            </a:xfrm>
            <a:custGeom>
              <a:avLst/>
              <a:gdLst>
                <a:gd name="T0" fmla="*/ 555 w 841"/>
                <a:gd name="T1" fmla="*/ 971 h 1059"/>
                <a:gd name="T2" fmla="*/ 841 w 841"/>
                <a:gd name="T3" fmla="*/ 436 h 1059"/>
                <a:gd name="T4" fmla="*/ 841 w 841"/>
                <a:gd name="T5" fmla="*/ 204 h 1059"/>
                <a:gd name="T6" fmla="*/ 772 w 841"/>
                <a:gd name="T7" fmla="*/ 109 h 1059"/>
                <a:gd name="T8" fmla="*/ 452 w 841"/>
                <a:gd name="T9" fmla="*/ 5 h 1059"/>
                <a:gd name="T10" fmla="*/ 420 w 841"/>
                <a:gd name="T11" fmla="*/ 0 h 1059"/>
                <a:gd name="T12" fmla="*/ 390 w 841"/>
                <a:gd name="T13" fmla="*/ 5 h 1059"/>
                <a:gd name="T14" fmla="*/ 70 w 841"/>
                <a:gd name="T15" fmla="*/ 109 h 1059"/>
                <a:gd name="T16" fmla="*/ 0 w 841"/>
                <a:gd name="T17" fmla="*/ 204 h 1059"/>
                <a:gd name="T18" fmla="*/ 0 w 841"/>
                <a:gd name="T19" fmla="*/ 436 h 1059"/>
                <a:gd name="T20" fmla="*/ 287 w 841"/>
                <a:gd name="T21" fmla="*/ 971 h 1059"/>
                <a:gd name="T22" fmla="*/ 420 w 841"/>
                <a:gd name="T23" fmla="*/ 1059 h 1059"/>
                <a:gd name="T24" fmla="*/ 555 w 841"/>
                <a:gd name="T25" fmla="*/ 971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1" h="1059">
                  <a:moveTo>
                    <a:pt x="555" y="971"/>
                  </a:moveTo>
                  <a:cubicBezTo>
                    <a:pt x="733" y="851"/>
                    <a:pt x="841" y="651"/>
                    <a:pt x="841" y="436"/>
                  </a:cubicBezTo>
                  <a:lnTo>
                    <a:pt x="841" y="204"/>
                  </a:lnTo>
                  <a:cubicBezTo>
                    <a:pt x="841" y="161"/>
                    <a:pt x="813" y="122"/>
                    <a:pt x="772" y="109"/>
                  </a:cubicBezTo>
                  <a:lnTo>
                    <a:pt x="452" y="5"/>
                  </a:lnTo>
                  <a:cubicBezTo>
                    <a:pt x="441" y="2"/>
                    <a:pt x="431" y="0"/>
                    <a:pt x="420" y="0"/>
                  </a:cubicBezTo>
                  <a:cubicBezTo>
                    <a:pt x="410" y="0"/>
                    <a:pt x="400" y="2"/>
                    <a:pt x="390" y="5"/>
                  </a:cubicBezTo>
                  <a:lnTo>
                    <a:pt x="70" y="109"/>
                  </a:lnTo>
                  <a:cubicBezTo>
                    <a:pt x="28" y="122"/>
                    <a:pt x="0" y="161"/>
                    <a:pt x="0" y="204"/>
                  </a:cubicBezTo>
                  <a:lnTo>
                    <a:pt x="0" y="436"/>
                  </a:lnTo>
                  <a:cubicBezTo>
                    <a:pt x="0" y="651"/>
                    <a:pt x="108" y="851"/>
                    <a:pt x="287" y="971"/>
                  </a:cubicBezTo>
                  <a:lnTo>
                    <a:pt x="420" y="1059"/>
                  </a:lnTo>
                  <a:lnTo>
                    <a:pt x="555" y="971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E57518"/>
                </a:gs>
                <a:gs pos="0">
                  <a:srgbClr val="FEC232">
                    <a:alpha val="7800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180" name="Group 51">
              <a:extLst>
                <a:ext uri="{FF2B5EF4-FFF2-40B4-BE49-F238E27FC236}">
                  <a16:creationId xmlns:a16="http://schemas.microsoft.com/office/drawing/2014/main" id="{36FACFD2-B55C-3047-A985-597E4924004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278489" y="991746"/>
              <a:ext cx="446168" cy="446168"/>
              <a:chOff x="6477" y="1294"/>
              <a:chExt cx="339" cy="339"/>
            </a:xfrm>
            <a:solidFill>
              <a:srgbClr val="A136A0"/>
            </a:solidFill>
          </p:grpSpPr>
          <p:sp>
            <p:nvSpPr>
              <p:cNvPr id="181" name="Freeform 52">
                <a:extLst>
                  <a:ext uri="{FF2B5EF4-FFF2-40B4-BE49-F238E27FC236}">
                    <a16:creationId xmlns:a16="http://schemas.microsoft.com/office/drawing/2014/main" id="{91B4CB32-9ADF-714A-B0EE-7C2A36BF8F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77" y="1294"/>
                <a:ext cx="339" cy="339"/>
              </a:xfrm>
              <a:custGeom>
                <a:avLst/>
                <a:gdLst>
                  <a:gd name="T0" fmla="*/ 5743 w 6400"/>
                  <a:gd name="T1" fmla="*/ 2704 h 6400"/>
                  <a:gd name="T2" fmla="*/ 5756 w 6400"/>
                  <a:gd name="T3" fmla="*/ 1345 h 6400"/>
                  <a:gd name="T4" fmla="*/ 5179 w 6400"/>
                  <a:gd name="T5" fmla="*/ 644 h 6400"/>
                  <a:gd name="T6" fmla="*/ 4651 w 6400"/>
                  <a:gd name="T7" fmla="*/ 1048 h 6400"/>
                  <a:gd name="T8" fmla="*/ 3696 w 6400"/>
                  <a:gd name="T9" fmla="*/ 88 h 6400"/>
                  <a:gd name="T10" fmla="*/ 2792 w 6400"/>
                  <a:gd name="T11" fmla="*/ 0 h 6400"/>
                  <a:gd name="T12" fmla="*/ 2704 w 6400"/>
                  <a:gd name="T13" fmla="*/ 651 h 6400"/>
                  <a:gd name="T14" fmla="*/ 1344 w 6400"/>
                  <a:gd name="T15" fmla="*/ 643 h 6400"/>
                  <a:gd name="T16" fmla="*/ 644 w 6400"/>
                  <a:gd name="T17" fmla="*/ 1221 h 6400"/>
                  <a:gd name="T18" fmla="*/ 1050 w 6400"/>
                  <a:gd name="T19" fmla="*/ 1751 h 6400"/>
                  <a:gd name="T20" fmla="*/ 88 w 6400"/>
                  <a:gd name="T21" fmla="*/ 2704 h 6400"/>
                  <a:gd name="T22" fmla="*/ 0 w 6400"/>
                  <a:gd name="T23" fmla="*/ 3608 h 6400"/>
                  <a:gd name="T24" fmla="*/ 660 w 6400"/>
                  <a:gd name="T25" fmla="*/ 3696 h 6400"/>
                  <a:gd name="T26" fmla="*/ 644 w 6400"/>
                  <a:gd name="T27" fmla="*/ 5055 h 6400"/>
                  <a:gd name="T28" fmla="*/ 1221 w 6400"/>
                  <a:gd name="T29" fmla="*/ 5757 h 6400"/>
                  <a:gd name="T30" fmla="*/ 1758 w 6400"/>
                  <a:gd name="T31" fmla="*/ 5343 h 6400"/>
                  <a:gd name="T32" fmla="*/ 2704 w 6400"/>
                  <a:gd name="T33" fmla="*/ 6313 h 6400"/>
                  <a:gd name="T34" fmla="*/ 3608 w 6400"/>
                  <a:gd name="T35" fmla="*/ 6400 h 6400"/>
                  <a:gd name="T36" fmla="*/ 3696 w 6400"/>
                  <a:gd name="T37" fmla="*/ 5734 h 6400"/>
                  <a:gd name="T38" fmla="*/ 5055 w 6400"/>
                  <a:gd name="T39" fmla="*/ 5757 h 6400"/>
                  <a:gd name="T40" fmla="*/ 5757 w 6400"/>
                  <a:gd name="T41" fmla="*/ 5179 h 6400"/>
                  <a:gd name="T42" fmla="*/ 5345 w 6400"/>
                  <a:gd name="T43" fmla="*/ 4643 h 6400"/>
                  <a:gd name="T44" fmla="*/ 6313 w 6400"/>
                  <a:gd name="T45" fmla="*/ 3696 h 6400"/>
                  <a:gd name="T46" fmla="*/ 6400 w 6400"/>
                  <a:gd name="T47" fmla="*/ 2792 h 6400"/>
                  <a:gd name="T48" fmla="*/ 6225 w 6400"/>
                  <a:gd name="T49" fmla="*/ 3521 h 6400"/>
                  <a:gd name="T50" fmla="*/ 5581 w 6400"/>
                  <a:gd name="T51" fmla="*/ 3594 h 6400"/>
                  <a:gd name="T52" fmla="*/ 5169 w 6400"/>
                  <a:gd name="T53" fmla="*/ 4715 h 6400"/>
                  <a:gd name="T54" fmla="*/ 5117 w 6400"/>
                  <a:gd name="T55" fmla="*/ 5571 h 6400"/>
                  <a:gd name="T56" fmla="*/ 4601 w 6400"/>
                  <a:gd name="T57" fmla="*/ 5159 h 6400"/>
                  <a:gd name="T58" fmla="*/ 3521 w 6400"/>
                  <a:gd name="T59" fmla="*/ 5661 h 6400"/>
                  <a:gd name="T60" fmla="*/ 2879 w 6400"/>
                  <a:gd name="T61" fmla="*/ 6225 h 6400"/>
                  <a:gd name="T62" fmla="*/ 2806 w 6400"/>
                  <a:gd name="T63" fmla="*/ 5575 h 6400"/>
                  <a:gd name="T64" fmla="*/ 1686 w 6400"/>
                  <a:gd name="T65" fmla="*/ 5168 h 6400"/>
                  <a:gd name="T66" fmla="*/ 829 w 6400"/>
                  <a:gd name="T67" fmla="*/ 5117 h 6400"/>
                  <a:gd name="T68" fmla="*/ 1240 w 6400"/>
                  <a:gd name="T69" fmla="*/ 4602 h 6400"/>
                  <a:gd name="T70" fmla="*/ 733 w 6400"/>
                  <a:gd name="T71" fmla="*/ 3521 h 6400"/>
                  <a:gd name="T72" fmla="*/ 175 w 6400"/>
                  <a:gd name="T73" fmla="*/ 2879 h 6400"/>
                  <a:gd name="T74" fmla="*/ 817 w 6400"/>
                  <a:gd name="T75" fmla="*/ 2806 h 6400"/>
                  <a:gd name="T76" fmla="*/ 1225 w 6400"/>
                  <a:gd name="T77" fmla="*/ 1679 h 6400"/>
                  <a:gd name="T78" fmla="*/ 1283 w 6400"/>
                  <a:gd name="T79" fmla="*/ 829 h 6400"/>
                  <a:gd name="T80" fmla="*/ 1791 w 6400"/>
                  <a:gd name="T81" fmla="*/ 1233 h 6400"/>
                  <a:gd name="T82" fmla="*/ 2879 w 6400"/>
                  <a:gd name="T83" fmla="*/ 725 h 6400"/>
                  <a:gd name="T84" fmla="*/ 3521 w 6400"/>
                  <a:gd name="T85" fmla="*/ 175 h 6400"/>
                  <a:gd name="T86" fmla="*/ 3594 w 6400"/>
                  <a:gd name="T87" fmla="*/ 811 h 6400"/>
                  <a:gd name="T88" fmla="*/ 4722 w 6400"/>
                  <a:gd name="T89" fmla="*/ 1224 h 6400"/>
                  <a:gd name="T90" fmla="*/ 5571 w 6400"/>
                  <a:gd name="T91" fmla="*/ 1283 h 6400"/>
                  <a:gd name="T92" fmla="*/ 5166 w 6400"/>
                  <a:gd name="T93" fmla="*/ 1792 h 6400"/>
                  <a:gd name="T94" fmla="*/ 5670 w 6400"/>
                  <a:gd name="T95" fmla="*/ 2879 h 6400"/>
                  <a:gd name="T96" fmla="*/ 6225 w 6400"/>
                  <a:gd name="T97" fmla="*/ 3521 h 6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400" h="6400">
                    <a:moveTo>
                      <a:pt x="6313" y="2704"/>
                    </a:moveTo>
                    <a:lnTo>
                      <a:pt x="5743" y="2704"/>
                    </a:lnTo>
                    <a:cubicBezTo>
                      <a:pt x="5677" y="2363"/>
                      <a:pt x="5544" y="2039"/>
                      <a:pt x="5350" y="1751"/>
                    </a:cubicBezTo>
                    <a:lnTo>
                      <a:pt x="5756" y="1345"/>
                    </a:lnTo>
                    <a:cubicBezTo>
                      <a:pt x="5791" y="1311"/>
                      <a:pt x="5791" y="1255"/>
                      <a:pt x="5756" y="1221"/>
                    </a:cubicBezTo>
                    <a:lnTo>
                      <a:pt x="5179" y="644"/>
                    </a:lnTo>
                    <a:cubicBezTo>
                      <a:pt x="5145" y="609"/>
                      <a:pt x="5089" y="609"/>
                      <a:pt x="5055" y="644"/>
                    </a:cubicBezTo>
                    <a:lnTo>
                      <a:pt x="4651" y="1048"/>
                    </a:lnTo>
                    <a:cubicBezTo>
                      <a:pt x="4362" y="853"/>
                      <a:pt x="4037" y="718"/>
                      <a:pt x="3696" y="651"/>
                    </a:cubicBezTo>
                    <a:lnTo>
                      <a:pt x="3696" y="88"/>
                    </a:lnTo>
                    <a:cubicBezTo>
                      <a:pt x="3696" y="39"/>
                      <a:pt x="3657" y="0"/>
                      <a:pt x="3608" y="0"/>
                    </a:cubicBezTo>
                    <a:lnTo>
                      <a:pt x="2792" y="0"/>
                    </a:lnTo>
                    <a:cubicBezTo>
                      <a:pt x="2743" y="0"/>
                      <a:pt x="2704" y="39"/>
                      <a:pt x="2704" y="88"/>
                    </a:cubicBezTo>
                    <a:lnTo>
                      <a:pt x="2704" y="651"/>
                    </a:lnTo>
                    <a:cubicBezTo>
                      <a:pt x="2363" y="718"/>
                      <a:pt x="2038" y="853"/>
                      <a:pt x="1749" y="1048"/>
                    </a:cubicBezTo>
                    <a:lnTo>
                      <a:pt x="1344" y="643"/>
                    </a:lnTo>
                    <a:cubicBezTo>
                      <a:pt x="1310" y="609"/>
                      <a:pt x="1255" y="609"/>
                      <a:pt x="1221" y="643"/>
                    </a:cubicBezTo>
                    <a:lnTo>
                      <a:pt x="644" y="1221"/>
                    </a:lnTo>
                    <a:cubicBezTo>
                      <a:pt x="609" y="1255"/>
                      <a:pt x="609" y="1311"/>
                      <a:pt x="644" y="1345"/>
                    </a:cubicBezTo>
                    <a:lnTo>
                      <a:pt x="1050" y="1751"/>
                    </a:lnTo>
                    <a:cubicBezTo>
                      <a:pt x="856" y="2039"/>
                      <a:pt x="723" y="2363"/>
                      <a:pt x="657" y="2704"/>
                    </a:cubicBezTo>
                    <a:lnTo>
                      <a:pt x="88" y="2704"/>
                    </a:lnTo>
                    <a:cubicBezTo>
                      <a:pt x="39" y="2704"/>
                      <a:pt x="0" y="2743"/>
                      <a:pt x="0" y="2792"/>
                    </a:cubicBezTo>
                    <a:lnTo>
                      <a:pt x="0" y="3608"/>
                    </a:lnTo>
                    <a:cubicBezTo>
                      <a:pt x="0" y="3657"/>
                      <a:pt x="39" y="3696"/>
                      <a:pt x="88" y="3696"/>
                    </a:cubicBezTo>
                    <a:lnTo>
                      <a:pt x="660" y="3696"/>
                    </a:lnTo>
                    <a:cubicBezTo>
                      <a:pt x="727" y="4035"/>
                      <a:pt x="862" y="4357"/>
                      <a:pt x="1055" y="4643"/>
                    </a:cubicBezTo>
                    <a:lnTo>
                      <a:pt x="644" y="5055"/>
                    </a:lnTo>
                    <a:cubicBezTo>
                      <a:pt x="609" y="5089"/>
                      <a:pt x="609" y="5145"/>
                      <a:pt x="644" y="5179"/>
                    </a:cubicBezTo>
                    <a:lnTo>
                      <a:pt x="1221" y="5757"/>
                    </a:lnTo>
                    <a:cubicBezTo>
                      <a:pt x="1255" y="5791"/>
                      <a:pt x="1311" y="5791"/>
                      <a:pt x="1345" y="5757"/>
                    </a:cubicBezTo>
                    <a:lnTo>
                      <a:pt x="1758" y="5343"/>
                    </a:lnTo>
                    <a:cubicBezTo>
                      <a:pt x="2044" y="5535"/>
                      <a:pt x="2366" y="5668"/>
                      <a:pt x="2704" y="5734"/>
                    </a:cubicBezTo>
                    <a:lnTo>
                      <a:pt x="2704" y="6313"/>
                    </a:lnTo>
                    <a:cubicBezTo>
                      <a:pt x="2704" y="6361"/>
                      <a:pt x="2743" y="6400"/>
                      <a:pt x="2792" y="6400"/>
                    </a:cubicBezTo>
                    <a:lnTo>
                      <a:pt x="3608" y="6400"/>
                    </a:lnTo>
                    <a:cubicBezTo>
                      <a:pt x="3657" y="6400"/>
                      <a:pt x="3696" y="6361"/>
                      <a:pt x="3696" y="6313"/>
                    </a:cubicBezTo>
                    <a:lnTo>
                      <a:pt x="3696" y="5734"/>
                    </a:lnTo>
                    <a:cubicBezTo>
                      <a:pt x="4034" y="5668"/>
                      <a:pt x="4356" y="5535"/>
                      <a:pt x="4642" y="5343"/>
                    </a:cubicBezTo>
                    <a:lnTo>
                      <a:pt x="5055" y="5757"/>
                    </a:lnTo>
                    <a:cubicBezTo>
                      <a:pt x="5090" y="5791"/>
                      <a:pt x="5145" y="5791"/>
                      <a:pt x="5179" y="5757"/>
                    </a:cubicBezTo>
                    <a:lnTo>
                      <a:pt x="5757" y="5179"/>
                    </a:lnTo>
                    <a:cubicBezTo>
                      <a:pt x="5791" y="5145"/>
                      <a:pt x="5791" y="5089"/>
                      <a:pt x="5757" y="5055"/>
                    </a:cubicBezTo>
                    <a:lnTo>
                      <a:pt x="5345" y="4643"/>
                    </a:lnTo>
                    <a:cubicBezTo>
                      <a:pt x="5538" y="4357"/>
                      <a:pt x="5673" y="4035"/>
                      <a:pt x="5740" y="3696"/>
                    </a:cubicBezTo>
                    <a:lnTo>
                      <a:pt x="6313" y="3696"/>
                    </a:lnTo>
                    <a:cubicBezTo>
                      <a:pt x="6361" y="3696"/>
                      <a:pt x="6400" y="3657"/>
                      <a:pt x="6400" y="3608"/>
                    </a:cubicBezTo>
                    <a:lnTo>
                      <a:pt x="6400" y="2792"/>
                    </a:lnTo>
                    <a:cubicBezTo>
                      <a:pt x="6400" y="2743"/>
                      <a:pt x="6361" y="2704"/>
                      <a:pt x="6313" y="2704"/>
                    </a:cubicBezTo>
                    <a:close/>
                    <a:moveTo>
                      <a:pt x="6225" y="3521"/>
                    </a:moveTo>
                    <a:lnTo>
                      <a:pt x="5667" y="3521"/>
                    </a:lnTo>
                    <a:cubicBezTo>
                      <a:pt x="5624" y="3521"/>
                      <a:pt x="5588" y="3552"/>
                      <a:pt x="5581" y="3594"/>
                    </a:cubicBezTo>
                    <a:cubicBezTo>
                      <a:pt x="5519" y="3958"/>
                      <a:pt x="5375" y="4303"/>
                      <a:pt x="5160" y="4602"/>
                    </a:cubicBezTo>
                    <a:cubicBezTo>
                      <a:pt x="5135" y="4637"/>
                      <a:pt x="5139" y="4685"/>
                      <a:pt x="5169" y="4715"/>
                    </a:cubicBezTo>
                    <a:lnTo>
                      <a:pt x="5571" y="5117"/>
                    </a:lnTo>
                    <a:lnTo>
                      <a:pt x="5117" y="5571"/>
                    </a:lnTo>
                    <a:lnTo>
                      <a:pt x="4714" y="5168"/>
                    </a:lnTo>
                    <a:cubicBezTo>
                      <a:pt x="4684" y="5138"/>
                      <a:pt x="4636" y="5134"/>
                      <a:pt x="4601" y="5159"/>
                    </a:cubicBezTo>
                    <a:cubicBezTo>
                      <a:pt x="4302" y="5372"/>
                      <a:pt x="3957" y="5515"/>
                      <a:pt x="3594" y="5575"/>
                    </a:cubicBezTo>
                    <a:cubicBezTo>
                      <a:pt x="3552" y="5582"/>
                      <a:pt x="3521" y="5618"/>
                      <a:pt x="3521" y="5661"/>
                    </a:cubicBezTo>
                    <a:lnTo>
                      <a:pt x="3521" y="6225"/>
                    </a:lnTo>
                    <a:lnTo>
                      <a:pt x="2879" y="6225"/>
                    </a:lnTo>
                    <a:lnTo>
                      <a:pt x="2879" y="5661"/>
                    </a:lnTo>
                    <a:cubicBezTo>
                      <a:pt x="2879" y="5618"/>
                      <a:pt x="2848" y="5582"/>
                      <a:pt x="2806" y="5575"/>
                    </a:cubicBezTo>
                    <a:cubicBezTo>
                      <a:pt x="2443" y="5515"/>
                      <a:pt x="2098" y="5372"/>
                      <a:pt x="1799" y="5159"/>
                    </a:cubicBezTo>
                    <a:cubicBezTo>
                      <a:pt x="1764" y="5134"/>
                      <a:pt x="1716" y="5138"/>
                      <a:pt x="1686" y="5168"/>
                    </a:cubicBezTo>
                    <a:lnTo>
                      <a:pt x="1283" y="5571"/>
                    </a:lnTo>
                    <a:lnTo>
                      <a:pt x="829" y="5117"/>
                    </a:lnTo>
                    <a:lnTo>
                      <a:pt x="1231" y="4715"/>
                    </a:lnTo>
                    <a:cubicBezTo>
                      <a:pt x="1261" y="4685"/>
                      <a:pt x="1265" y="4637"/>
                      <a:pt x="1240" y="4602"/>
                    </a:cubicBezTo>
                    <a:cubicBezTo>
                      <a:pt x="1025" y="4303"/>
                      <a:pt x="881" y="3958"/>
                      <a:pt x="819" y="3594"/>
                    </a:cubicBezTo>
                    <a:cubicBezTo>
                      <a:pt x="812" y="3552"/>
                      <a:pt x="776" y="3521"/>
                      <a:pt x="733" y="3521"/>
                    </a:cubicBezTo>
                    <a:lnTo>
                      <a:pt x="175" y="3521"/>
                    </a:lnTo>
                    <a:lnTo>
                      <a:pt x="175" y="2879"/>
                    </a:lnTo>
                    <a:lnTo>
                      <a:pt x="730" y="2879"/>
                    </a:lnTo>
                    <a:cubicBezTo>
                      <a:pt x="773" y="2879"/>
                      <a:pt x="810" y="2848"/>
                      <a:pt x="817" y="2806"/>
                    </a:cubicBezTo>
                    <a:cubicBezTo>
                      <a:pt x="876" y="2440"/>
                      <a:pt x="1019" y="2093"/>
                      <a:pt x="1234" y="1792"/>
                    </a:cubicBezTo>
                    <a:cubicBezTo>
                      <a:pt x="1259" y="1757"/>
                      <a:pt x="1255" y="1709"/>
                      <a:pt x="1225" y="1679"/>
                    </a:cubicBezTo>
                    <a:lnTo>
                      <a:pt x="829" y="1283"/>
                    </a:lnTo>
                    <a:lnTo>
                      <a:pt x="1283" y="829"/>
                    </a:lnTo>
                    <a:lnTo>
                      <a:pt x="1678" y="1224"/>
                    </a:lnTo>
                    <a:cubicBezTo>
                      <a:pt x="1708" y="1254"/>
                      <a:pt x="1756" y="1258"/>
                      <a:pt x="1791" y="1233"/>
                    </a:cubicBezTo>
                    <a:cubicBezTo>
                      <a:pt x="2092" y="1016"/>
                      <a:pt x="2439" y="872"/>
                      <a:pt x="2806" y="811"/>
                    </a:cubicBezTo>
                    <a:cubicBezTo>
                      <a:pt x="2848" y="804"/>
                      <a:pt x="2879" y="767"/>
                      <a:pt x="2879" y="725"/>
                    </a:cubicBezTo>
                    <a:lnTo>
                      <a:pt x="2879" y="175"/>
                    </a:lnTo>
                    <a:lnTo>
                      <a:pt x="3521" y="175"/>
                    </a:lnTo>
                    <a:lnTo>
                      <a:pt x="3521" y="725"/>
                    </a:lnTo>
                    <a:cubicBezTo>
                      <a:pt x="3521" y="767"/>
                      <a:pt x="3552" y="804"/>
                      <a:pt x="3594" y="811"/>
                    </a:cubicBezTo>
                    <a:cubicBezTo>
                      <a:pt x="3960" y="872"/>
                      <a:pt x="4308" y="1016"/>
                      <a:pt x="4609" y="1233"/>
                    </a:cubicBezTo>
                    <a:cubicBezTo>
                      <a:pt x="4644" y="1258"/>
                      <a:pt x="4692" y="1254"/>
                      <a:pt x="4722" y="1224"/>
                    </a:cubicBezTo>
                    <a:lnTo>
                      <a:pt x="5117" y="829"/>
                    </a:lnTo>
                    <a:lnTo>
                      <a:pt x="5571" y="1283"/>
                    </a:lnTo>
                    <a:lnTo>
                      <a:pt x="5175" y="1679"/>
                    </a:lnTo>
                    <a:cubicBezTo>
                      <a:pt x="5145" y="1709"/>
                      <a:pt x="5141" y="1757"/>
                      <a:pt x="5166" y="1792"/>
                    </a:cubicBezTo>
                    <a:cubicBezTo>
                      <a:pt x="5381" y="2093"/>
                      <a:pt x="5524" y="2440"/>
                      <a:pt x="5583" y="2806"/>
                    </a:cubicBezTo>
                    <a:cubicBezTo>
                      <a:pt x="5590" y="2848"/>
                      <a:pt x="5627" y="2879"/>
                      <a:pt x="5670" y="2879"/>
                    </a:cubicBezTo>
                    <a:lnTo>
                      <a:pt x="6225" y="2879"/>
                    </a:lnTo>
                    <a:lnTo>
                      <a:pt x="6225" y="352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82" name="Freeform 53">
                <a:extLst>
                  <a:ext uri="{FF2B5EF4-FFF2-40B4-BE49-F238E27FC236}">
                    <a16:creationId xmlns:a16="http://schemas.microsoft.com/office/drawing/2014/main" id="{43C535E3-968B-0E40-B78E-F8B686F281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12" y="1421"/>
                <a:ext cx="82" cy="84"/>
              </a:xfrm>
              <a:custGeom>
                <a:avLst/>
                <a:gdLst>
                  <a:gd name="T0" fmla="*/ 1498 w 1563"/>
                  <a:gd name="T1" fmla="*/ 715 h 1586"/>
                  <a:gd name="T2" fmla="*/ 127 w 1563"/>
                  <a:gd name="T3" fmla="*/ 29 h 1586"/>
                  <a:gd name="T4" fmla="*/ 0 w 1563"/>
                  <a:gd name="T5" fmla="*/ 107 h 1586"/>
                  <a:gd name="T6" fmla="*/ 0 w 1563"/>
                  <a:gd name="T7" fmla="*/ 1479 h 1586"/>
                  <a:gd name="T8" fmla="*/ 127 w 1563"/>
                  <a:gd name="T9" fmla="*/ 1557 h 1586"/>
                  <a:gd name="T10" fmla="*/ 1498 w 1563"/>
                  <a:gd name="T11" fmla="*/ 871 h 1586"/>
                  <a:gd name="T12" fmla="*/ 1498 w 1563"/>
                  <a:gd name="T13" fmla="*/ 715 h 1586"/>
                  <a:gd name="T14" fmla="*/ 175 w 1563"/>
                  <a:gd name="T15" fmla="*/ 1337 h 1586"/>
                  <a:gd name="T16" fmla="*/ 175 w 1563"/>
                  <a:gd name="T17" fmla="*/ 249 h 1586"/>
                  <a:gd name="T18" fmla="*/ 1264 w 1563"/>
                  <a:gd name="T19" fmla="*/ 793 h 1586"/>
                  <a:gd name="T20" fmla="*/ 175 w 1563"/>
                  <a:gd name="T21" fmla="*/ 1337 h 1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63" h="1586">
                    <a:moveTo>
                      <a:pt x="1498" y="715"/>
                    </a:moveTo>
                    <a:lnTo>
                      <a:pt x="127" y="29"/>
                    </a:lnTo>
                    <a:cubicBezTo>
                      <a:pt x="68" y="0"/>
                      <a:pt x="0" y="42"/>
                      <a:pt x="0" y="107"/>
                    </a:cubicBezTo>
                    <a:lnTo>
                      <a:pt x="0" y="1479"/>
                    </a:lnTo>
                    <a:cubicBezTo>
                      <a:pt x="0" y="1544"/>
                      <a:pt x="68" y="1586"/>
                      <a:pt x="127" y="1557"/>
                    </a:cubicBezTo>
                    <a:lnTo>
                      <a:pt x="1498" y="871"/>
                    </a:lnTo>
                    <a:cubicBezTo>
                      <a:pt x="1563" y="839"/>
                      <a:pt x="1563" y="747"/>
                      <a:pt x="1498" y="715"/>
                    </a:cubicBezTo>
                    <a:close/>
                    <a:moveTo>
                      <a:pt x="175" y="1337"/>
                    </a:moveTo>
                    <a:lnTo>
                      <a:pt x="175" y="249"/>
                    </a:lnTo>
                    <a:lnTo>
                      <a:pt x="1264" y="793"/>
                    </a:lnTo>
                    <a:lnTo>
                      <a:pt x="175" y="1337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83" name="Freeform 54">
                <a:extLst>
                  <a:ext uri="{FF2B5EF4-FFF2-40B4-BE49-F238E27FC236}">
                    <a16:creationId xmlns:a16="http://schemas.microsoft.com/office/drawing/2014/main" id="{A82218CF-5E2C-254F-9E1F-179931C438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34" y="1351"/>
                <a:ext cx="224" cy="224"/>
              </a:xfrm>
              <a:custGeom>
                <a:avLst/>
                <a:gdLst>
                  <a:gd name="T0" fmla="*/ 3479 w 4230"/>
                  <a:gd name="T1" fmla="*/ 751 h 4230"/>
                  <a:gd name="T2" fmla="*/ 3470 w 4230"/>
                  <a:gd name="T3" fmla="*/ 743 h 4230"/>
                  <a:gd name="T4" fmla="*/ 760 w 4230"/>
                  <a:gd name="T5" fmla="*/ 743 h 4230"/>
                  <a:gd name="T6" fmla="*/ 744 w 4230"/>
                  <a:gd name="T7" fmla="*/ 760 h 4230"/>
                  <a:gd name="T8" fmla="*/ 744 w 4230"/>
                  <a:gd name="T9" fmla="*/ 3470 h 4230"/>
                  <a:gd name="T10" fmla="*/ 760 w 4230"/>
                  <a:gd name="T11" fmla="*/ 3486 h 4230"/>
                  <a:gd name="T12" fmla="*/ 3470 w 4230"/>
                  <a:gd name="T13" fmla="*/ 3486 h 4230"/>
                  <a:gd name="T14" fmla="*/ 3487 w 4230"/>
                  <a:gd name="T15" fmla="*/ 3470 h 4230"/>
                  <a:gd name="T16" fmla="*/ 3487 w 4230"/>
                  <a:gd name="T17" fmla="*/ 760 h 4230"/>
                  <a:gd name="T18" fmla="*/ 3479 w 4230"/>
                  <a:gd name="T19" fmla="*/ 751 h 4230"/>
                  <a:gd name="T20" fmla="*/ 3415 w 4230"/>
                  <a:gd name="T21" fmla="*/ 3291 h 4230"/>
                  <a:gd name="T22" fmla="*/ 3192 w 4230"/>
                  <a:gd name="T23" fmla="*/ 3068 h 4230"/>
                  <a:gd name="T24" fmla="*/ 3551 w 4230"/>
                  <a:gd name="T25" fmla="*/ 2203 h 4230"/>
                  <a:gd name="T26" fmla="*/ 3867 w 4230"/>
                  <a:gd name="T27" fmla="*/ 2203 h 4230"/>
                  <a:gd name="T28" fmla="*/ 3415 w 4230"/>
                  <a:gd name="T29" fmla="*/ 3291 h 4230"/>
                  <a:gd name="T30" fmla="*/ 363 w 4230"/>
                  <a:gd name="T31" fmla="*/ 2203 h 4230"/>
                  <a:gd name="T32" fmla="*/ 679 w 4230"/>
                  <a:gd name="T33" fmla="*/ 2203 h 4230"/>
                  <a:gd name="T34" fmla="*/ 1038 w 4230"/>
                  <a:gd name="T35" fmla="*/ 3068 h 4230"/>
                  <a:gd name="T36" fmla="*/ 815 w 4230"/>
                  <a:gd name="T37" fmla="*/ 3291 h 4230"/>
                  <a:gd name="T38" fmla="*/ 363 w 4230"/>
                  <a:gd name="T39" fmla="*/ 2203 h 4230"/>
                  <a:gd name="T40" fmla="*/ 815 w 4230"/>
                  <a:gd name="T41" fmla="*/ 939 h 4230"/>
                  <a:gd name="T42" fmla="*/ 1038 w 4230"/>
                  <a:gd name="T43" fmla="*/ 1162 h 4230"/>
                  <a:gd name="T44" fmla="*/ 679 w 4230"/>
                  <a:gd name="T45" fmla="*/ 2028 h 4230"/>
                  <a:gd name="T46" fmla="*/ 363 w 4230"/>
                  <a:gd name="T47" fmla="*/ 2028 h 4230"/>
                  <a:gd name="T48" fmla="*/ 815 w 4230"/>
                  <a:gd name="T49" fmla="*/ 939 h 4230"/>
                  <a:gd name="T50" fmla="*/ 2115 w 4230"/>
                  <a:gd name="T51" fmla="*/ 3379 h 4230"/>
                  <a:gd name="T52" fmla="*/ 947 w 4230"/>
                  <a:gd name="T53" fmla="*/ 2599 h 4230"/>
                  <a:gd name="T54" fmla="*/ 1221 w 4230"/>
                  <a:gd name="T55" fmla="*/ 1221 h 4230"/>
                  <a:gd name="T56" fmla="*/ 2599 w 4230"/>
                  <a:gd name="T57" fmla="*/ 947 h 4230"/>
                  <a:gd name="T58" fmla="*/ 3379 w 4230"/>
                  <a:gd name="T59" fmla="*/ 2115 h 4230"/>
                  <a:gd name="T60" fmla="*/ 2115 w 4230"/>
                  <a:gd name="T61" fmla="*/ 3379 h 4230"/>
                  <a:gd name="T62" fmla="*/ 3068 w 4230"/>
                  <a:gd name="T63" fmla="*/ 1038 h 4230"/>
                  <a:gd name="T64" fmla="*/ 2203 w 4230"/>
                  <a:gd name="T65" fmla="*/ 679 h 4230"/>
                  <a:gd name="T66" fmla="*/ 2203 w 4230"/>
                  <a:gd name="T67" fmla="*/ 363 h 4230"/>
                  <a:gd name="T68" fmla="*/ 3291 w 4230"/>
                  <a:gd name="T69" fmla="*/ 815 h 4230"/>
                  <a:gd name="T70" fmla="*/ 3068 w 4230"/>
                  <a:gd name="T71" fmla="*/ 1038 h 4230"/>
                  <a:gd name="T72" fmla="*/ 2028 w 4230"/>
                  <a:gd name="T73" fmla="*/ 679 h 4230"/>
                  <a:gd name="T74" fmla="*/ 1162 w 4230"/>
                  <a:gd name="T75" fmla="*/ 1038 h 4230"/>
                  <a:gd name="T76" fmla="*/ 939 w 4230"/>
                  <a:gd name="T77" fmla="*/ 815 h 4230"/>
                  <a:gd name="T78" fmla="*/ 2028 w 4230"/>
                  <a:gd name="T79" fmla="*/ 363 h 4230"/>
                  <a:gd name="T80" fmla="*/ 2028 w 4230"/>
                  <a:gd name="T81" fmla="*/ 679 h 4230"/>
                  <a:gd name="T82" fmla="*/ 1162 w 4230"/>
                  <a:gd name="T83" fmla="*/ 3192 h 4230"/>
                  <a:gd name="T84" fmla="*/ 2028 w 4230"/>
                  <a:gd name="T85" fmla="*/ 3551 h 4230"/>
                  <a:gd name="T86" fmla="*/ 2028 w 4230"/>
                  <a:gd name="T87" fmla="*/ 3867 h 4230"/>
                  <a:gd name="T88" fmla="*/ 939 w 4230"/>
                  <a:gd name="T89" fmla="*/ 3415 h 4230"/>
                  <a:gd name="T90" fmla="*/ 1162 w 4230"/>
                  <a:gd name="T91" fmla="*/ 3192 h 4230"/>
                  <a:gd name="T92" fmla="*/ 2203 w 4230"/>
                  <a:gd name="T93" fmla="*/ 3551 h 4230"/>
                  <a:gd name="T94" fmla="*/ 3068 w 4230"/>
                  <a:gd name="T95" fmla="*/ 3192 h 4230"/>
                  <a:gd name="T96" fmla="*/ 3291 w 4230"/>
                  <a:gd name="T97" fmla="*/ 3415 h 4230"/>
                  <a:gd name="T98" fmla="*/ 2203 w 4230"/>
                  <a:gd name="T99" fmla="*/ 3867 h 4230"/>
                  <a:gd name="T100" fmla="*/ 2203 w 4230"/>
                  <a:gd name="T101" fmla="*/ 3551 h 4230"/>
                  <a:gd name="T102" fmla="*/ 3551 w 4230"/>
                  <a:gd name="T103" fmla="*/ 2028 h 4230"/>
                  <a:gd name="T104" fmla="*/ 3192 w 4230"/>
                  <a:gd name="T105" fmla="*/ 1162 h 4230"/>
                  <a:gd name="T106" fmla="*/ 3415 w 4230"/>
                  <a:gd name="T107" fmla="*/ 939 h 4230"/>
                  <a:gd name="T108" fmla="*/ 3867 w 4230"/>
                  <a:gd name="T109" fmla="*/ 2028 h 4230"/>
                  <a:gd name="T110" fmla="*/ 3551 w 4230"/>
                  <a:gd name="T111" fmla="*/ 2028 h 4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230" h="4230">
                    <a:moveTo>
                      <a:pt x="3479" y="751"/>
                    </a:moveTo>
                    <a:cubicBezTo>
                      <a:pt x="3476" y="748"/>
                      <a:pt x="3473" y="746"/>
                      <a:pt x="3470" y="743"/>
                    </a:cubicBezTo>
                    <a:cubicBezTo>
                      <a:pt x="2720" y="0"/>
                      <a:pt x="1510" y="0"/>
                      <a:pt x="760" y="743"/>
                    </a:cubicBezTo>
                    <a:cubicBezTo>
                      <a:pt x="753" y="748"/>
                      <a:pt x="748" y="753"/>
                      <a:pt x="744" y="760"/>
                    </a:cubicBezTo>
                    <a:cubicBezTo>
                      <a:pt x="0" y="1510"/>
                      <a:pt x="0" y="2719"/>
                      <a:pt x="744" y="3470"/>
                    </a:cubicBezTo>
                    <a:cubicBezTo>
                      <a:pt x="748" y="3476"/>
                      <a:pt x="753" y="3482"/>
                      <a:pt x="760" y="3486"/>
                    </a:cubicBezTo>
                    <a:cubicBezTo>
                      <a:pt x="1510" y="4230"/>
                      <a:pt x="2720" y="4230"/>
                      <a:pt x="3470" y="3486"/>
                    </a:cubicBezTo>
                    <a:cubicBezTo>
                      <a:pt x="3477" y="3482"/>
                      <a:pt x="3482" y="3476"/>
                      <a:pt x="3487" y="3470"/>
                    </a:cubicBezTo>
                    <a:cubicBezTo>
                      <a:pt x="4230" y="2719"/>
                      <a:pt x="4230" y="1510"/>
                      <a:pt x="3487" y="760"/>
                    </a:cubicBezTo>
                    <a:cubicBezTo>
                      <a:pt x="3484" y="756"/>
                      <a:pt x="3482" y="754"/>
                      <a:pt x="3479" y="751"/>
                    </a:cubicBezTo>
                    <a:close/>
                    <a:moveTo>
                      <a:pt x="3415" y="3291"/>
                    </a:moveTo>
                    <a:lnTo>
                      <a:pt x="3192" y="3068"/>
                    </a:lnTo>
                    <a:cubicBezTo>
                      <a:pt x="3405" y="2828"/>
                      <a:pt x="3532" y="2523"/>
                      <a:pt x="3551" y="2203"/>
                    </a:cubicBezTo>
                    <a:lnTo>
                      <a:pt x="3867" y="2203"/>
                    </a:lnTo>
                    <a:cubicBezTo>
                      <a:pt x="3847" y="2607"/>
                      <a:pt x="3687" y="2992"/>
                      <a:pt x="3415" y="3291"/>
                    </a:cubicBezTo>
                    <a:close/>
                    <a:moveTo>
                      <a:pt x="363" y="2203"/>
                    </a:moveTo>
                    <a:lnTo>
                      <a:pt x="679" y="2203"/>
                    </a:lnTo>
                    <a:cubicBezTo>
                      <a:pt x="698" y="2523"/>
                      <a:pt x="825" y="2828"/>
                      <a:pt x="1038" y="3068"/>
                    </a:cubicBezTo>
                    <a:lnTo>
                      <a:pt x="815" y="3291"/>
                    </a:lnTo>
                    <a:cubicBezTo>
                      <a:pt x="543" y="2992"/>
                      <a:pt x="383" y="2607"/>
                      <a:pt x="363" y="2203"/>
                    </a:cubicBezTo>
                    <a:close/>
                    <a:moveTo>
                      <a:pt x="815" y="939"/>
                    </a:moveTo>
                    <a:lnTo>
                      <a:pt x="1038" y="1162"/>
                    </a:lnTo>
                    <a:cubicBezTo>
                      <a:pt x="825" y="1402"/>
                      <a:pt x="698" y="1707"/>
                      <a:pt x="679" y="2028"/>
                    </a:cubicBezTo>
                    <a:lnTo>
                      <a:pt x="363" y="2028"/>
                    </a:lnTo>
                    <a:cubicBezTo>
                      <a:pt x="383" y="1623"/>
                      <a:pt x="543" y="1238"/>
                      <a:pt x="815" y="939"/>
                    </a:cubicBezTo>
                    <a:close/>
                    <a:moveTo>
                      <a:pt x="2115" y="3379"/>
                    </a:moveTo>
                    <a:cubicBezTo>
                      <a:pt x="1604" y="3379"/>
                      <a:pt x="1143" y="3071"/>
                      <a:pt x="947" y="2599"/>
                    </a:cubicBezTo>
                    <a:cubicBezTo>
                      <a:pt x="751" y="2126"/>
                      <a:pt x="860" y="1583"/>
                      <a:pt x="1221" y="1221"/>
                    </a:cubicBezTo>
                    <a:cubicBezTo>
                      <a:pt x="1583" y="860"/>
                      <a:pt x="2126" y="751"/>
                      <a:pt x="2599" y="947"/>
                    </a:cubicBezTo>
                    <a:cubicBezTo>
                      <a:pt x="3071" y="1143"/>
                      <a:pt x="3379" y="1604"/>
                      <a:pt x="3379" y="2115"/>
                    </a:cubicBezTo>
                    <a:cubicBezTo>
                      <a:pt x="3378" y="2813"/>
                      <a:pt x="2813" y="3378"/>
                      <a:pt x="2115" y="3379"/>
                    </a:cubicBezTo>
                    <a:close/>
                    <a:moveTo>
                      <a:pt x="3068" y="1038"/>
                    </a:moveTo>
                    <a:cubicBezTo>
                      <a:pt x="2828" y="825"/>
                      <a:pt x="2523" y="698"/>
                      <a:pt x="2203" y="679"/>
                    </a:cubicBezTo>
                    <a:lnTo>
                      <a:pt x="2203" y="363"/>
                    </a:lnTo>
                    <a:cubicBezTo>
                      <a:pt x="2607" y="383"/>
                      <a:pt x="2992" y="543"/>
                      <a:pt x="3291" y="815"/>
                    </a:cubicBezTo>
                    <a:lnTo>
                      <a:pt x="3068" y="1038"/>
                    </a:lnTo>
                    <a:close/>
                    <a:moveTo>
                      <a:pt x="2028" y="679"/>
                    </a:moveTo>
                    <a:cubicBezTo>
                      <a:pt x="1707" y="698"/>
                      <a:pt x="1402" y="825"/>
                      <a:pt x="1162" y="1038"/>
                    </a:cubicBezTo>
                    <a:lnTo>
                      <a:pt x="939" y="815"/>
                    </a:lnTo>
                    <a:cubicBezTo>
                      <a:pt x="1238" y="543"/>
                      <a:pt x="1623" y="383"/>
                      <a:pt x="2028" y="363"/>
                    </a:cubicBezTo>
                    <a:lnTo>
                      <a:pt x="2028" y="679"/>
                    </a:lnTo>
                    <a:close/>
                    <a:moveTo>
                      <a:pt x="1162" y="3192"/>
                    </a:moveTo>
                    <a:cubicBezTo>
                      <a:pt x="1402" y="3405"/>
                      <a:pt x="1707" y="3532"/>
                      <a:pt x="2028" y="3551"/>
                    </a:cubicBezTo>
                    <a:lnTo>
                      <a:pt x="2028" y="3867"/>
                    </a:lnTo>
                    <a:cubicBezTo>
                      <a:pt x="1623" y="3847"/>
                      <a:pt x="1238" y="3687"/>
                      <a:pt x="939" y="3415"/>
                    </a:cubicBezTo>
                    <a:lnTo>
                      <a:pt x="1162" y="3192"/>
                    </a:lnTo>
                    <a:close/>
                    <a:moveTo>
                      <a:pt x="2203" y="3551"/>
                    </a:moveTo>
                    <a:cubicBezTo>
                      <a:pt x="2523" y="3532"/>
                      <a:pt x="2828" y="3405"/>
                      <a:pt x="3068" y="3192"/>
                    </a:cubicBezTo>
                    <a:lnTo>
                      <a:pt x="3291" y="3415"/>
                    </a:lnTo>
                    <a:cubicBezTo>
                      <a:pt x="2992" y="3687"/>
                      <a:pt x="2607" y="3847"/>
                      <a:pt x="2203" y="3867"/>
                    </a:cubicBezTo>
                    <a:lnTo>
                      <a:pt x="2203" y="3551"/>
                    </a:lnTo>
                    <a:close/>
                    <a:moveTo>
                      <a:pt x="3551" y="2028"/>
                    </a:moveTo>
                    <a:cubicBezTo>
                      <a:pt x="3532" y="1707"/>
                      <a:pt x="3405" y="1402"/>
                      <a:pt x="3192" y="1162"/>
                    </a:cubicBezTo>
                    <a:lnTo>
                      <a:pt x="3415" y="939"/>
                    </a:lnTo>
                    <a:cubicBezTo>
                      <a:pt x="3687" y="1238"/>
                      <a:pt x="3847" y="1623"/>
                      <a:pt x="3867" y="2028"/>
                    </a:cubicBezTo>
                    <a:lnTo>
                      <a:pt x="3551" y="2028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</p:grpSp>
      <p:sp>
        <p:nvSpPr>
          <p:cNvPr id="184" name="TextBox 2">
            <a:extLst>
              <a:ext uri="{FF2B5EF4-FFF2-40B4-BE49-F238E27FC236}">
                <a16:creationId xmlns:a16="http://schemas.microsoft.com/office/drawing/2014/main" id="{135CE302-4585-AA4D-97F9-812271B5BE69}"/>
              </a:ext>
            </a:extLst>
          </p:cNvPr>
          <p:cNvSpPr txBox="1"/>
          <p:nvPr/>
        </p:nvSpPr>
        <p:spPr>
          <a:xfrm>
            <a:off x="9043459" y="4300438"/>
            <a:ext cx="252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utomatic reports</a:t>
            </a:r>
          </a:p>
        </p:txBody>
      </p:sp>
      <p:pic>
        <p:nvPicPr>
          <p:cNvPr id="185" name="Image 18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982373"/>
            <a:ext cx="1174243" cy="542252"/>
          </a:xfrm>
          <a:prstGeom prst="rect">
            <a:avLst/>
          </a:prstGeom>
        </p:spPr>
      </p:pic>
      <p:sp>
        <p:nvSpPr>
          <p:cNvPr id="186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rgbClr val="A136A0"/>
                </a:solidFill>
                <a:latin typeface="Lato Medium"/>
                <a:ea typeface="Lato Medium"/>
                <a:cs typeface="Lato Medium"/>
              </a:rPr>
              <a:t>be-safetech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.c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</a:t>
            </a:r>
            <a:r>
              <a:rPr lang="en-US" b="1" dirty="0">
                <a:solidFill>
                  <a:srgbClr val="FEC232"/>
                </a:solidFill>
                <a:latin typeface="Montserrat"/>
              </a:rPr>
              <a:t>| </a:t>
            </a:r>
            <a:fld id="{DABD2AA5-CABB-4467-8A69-C511B00C377E}" type="slidenum">
              <a:rPr lang="en-US" b="1" dirty="0" smtClean="0">
                <a:solidFill>
                  <a:srgbClr val="A136A0"/>
                </a:solidFill>
                <a:latin typeface="Montserrat"/>
              </a:rPr>
              <a:pPr algn="l" rtl="1"/>
              <a:t>14</a:t>
            </a:fld>
            <a:endParaRPr lang="en-US" b="1" dirty="0">
              <a:solidFill>
                <a:srgbClr val="A136A0"/>
              </a:solidFill>
              <a:latin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8575330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536FF1B-9B8D-EE4F-A943-088AE3FAD535}"/>
              </a:ext>
            </a:extLst>
          </p:cNvPr>
          <p:cNvSpPr/>
          <p:nvPr/>
        </p:nvSpPr>
        <p:spPr>
          <a:xfrm>
            <a:off x="299244" y="106170"/>
            <a:ext cx="1159351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Employee and Sub-Contractor Management</a:t>
            </a: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43C342B3-592E-EC45-9116-BAA5A8E6E414}"/>
              </a:ext>
            </a:extLst>
          </p:cNvPr>
          <p:cNvSpPr txBox="1"/>
          <p:nvPr/>
        </p:nvSpPr>
        <p:spPr>
          <a:xfrm>
            <a:off x="299244" y="1087416"/>
            <a:ext cx="3142456" cy="738664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anage your entire workforce, directly employed or sub contracted within one system</a:t>
            </a:r>
          </a:p>
        </p:txBody>
      </p:sp>
      <p:sp>
        <p:nvSpPr>
          <p:cNvPr id="8" name="TextBox 2">
            <a:extLst>
              <a:ext uri="{FF2B5EF4-FFF2-40B4-BE49-F238E27FC236}">
                <a16:creationId xmlns:a16="http://schemas.microsoft.com/office/drawing/2014/main" id="{81464961-20D9-9F4F-91A5-2C7FDD93EC5D}"/>
              </a:ext>
            </a:extLst>
          </p:cNvPr>
          <p:cNvSpPr txBox="1"/>
          <p:nvPr/>
        </p:nvSpPr>
        <p:spPr>
          <a:xfrm>
            <a:off x="299244" y="2193498"/>
            <a:ext cx="3142456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tore all training records within each individuals profile.</a:t>
            </a:r>
          </a:p>
        </p:txBody>
      </p:sp>
      <p:sp>
        <p:nvSpPr>
          <p:cNvPr id="9" name="TextBox 2">
            <a:extLst>
              <a:ext uri="{FF2B5EF4-FFF2-40B4-BE49-F238E27FC236}">
                <a16:creationId xmlns:a16="http://schemas.microsoft.com/office/drawing/2014/main" id="{49772930-0396-D44B-A2D4-50D10F866D8F}"/>
              </a:ext>
            </a:extLst>
          </p:cNvPr>
          <p:cNvSpPr txBox="1"/>
          <p:nvPr/>
        </p:nvSpPr>
        <p:spPr>
          <a:xfrm>
            <a:off x="299244" y="3191858"/>
            <a:ext cx="3142456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fine qualification expiries and automate notifications</a:t>
            </a:r>
          </a:p>
        </p:txBody>
      </p:sp>
      <p:sp>
        <p:nvSpPr>
          <p:cNvPr id="11" name="TextBox 2">
            <a:extLst>
              <a:ext uri="{FF2B5EF4-FFF2-40B4-BE49-F238E27FC236}">
                <a16:creationId xmlns:a16="http://schemas.microsoft.com/office/drawing/2014/main" id="{649B0765-5800-3048-A390-90023104A9A4}"/>
              </a:ext>
            </a:extLst>
          </p:cNvPr>
          <p:cNvSpPr txBox="1"/>
          <p:nvPr/>
        </p:nvSpPr>
        <p:spPr>
          <a:xfrm>
            <a:off x="299244" y="4082496"/>
            <a:ext cx="3142456" cy="738664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rack all signed documents by individual and have them robustly stored in one place</a:t>
            </a:r>
          </a:p>
        </p:txBody>
      </p:sp>
      <p:sp>
        <p:nvSpPr>
          <p:cNvPr id="12" name="TextBox 2">
            <a:extLst>
              <a:ext uri="{FF2B5EF4-FFF2-40B4-BE49-F238E27FC236}">
                <a16:creationId xmlns:a16="http://schemas.microsoft.com/office/drawing/2014/main" id="{424E5309-A88F-C44E-BFFE-202C99E22708}"/>
              </a:ext>
            </a:extLst>
          </p:cNvPr>
          <p:cNvSpPr txBox="1"/>
          <p:nvPr/>
        </p:nvSpPr>
        <p:spPr>
          <a:xfrm>
            <a:off x="299244" y="5188579"/>
            <a:ext cx="3142456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View the sign in records by individual to track time on site.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0605" y="1029133"/>
            <a:ext cx="8594459" cy="49860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982373"/>
            <a:ext cx="1174243" cy="542252"/>
          </a:xfrm>
          <a:prstGeom prst="rect">
            <a:avLst/>
          </a:prstGeom>
        </p:spPr>
      </p:pic>
      <p:sp>
        <p:nvSpPr>
          <p:cNvPr id="16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rgbClr val="A136A0"/>
                </a:solidFill>
                <a:latin typeface="Lato Medium"/>
                <a:ea typeface="Lato Medium"/>
                <a:cs typeface="Lato Medium"/>
              </a:rPr>
              <a:t>be-safetech.c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</a:t>
            </a:r>
            <a:r>
              <a:rPr lang="en-US" b="1" dirty="0">
                <a:solidFill>
                  <a:srgbClr val="FEC232"/>
                </a:solidFill>
                <a:latin typeface="Montserrat"/>
              </a:rPr>
              <a:t>| </a:t>
            </a:r>
            <a:fld id="{DABD2AA5-CABB-4467-8A69-C511B00C377E}" type="slidenum">
              <a:rPr lang="en-US" b="1" dirty="0" smtClean="0">
                <a:solidFill>
                  <a:srgbClr val="A136A0"/>
                </a:solidFill>
                <a:latin typeface="Montserrat"/>
              </a:rPr>
              <a:pPr algn="l" rtl="1"/>
              <a:t>15</a:t>
            </a:fld>
            <a:endParaRPr lang="en-US" b="1" dirty="0">
              <a:solidFill>
                <a:srgbClr val="A136A0"/>
              </a:solidFill>
              <a:latin typeface="Montserrat"/>
            </a:endParaRPr>
          </a:p>
        </p:txBody>
      </p:sp>
      <p:sp>
        <p:nvSpPr>
          <p:cNvPr id="117" name="Freeform 14">
            <a:extLst>
              <a:ext uri="{FF2B5EF4-FFF2-40B4-BE49-F238E27FC236}">
                <a16:creationId xmlns:a16="http://schemas.microsoft.com/office/drawing/2014/main" id="{7FA54939-6B8E-1343-884C-0CE695DCF2BA}"/>
              </a:ext>
            </a:extLst>
          </p:cNvPr>
          <p:cNvSpPr>
            <a:spLocks/>
          </p:cNvSpPr>
          <p:nvPr/>
        </p:nvSpPr>
        <p:spPr bwMode="auto">
          <a:xfrm>
            <a:off x="3730266" y="5046867"/>
            <a:ext cx="640677" cy="80664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18" name="Groupe 117"/>
          <p:cNvGrpSpPr/>
          <p:nvPr/>
        </p:nvGrpSpPr>
        <p:grpSpPr>
          <a:xfrm>
            <a:off x="3730266" y="1009140"/>
            <a:ext cx="640677" cy="806645"/>
            <a:chOff x="3594933" y="1099345"/>
            <a:chExt cx="474722" cy="597699"/>
          </a:xfrm>
        </p:grpSpPr>
        <p:sp>
          <p:nvSpPr>
            <p:cNvPr id="119" name="Freeform 14">
              <a:extLst>
                <a:ext uri="{FF2B5EF4-FFF2-40B4-BE49-F238E27FC236}">
                  <a16:creationId xmlns:a16="http://schemas.microsoft.com/office/drawing/2014/main" id="{21E75793-FCD7-E640-8EAC-91AB64E42A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933" y="1099345"/>
              <a:ext cx="474722" cy="597699"/>
            </a:xfrm>
            <a:custGeom>
              <a:avLst/>
              <a:gdLst>
                <a:gd name="T0" fmla="*/ 555 w 841"/>
                <a:gd name="T1" fmla="*/ 971 h 1059"/>
                <a:gd name="T2" fmla="*/ 841 w 841"/>
                <a:gd name="T3" fmla="*/ 436 h 1059"/>
                <a:gd name="T4" fmla="*/ 841 w 841"/>
                <a:gd name="T5" fmla="*/ 204 h 1059"/>
                <a:gd name="T6" fmla="*/ 772 w 841"/>
                <a:gd name="T7" fmla="*/ 109 h 1059"/>
                <a:gd name="T8" fmla="*/ 452 w 841"/>
                <a:gd name="T9" fmla="*/ 5 h 1059"/>
                <a:gd name="T10" fmla="*/ 420 w 841"/>
                <a:gd name="T11" fmla="*/ 0 h 1059"/>
                <a:gd name="T12" fmla="*/ 390 w 841"/>
                <a:gd name="T13" fmla="*/ 5 h 1059"/>
                <a:gd name="T14" fmla="*/ 70 w 841"/>
                <a:gd name="T15" fmla="*/ 109 h 1059"/>
                <a:gd name="T16" fmla="*/ 0 w 841"/>
                <a:gd name="T17" fmla="*/ 204 h 1059"/>
                <a:gd name="T18" fmla="*/ 0 w 841"/>
                <a:gd name="T19" fmla="*/ 436 h 1059"/>
                <a:gd name="T20" fmla="*/ 287 w 841"/>
                <a:gd name="T21" fmla="*/ 971 h 1059"/>
                <a:gd name="T22" fmla="*/ 420 w 841"/>
                <a:gd name="T23" fmla="*/ 1059 h 1059"/>
                <a:gd name="T24" fmla="*/ 555 w 841"/>
                <a:gd name="T25" fmla="*/ 971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1" h="1059">
                  <a:moveTo>
                    <a:pt x="555" y="971"/>
                  </a:moveTo>
                  <a:cubicBezTo>
                    <a:pt x="733" y="851"/>
                    <a:pt x="841" y="651"/>
                    <a:pt x="841" y="436"/>
                  </a:cubicBezTo>
                  <a:lnTo>
                    <a:pt x="841" y="204"/>
                  </a:lnTo>
                  <a:cubicBezTo>
                    <a:pt x="841" y="161"/>
                    <a:pt x="813" y="122"/>
                    <a:pt x="772" y="109"/>
                  </a:cubicBezTo>
                  <a:lnTo>
                    <a:pt x="452" y="5"/>
                  </a:lnTo>
                  <a:cubicBezTo>
                    <a:pt x="441" y="2"/>
                    <a:pt x="431" y="0"/>
                    <a:pt x="420" y="0"/>
                  </a:cubicBezTo>
                  <a:cubicBezTo>
                    <a:pt x="410" y="0"/>
                    <a:pt x="400" y="2"/>
                    <a:pt x="390" y="5"/>
                  </a:cubicBezTo>
                  <a:lnTo>
                    <a:pt x="70" y="109"/>
                  </a:lnTo>
                  <a:cubicBezTo>
                    <a:pt x="28" y="122"/>
                    <a:pt x="0" y="161"/>
                    <a:pt x="0" y="204"/>
                  </a:cubicBezTo>
                  <a:lnTo>
                    <a:pt x="0" y="436"/>
                  </a:lnTo>
                  <a:cubicBezTo>
                    <a:pt x="0" y="651"/>
                    <a:pt x="108" y="851"/>
                    <a:pt x="287" y="971"/>
                  </a:cubicBezTo>
                  <a:lnTo>
                    <a:pt x="420" y="1059"/>
                  </a:lnTo>
                  <a:lnTo>
                    <a:pt x="555" y="971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E57518"/>
                </a:gs>
                <a:gs pos="0">
                  <a:srgbClr val="FEC232">
                    <a:alpha val="7800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120" name="Group 95">
              <a:extLst>
                <a:ext uri="{FF2B5EF4-FFF2-40B4-BE49-F238E27FC236}">
                  <a16:creationId xmlns:a16="http://schemas.microsoft.com/office/drawing/2014/main" id="{E72922AD-878F-8F42-9022-988410B7732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48527" y="1181452"/>
              <a:ext cx="351038" cy="352073"/>
              <a:chOff x="4661" y="809"/>
              <a:chExt cx="339" cy="340"/>
            </a:xfrm>
            <a:solidFill>
              <a:srgbClr val="A136A0"/>
            </a:solidFill>
          </p:grpSpPr>
          <p:sp>
            <p:nvSpPr>
              <p:cNvPr id="121" name="Freeform 96">
                <a:extLst>
                  <a:ext uri="{FF2B5EF4-FFF2-40B4-BE49-F238E27FC236}">
                    <a16:creationId xmlns:a16="http://schemas.microsoft.com/office/drawing/2014/main" id="{B4926B28-07C7-5241-9DC2-C72E055D4E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1" y="960"/>
                <a:ext cx="199" cy="37"/>
              </a:xfrm>
              <a:custGeom>
                <a:avLst/>
                <a:gdLst>
                  <a:gd name="T0" fmla="*/ 4759 w 5009"/>
                  <a:gd name="T1" fmla="*/ 808 h 933"/>
                  <a:gd name="T2" fmla="*/ 4884 w 5009"/>
                  <a:gd name="T3" fmla="*/ 933 h 933"/>
                  <a:gd name="T4" fmla="*/ 5009 w 5009"/>
                  <a:gd name="T5" fmla="*/ 808 h 933"/>
                  <a:gd name="T6" fmla="*/ 4551 w 5009"/>
                  <a:gd name="T7" fmla="*/ 350 h 933"/>
                  <a:gd name="T8" fmla="*/ 2630 w 5009"/>
                  <a:gd name="T9" fmla="*/ 350 h 933"/>
                  <a:gd name="T10" fmla="*/ 2630 w 5009"/>
                  <a:gd name="T11" fmla="*/ 125 h 933"/>
                  <a:gd name="T12" fmla="*/ 2505 w 5009"/>
                  <a:gd name="T13" fmla="*/ 0 h 933"/>
                  <a:gd name="T14" fmla="*/ 2380 w 5009"/>
                  <a:gd name="T15" fmla="*/ 125 h 933"/>
                  <a:gd name="T16" fmla="*/ 2380 w 5009"/>
                  <a:gd name="T17" fmla="*/ 350 h 933"/>
                  <a:gd name="T18" fmla="*/ 459 w 5009"/>
                  <a:gd name="T19" fmla="*/ 350 h 933"/>
                  <a:gd name="T20" fmla="*/ 0 w 5009"/>
                  <a:gd name="T21" fmla="*/ 808 h 933"/>
                  <a:gd name="T22" fmla="*/ 125 w 5009"/>
                  <a:gd name="T23" fmla="*/ 933 h 933"/>
                  <a:gd name="T24" fmla="*/ 250 w 5009"/>
                  <a:gd name="T25" fmla="*/ 808 h 933"/>
                  <a:gd name="T26" fmla="*/ 459 w 5009"/>
                  <a:gd name="T27" fmla="*/ 600 h 933"/>
                  <a:gd name="T28" fmla="*/ 4551 w 5009"/>
                  <a:gd name="T29" fmla="*/ 600 h 933"/>
                  <a:gd name="T30" fmla="*/ 4759 w 5009"/>
                  <a:gd name="T31" fmla="*/ 808 h 933"/>
                  <a:gd name="T32" fmla="*/ 4759 w 5009"/>
                  <a:gd name="T33" fmla="*/ 808 h 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09" h="933">
                    <a:moveTo>
                      <a:pt x="4759" y="808"/>
                    </a:moveTo>
                    <a:cubicBezTo>
                      <a:pt x="4759" y="877"/>
                      <a:pt x="4815" y="933"/>
                      <a:pt x="4884" y="933"/>
                    </a:cubicBezTo>
                    <a:cubicBezTo>
                      <a:pt x="4953" y="933"/>
                      <a:pt x="5009" y="877"/>
                      <a:pt x="5009" y="808"/>
                    </a:cubicBezTo>
                    <a:cubicBezTo>
                      <a:pt x="5009" y="556"/>
                      <a:pt x="4803" y="350"/>
                      <a:pt x="4551" y="350"/>
                    </a:cubicBezTo>
                    <a:lnTo>
                      <a:pt x="2630" y="350"/>
                    </a:lnTo>
                    <a:lnTo>
                      <a:pt x="2630" y="125"/>
                    </a:lnTo>
                    <a:cubicBezTo>
                      <a:pt x="2630" y="56"/>
                      <a:pt x="2574" y="0"/>
                      <a:pt x="2505" y="0"/>
                    </a:cubicBezTo>
                    <a:cubicBezTo>
                      <a:pt x="2436" y="0"/>
                      <a:pt x="2380" y="56"/>
                      <a:pt x="2380" y="125"/>
                    </a:cubicBezTo>
                    <a:lnTo>
                      <a:pt x="2380" y="350"/>
                    </a:lnTo>
                    <a:lnTo>
                      <a:pt x="459" y="350"/>
                    </a:lnTo>
                    <a:cubicBezTo>
                      <a:pt x="206" y="350"/>
                      <a:pt x="0" y="556"/>
                      <a:pt x="0" y="808"/>
                    </a:cubicBezTo>
                    <a:cubicBezTo>
                      <a:pt x="0" y="877"/>
                      <a:pt x="56" y="933"/>
                      <a:pt x="125" y="933"/>
                    </a:cubicBezTo>
                    <a:cubicBezTo>
                      <a:pt x="194" y="933"/>
                      <a:pt x="250" y="877"/>
                      <a:pt x="250" y="808"/>
                    </a:cubicBezTo>
                    <a:cubicBezTo>
                      <a:pt x="250" y="694"/>
                      <a:pt x="344" y="600"/>
                      <a:pt x="459" y="600"/>
                    </a:cubicBezTo>
                    <a:lnTo>
                      <a:pt x="4551" y="600"/>
                    </a:lnTo>
                    <a:cubicBezTo>
                      <a:pt x="4666" y="600"/>
                      <a:pt x="4759" y="694"/>
                      <a:pt x="4759" y="808"/>
                    </a:cubicBezTo>
                    <a:close/>
                    <a:moveTo>
                      <a:pt x="4759" y="808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22" name="Freeform 97">
                <a:extLst>
                  <a:ext uri="{FF2B5EF4-FFF2-40B4-BE49-F238E27FC236}">
                    <a16:creationId xmlns:a16="http://schemas.microsoft.com/office/drawing/2014/main" id="{9C5B4E5A-190B-3847-89C7-EE882C4662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48" y="1010"/>
                <a:ext cx="152" cy="139"/>
              </a:xfrm>
              <a:custGeom>
                <a:avLst/>
                <a:gdLst>
                  <a:gd name="T0" fmla="*/ 3447 w 3824"/>
                  <a:gd name="T1" fmla="*/ 0 h 3486"/>
                  <a:gd name="T2" fmla="*/ 377 w 3824"/>
                  <a:gd name="T3" fmla="*/ 0 h 3486"/>
                  <a:gd name="T4" fmla="*/ 0 w 3824"/>
                  <a:gd name="T5" fmla="*/ 378 h 3486"/>
                  <a:gd name="T6" fmla="*/ 0 w 3824"/>
                  <a:gd name="T7" fmla="*/ 2489 h 3486"/>
                  <a:gd name="T8" fmla="*/ 377 w 3824"/>
                  <a:gd name="T9" fmla="*/ 2866 h 3486"/>
                  <a:gd name="T10" fmla="*/ 1209 w 3824"/>
                  <a:gd name="T11" fmla="*/ 2866 h 3486"/>
                  <a:gd name="T12" fmla="*/ 1146 w 3824"/>
                  <a:gd name="T13" fmla="*/ 3236 h 3486"/>
                  <a:gd name="T14" fmla="*/ 1117 w 3824"/>
                  <a:gd name="T15" fmla="*/ 3236 h 3486"/>
                  <a:gd name="T16" fmla="*/ 992 w 3824"/>
                  <a:gd name="T17" fmla="*/ 3361 h 3486"/>
                  <a:gd name="T18" fmla="*/ 1117 w 3824"/>
                  <a:gd name="T19" fmla="*/ 3486 h 3486"/>
                  <a:gd name="T20" fmla="*/ 2708 w 3824"/>
                  <a:gd name="T21" fmla="*/ 3486 h 3486"/>
                  <a:gd name="T22" fmla="*/ 2833 w 3824"/>
                  <a:gd name="T23" fmla="*/ 3361 h 3486"/>
                  <a:gd name="T24" fmla="*/ 2708 w 3824"/>
                  <a:gd name="T25" fmla="*/ 3236 h 3486"/>
                  <a:gd name="T26" fmla="*/ 2678 w 3824"/>
                  <a:gd name="T27" fmla="*/ 3236 h 3486"/>
                  <a:gd name="T28" fmla="*/ 2616 w 3824"/>
                  <a:gd name="T29" fmla="*/ 2866 h 3486"/>
                  <a:gd name="T30" fmla="*/ 3447 w 3824"/>
                  <a:gd name="T31" fmla="*/ 2866 h 3486"/>
                  <a:gd name="T32" fmla="*/ 3824 w 3824"/>
                  <a:gd name="T33" fmla="*/ 2489 h 3486"/>
                  <a:gd name="T34" fmla="*/ 3824 w 3824"/>
                  <a:gd name="T35" fmla="*/ 378 h 3486"/>
                  <a:gd name="T36" fmla="*/ 3447 w 3824"/>
                  <a:gd name="T37" fmla="*/ 0 h 3486"/>
                  <a:gd name="T38" fmla="*/ 377 w 3824"/>
                  <a:gd name="T39" fmla="*/ 250 h 3486"/>
                  <a:gd name="T40" fmla="*/ 3447 w 3824"/>
                  <a:gd name="T41" fmla="*/ 250 h 3486"/>
                  <a:gd name="T42" fmla="*/ 3574 w 3824"/>
                  <a:gd name="T43" fmla="*/ 378 h 3486"/>
                  <a:gd name="T44" fmla="*/ 3574 w 3824"/>
                  <a:gd name="T45" fmla="*/ 2007 h 3486"/>
                  <a:gd name="T46" fmla="*/ 2902 w 3824"/>
                  <a:gd name="T47" fmla="*/ 2007 h 3486"/>
                  <a:gd name="T48" fmla="*/ 2902 w 3824"/>
                  <a:gd name="T49" fmla="*/ 1991 h 3486"/>
                  <a:gd name="T50" fmla="*/ 2899 w 3824"/>
                  <a:gd name="T51" fmla="*/ 1962 h 3486"/>
                  <a:gd name="T52" fmla="*/ 2749 w 3824"/>
                  <a:gd name="T53" fmla="*/ 1714 h 3486"/>
                  <a:gd name="T54" fmla="*/ 2367 w 3824"/>
                  <a:gd name="T55" fmla="*/ 1570 h 3486"/>
                  <a:gd name="T56" fmla="*/ 1458 w 3824"/>
                  <a:gd name="T57" fmla="*/ 1570 h 3486"/>
                  <a:gd name="T58" fmla="*/ 1076 w 3824"/>
                  <a:gd name="T59" fmla="*/ 1714 h 3486"/>
                  <a:gd name="T60" fmla="*/ 926 w 3824"/>
                  <a:gd name="T61" fmla="*/ 1965 h 3486"/>
                  <a:gd name="T62" fmla="*/ 922 w 3824"/>
                  <a:gd name="T63" fmla="*/ 1993 h 3486"/>
                  <a:gd name="T64" fmla="*/ 922 w 3824"/>
                  <a:gd name="T65" fmla="*/ 2008 h 3486"/>
                  <a:gd name="T66" fmla="*/ 250 w 3824"/>
                  <a:gd name="T67" fmla="*/ 2008 h 3486"/>
                  <a:gd name="T68" fmla="*/ 250 w 3824"/>
                  <a:gd name="T69" fmla="*/ 378 h 3486"/>
                  <a:gd name="T70" fmla="*/ 377 w 3824"/>
                  <a:gd name="T71" fmla="*/ 250 h 3486"/>
                  <a:gd name="T72" fmla="*/ 1173 w 3824"/>
                  <a:gd name="T73" fmla="*/ 2008 h 3486"/>
                  <a:gd name="T74" fmla="*/ 1245 w 3824"/>
                  <a:gd name="T75" fmla="*/ 1898 h 3486"/>
                  <a:gd name="T76" fmla="*/ 1458 w 3824"/>
                  <a:gd name="T77" fmla="*/ 1820 h 3486"/>
                  <a:gd name="T78" fmla="*/ 2367 w 3824"/>
                  <a:gd name="T79" fmla="*/ 1820 h 3486"/>
                  <a:gd name="T80" fmla="*/ 2580 w 3824"/>
                  <a:gd name="T81" fmla="*/ 1898 h 3486"/>
                  <a:gd name="T82" fmla="*/ 2652 w 3824"/>
                  <a:gd name="T83" fmla="*/ 2007 h 3486"/>
                  <a:gd name="T84" fmla="*/ 2652 w 3824"/>
                  <a:gd name="T85" fmla="*/ 2008 h 3486"/>
                  <a:gd name="T86" fmla="*/ 1173 w 3824"/>
                  <a:gd name="T87" fmla="*/ 2008 h 3486"/>
                  <a:gd name="T88" fmla="*/ 2425 w 3824"/>
                  <a:gd name="T89" fmla="*/ 3236 h 3486"/>
                  <a:gd name="T90" fmla="*/ 1400 w 3824"/>
                  <a:gd name="T91" fmla="*/ 3236 h 3486"/>
                  <a:gd name="T92" fmla="*/ 1462 w 3824"/>
                  <a:gd name="T93" fmla="*/ 2866 h 3486"/>
                  <a:gd name="T94" fmla="*/ 2362 w 3824"/>
                  <a:gd name="T95" fmla="*/ 2866 h 3486"/>
                  <a:gd name="T96" fmla="*/ 2425 w 3824"/>
                  <a:gd name="T97" fmla="*/ 3236 h 3486"/>
                  <a:gd name="T98" fmla="*/ 3574 w 3824"/>
                  <a:gd name="T99" fmla="*/ 2489 h 3486"/>
                  <a:gd name="T100" fmla="*/ 3447 w 3824"/>
                  <a:gd name="T101" fmla="*/ 2616 h 3486"/>
                  <a:gd name="T102" fmla="*/ 377 w 3824"/>
                  <a:gd name="T103" fmla="*/ 2616 h 3486"/>
                  <a:gd name="T104" fmla="*/ 250 w 3824"/>
                  <a:gd name="T105" fmla="*/ 2489 h 3486"/>
                  <a:gd name="T106" fmla="*/ 250 w 3824"/>
                  <a:gd name="T107" fmla="*/ 2258 h 3486"/>
                  <a:gd name="T108" fmla="*/ 3574 w 3824"/>
                  <a:gd name="T109" fmla="*/ 2258 h 3486"/>
                  <a:gd name="T110" fmla="*/ 3574 w 3824"/>
                  <a:gd name="T111" fmla="*/ 2489 h 3486"/>
                  <a:gd name="T112" fmla="*/ 3574 w 3824"/>
                  <a:gd name="T113" fmla="*/ 2489 h 3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824" h="3486">
                    <a:moveTo>
                      <a:pt x="3447" y="0"/>
                    </a:moveTo>
                    <a:lnTo>
                      <a:pt x="377" y="0"/>
                    </a:lnTo>
                    <a:cubicBezTo>
                      <a:pt x="169" y="0"/>
                      <a:pt x="0" y="170"/>
                      <a:pt x="0" y="378"/>
                    </a:cubicBezTo>
                    <a:lnTo>
                      <a:pt x="0" y="2489"/>
                    </a:lnTo>
                    <a:cubicBezTo>
                      <a:pt x="0" y="2697"/>
                      <a:pt x="169" y="2866"/>
                      <a:pt x="377" y="2866"/>
                    </a:cubicBezTo>
                    <a:lnTo>
                      <a:pt x="1209" y="2866"/>
                    </a:lnTo>
                    <a:lnTo>
                      <a:pt x="1146" y="3236"/>
                    </a:lnTo>
                    <a:lnTo>
                      <a:pt x="1117" y="3236"/>
                    </a:lnTo>
                    <a:cubicBezTo>
                      <a:pt x="1047" y="3236"/>
                      <a:pt x="992" y="3292"/>
                      <a:pt x="992" y="3361"/>
                    </a:cubicBezTo>
                    <a:cubicBezTo>
                      <a:pt x="992" y="3430"/>
                      <a:pt x="1047" y="3486"/>
                      <a:pt x="1117" y="3486"/>
                    </a:cubicBezTo>
                    <a:lnTo>
                      <a:pt x="2708" y="3486"/>
                    </a:lnTo>
                    <a:cubicBezTo>
                      <a:pt x="2777" y="3486"/>
                      <a:pt x="2833" y="3430"/>
                      <a:pt x="2833" y="3361"/>
                    </a:cubicBezTo>
                    <a:cubicBezTo>
                      <a:pt x="2833" y="3292"/>
                      <a:pt x="2777" y="3236"/>
                      <a:pt x="2708" y="3236"/>
                    </a:cubicBezTo>
                    <a:lnTo>
                      <a:pt x="2678" y="3236"/>
                    </a:lnTo>
                    <a:lnTo>
                      <a:pt x="2616" y="2866"/>
                    </a:lnTo>
                    <a:lnTo>
                      <a:pt x="3447" y="2866"/>
                    </a:lnTo>
                    <a:cubicBezTo>
                      <a:pt x="3655" y="2866"/>
                      <a:pt x="3824" y="2697"/>
                      <a:pt x="3824" y="2489"/>
                    </a:cubicBezTo>
                    <a:lnTo>
                      <a:pt x="3824" y="378"/>
                    </a:lnTo>
                    <a:cubicBezTo>
                      <a:pt x="3824" y="170"/>
                      <a:pt x="3655" y="0"/>
                      <a:pt x="3447" y="0"/>
                    </a:cubicBezTo>
                    <a:close/>
                    <a:moveTo>
                      <a:pt x="377" y="250"/>
                    </a:moveTo>
                    <a:lnTo>
                      <a:pt x="3447" y="250"/>
                    </a:lnTo>
                    <a:cubicBezTo>
                      <a:pt x="3517" y="250"/>
                      <a:pt x="3574" y="307"/>
                      <a:pt x="3574" y="378"/>
                    </a:cubicBezTo>
                    <a:lnTo>
                      <a:pt x="3574" y="2007"/>
                    </a:lnTo>
                    <a:lnTo>
                      <a:pt x="2902" y="2007"/>
                    </a:lnTo>
                    <a:lnTo>
                      <a:pt x="2902" y="1991"/>
                    </a:lnTo>
                    <a:cubicBezTo>
                      <a:pt x="2902" y="1981"/>
                      <a:pt x="2901" y="1971"/>
                      <a:pt x="2899" y="1962"/>
                    </a:cubicBezTo>
                    <a:cubicBezTo>
                      <a:pt x="2877" y="1869"/>
                      <a:pt x="2825" y="1784"/>
                      <a:pt x="2749" y="1714"/>
                    </a:cubicBezTo>
                    <a:cubicBezTo>
                      <a:pt x="2648" y="1621"/>
                      <a:pt x="2512" y="1570"/>
                      <a:pt x="2367" y="1570"/>
                    </a:cubicBezTo>
                    <a:lnTo>
                      <a:pt x="1458" y="1570"/>
                    </a:lnTo>
                    <a:cubicBezTo>
                      <a:pt x="1313" y="1570"/>
                      <a:pt x="1177" y="1621"/>
                      <a:pt x="1076" y="1714"/>
                    </a:cubicBezTo>
                    <a:cubicBezTo>
                      <a:pt x="999" y="1784"/>
                      <a:pt x="947" y="1871"/>
                      <a:pt x="926" y="1965"/>
                    </a:cubicBezTo>
                    <a:cubicBezTo>
                      <a:pt x="923" y="1974"/>
                      <a:pt x="922" y="1984"/>
                      <a:pt x="922" y="1993"/>
                    </a:cubicBezTo>
                    <a:lnTo>
                      <a:pt x="922" y="2008"/>
                    </a:lnTo>
                    <a:lnTo>
                      <a:pt x="250" y="2008"/>
                    </a:lnTo>
                    <a:lnTo>
                      <a:pt x="250" y="378"/>
                    </a:lnTo>
                    <a:cubicBezTo>
                      <a:pt x="250" y="307"/>
                      <a:pt x="307" y="250"/>
                      <a:pt x="377" y="250"/>
                    </a:cubicBezTo>
                    <a:close/>
                    <a:moveTo>
                      <a:pt x="1173" y="2008"/>
                    </a:moveTo>
                    <a:cubicBezTo>
                      <a:pt x="1185" y="1968"/>
                      <a:pt x="1210" y="1930"/>
                      <a:pt x="1245" y="1898"/>
                    </a:cubicBezTo>
                    <a:cubicBezTo>
                      <a:pt x="1300" y="1848"/>
                      <a:pt x="1376" y="1820"/>
                      <a:pt x="1458" y="1820"/>
                    </a:cubicBezTo>
                    <a:lnTo>
                      <a:pt x="2367" y="1820"/>
                    </a:lnTo>
                    <a:cubicBezTo>
                      <a:pt x="2449" y="1820"/>
                      <a:pt x="2525" y="1848"/>
                      <a:pt x="2580" y="1898"/>
                    </a:cubicBezTo>
                    <a:cubicBezTo>
                      <a:pt x="2615" y="1930"/>
                      <a:pt x="2640" y="1968"/>
                      <a:pt x="2652" y="2007"/>
                    </a:cubicBezTo>
                    <a:lnTo>
                      <a:pt x="2652" y="2008"/>
                    </a:lnTo>
                    <a:lnTo>
                      <a:pt x="1173" y="2008"/>
                    </a:lnTo>
                    <a:close/>
                    <a:moveTo>
                      <a:pt x="2425" y="3236"/>
                    </a:moveTo>
                    <a:lnTo>
                      <a:pt x="1400" y="3236"/>
                    </a:lnTo>
                    <a:lnTo>
                      <a:pt x="1462" y="2866"/>
                    </a:lnTo>
                    <a:lnTo>
                      <a:pt x="2362" y="2866"/>
                    </a:lnTo>
                    <a:lnTo>
                      <a:pt x="2425" y="3236"/>
                    </a:lnTo>
                    <a:close/>
                    <a:moveTo>
                      <a:pt x="3574" y="2489"/>
                    </a:moveTo>
                    <a:cubicBezTo>
                      <a:pt x="3574" y="2559"/>
                      <a:pt x="3517" y="2616"/>
                      <a:pt x="3447" y="2616"/>
                    </a:cubicBezTo>
                    <a:lnTo>
                      <a:pt x="377" y="2616"/>
                    </a:lnTo>
                    <a:cubicBezTo>
                      <a:pt x="307" y="2616"/>
                      <a:pt x="250" y="2559"/>
                      <a:pt x="250" y="2489"/>
                    </a:cubicBezTo>
                    <a:lnTo>
                      <a:pt x="250" y="2258"/>
                    </a:lnTo>
                    <a:lnTo>
                      <a:pt x="3574" y="2258"/>
                    </a:lnTo>
                    <a:lnTo>
                      <a:pt x="3574" y="2489"/>
                    </a:lnTo>
                    <a:close/>
                    <a:moveTo>
                      <a:pt x="3574" y="2489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23" name="Freeform 98">
                <a:extLst>
                  <a:ext uri="{FF2B5EF4-FFF2-40B4-BE49-F238E27FC236}">
                    <a16:creationId xmlns:a16="http://schemas.microsoft.com/office/drawing/2014/main" id="{AF252D27-E73F-DB4B-8F06-D17E8A1997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07" y="1031"/>
                <a:ext cx="34" cy="38"/>
              </a:xfrm>
              <a:custGeom>
                <a:avLst/>
                <a:gdLst>
                  <a:gd name="T0" fmla="*/ 136 w 847"/>
                  <a:gd name="T1" fmla="*/ 831 h 957"/>
                  <a:gd name="T2" fmla="*/ 275 w 847"/>
                  <a:gd name="T3" fmla="*/ 916 h 957"/>
                  <a:gd name="T4" fmla="*/ 423 w 847"/>
                  <a:gd name="T5" fmla="*/ 957 h 957"/>
                  <a:gd name="T6" fmla="*/ 572 w 847"/>
                  <a:gd name="T7" fmla="*/ 916 h 957"/>
                  <a:gd name="T8" fmla="*/ 711 w 847"/>
                  <a:gd name="T9" fmla="*/ 831 h 957"/>
                  <a:gd name="T10" fmla="*/ 847 w 847"/>
                  <a:gd name="T11" fmla="*/ 587 h 957"/>
                  <a:gd name="T12" fmla="*/ 847 w 847"/>
                  <a:gd name="T13" fmla="*/ 310 h 957"/>
                  <a:gd name="T14" fmla="*/ 538 w 847"/>
                  <a:gd name="T15" fmla="*/ 0 h 957"/>
                  <a:gd name="T16" fmla="*/ 309 w 847"/>
                  <a:gd name="T17" fmla="*/ 0 h 957"/>
                  <a:gd name="T18" fmla="*/ 0 w 847"/>
                  <a:gd name="T19" fmla="*/ 310 h 957"/>
                  <a:gd name="T20" fmla="*/ 0 w 847"/>
                  <a:gd name="T21" fmla="*/ 587 h 957"/>
                  <a:gd name="T22" fmla="*/ 136 w 847"/>
                  <a:gd name="T23" fmla="*/ 831 h 957"/>
                  <a:gd name="T24" fmla="*/ 250 w 847"/>
                  <a:gd name="T25" fmla="*/ 310 h 957"/>
                  <a:gd name="T26" fmla="*/ 309 w 847"/>
                  <a:gd name="T27" fmla="*/ 250 h 957"/>
                  <a:gd name="T28" fmla="*/ 538 w 847"/>
                  <a:gd name="T29" fmla="*/ 250 h 957"/>
                  <a:gd name="T30" fmla="*/ 597 w 847"/>
                  <a:gd name="T31" fmla="*/ 310 h 957"/>
                  <a:gd name="T32" fmla="*/ 597 w 847"/>
                  <a:gd name="T33" fmla="*/ 587 h 957"/>
                  <a:gd name="T34" fmla="*/ 580 w 847"/>
                  <a:gd name="T35" fmla="*/ 618 h 957"/>
                  <a:gd name="T36" fmla="*/ 442 w 847"/>
                  <a:gd name="T37" fmla="*/ 702 h 957"/>
                  <a:gd name="T38" fmla="*/ 405 w 847"/>
                  <a:gd name="T39" fmla="*/ 702 h 957"/>
                  <a:gd name="T40" fmla="*/ 267 w 847"/>
                  <a:gd name="T41" fmla="*/ 618 h 957"/>
                  <a:gd name="T42" fmla="*/ 250 w 847"/>
                  <a:gd name="T43" fmla="*/ 587 h 957"/>
                  <a:gd name="T44" fmla="*/ 250 w 847"/>
                  <a:gd name="T45" fmla="*/ 310 h 957"/>
                  <a:gd name="T46" fmla="*/ 250 w 847"/>
                  <a:gd name="T47" fmla="*/ 310 h 9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47" h="957">
                    <a:moveTo>
                      <a:pt x="136" y="831"/>
                    </a:moveTo>
                    <a:lnTo>
                      <a:pt x="275" y="916"/>
                    </a:lnTo>
                    <a:cubicBezTo>
                      <a:pt x="321" y="943"/>
                      <a:pt x="372" y="957"/>
                      <a:pt x="423" y="957"/>
                    </a:cubicBezTo>
                    <a:cubicBezTo>
                      <a:pt x="475" y="957"/>
                      <a:pt x="526" y="943"/>
                      <a:pt x="572" y="916"/>
                    </a:cubicBezTo>
                    <a:lnTo>
                      <a:pt x="711" y="831"/>
                    </a:lnTo>
                    <a:cubicBezTo>
                      <a:pt x="795" y="780"/>
                      <a:pt x="847" y="686"/>
                      <a:pt x="847" y="587"/>
                    </a:cubicBezTo>
                    <a:lnTo>
                      <a:pt x="847" y="310"/>
                    </a:lnTo>
                    <a:cubicBezTo>
                      <a:pt x="847" y="140"/>
                      <a:pt x="708" y="0"/>
                      <a:pt x="538" y="0"/>
                    </a:cubicBezTo>
                    <a:lnTo>
                      <a:pt x="309" y="0"/>
                    </a:lnTo>
                    <a:cubicBezTo>
                      <a:pt x="138" y="0"/>
                      <a:pt x="0" y="140"/>
                      <a:pt x="0" y="310"/>
                    </a:cubicBezTo>
                    <a:lnTo>
                      <a:pt x="0" y="587"/>
                    </a:lnTo>
                    <a:cubicBezTo>
                      <a:pt x="0" y="686"/>
                      <a:pt x="52" y="780"/>
                      <a:pt x="136" y="831"/>
                    </a:cubicBezTo>
                    <a:close/>
                    <a:moveTo>
                      <a:pt x="250" y="310"/>
                    </a:moveTo>
                    <a:cubicBezTo>
                      <a:pt x="250" y="277"/>
                      <a:pt x="276" y="250"/>
                      <a:pt x="309" y="250"/>
                    </a:cubicBezTo>
                    <a:lnTo>
                      <a:pt x="538" y="250"/>
                    </a:lnTo>
                    <a:cubicBezTo>
                      <a:pt x="571" y="250"/>
                      <a:pt x="597" y="277"/>
                      <a:pt x="597" y="310"/>
                    </a:cubicBezTo>
                    <a:lnTo>
                      <a:pt x="597" y="587"/>
                    </a:lnTo>
                    <a:cubicBezTo>
                      <a:pt x="597" y="599"/>
                      <a:pt x="591" y="611"/>
                      <a:pt x="580" y="618"/>
                    </a:cubicBezTo>
                    <a:lnTo>
                      <a:pt x="442" y="702"/>
                    </a:lnTo>
                    <a:cubicBezTo>
                      <a:pt x="431" y="709"/>
                      <a:pt x="416" y="709"/>
                      <a:pt x="405" y="702"/>
                    </a:cubicBezTo>
                    <a:lnTo>
                      <a:pt x="267" y="618"/>
                    </a:lnTo>
                    <a:cubicBezTo>
                      <a:pt x="256" y="611"/>
                      <a:pt x="250" y="599"/>
                      <a:pt x="250" y="587"/>
                    </a:cubicBezTo>
                    <a:lnTo>
                      <a:pt x="250" y="310"/>
                    </a:lnTo>
                    <a:close/>
                    <a:moveTo>
                      <a:pt x="250" y="31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24" name="Freeform 99">
                <a:extLst>
                  <a:ext uri="{FF2B5EF4-FFF2-40B4-BE49-F238E27FC236}">
                    <a16:creationId xmlns:a16="http://schemas.microsoft.com/office/drawing/2014/main" id="{BA3B0A13-3A59-E744-993B-EDDB1082F4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55" y="809"/>
                <a:ext cx="152" cy="139"/>
              </a:xfrm>
              <a:custGeom>
                <a:avLst/>
                <a:gdLst>
                  <a:gd name="T0" fmla="*/ 377 w 3824"/>
                  <a:gd name="T1" fmla="*/ 2866 h 3486"/>
                  <a:gd name="T2" fmla="*/ 1208 w 3824"/>
                  <a:gd name="T3" fmla="*/ 2866 h 3486"/>
                  <a:gd name="T4" fmla="*/ 1146 w 3824"/>
                  <a:gd name="T5" fmla="*/ 3236 h 3486"/>
                  <a:gd name="T6" fmla="*/ 1116 w 3824"/>
                  <a:gd name="T7" fmla="*/ 3236 h 3486"/>
                  <a:gd name="T8" fmla="*/ 991 w 3824"/>
                  <a:gd name="T9" fmla="*/ 3361 h 3486"/>
                  <a:gd name="T10" fmla="*/ 1116 w 3824"/>
                  <a:gd name="T11" fmla="*/ 3486 h 3486"/>
                  <a:gd name="T12" fmla="*/ 2707 w 3824"/>
                  <a:gd name="T13" fmla="*/ 3486 h 3486"/>
                  <a:gd name="T14" fmla="*/ 2832 w 3824"/>
                  <a:gd name="T15" fmla="*/ 3361 h 3486"/>
                  <a:gd name="T16" fmla="*/ 2707 w 3824"/>
                  <a:gd name="T17" fmla="*/ 3236 h 3486"/>
                  <a:gd name="T18" fmla="*/ 2678 w 3824"/>
                  <a:gd name="T19" fmla="*/ 3236 h 3486"/>
                  <a:gd name="T20" fmla="*/ 2615 w 3824"/>
                  <a:gd name="T21" fmla="*/ 2866 h 3486"/>
                  <a:gd name="T22" fmla="*/ 3446 w 3824"/>
                  <a:gd name="T23" fmla="*/ 2866 h 3486"/>
                  <a:gd name="T24" fmla="*/ 3824 w 3824"/>
                  <a:gd name="T25" fmla="*/ 2489 h 3486"/>
                  <a:gd name="T26" fmla="*/ 3824 w 3824"/>
                  <a:gd name="T27" fmla="*/ 1317 h 3486"/>
                  <a:gd name="T28" fmla="*/ 3699 w 3824"/>
                  <a:gd name="T29" fmla="*/ 1192 h 3486"/>
                  <a:gd name="T30" fmla="*/ 3574 w 3824"/>
                  <a:gd name="T31" fmla="*/ 1317 h 3486"/>
                  <a:gd name="T32" fmla="*/ 3574 w 3824"/>
                  <a:gd name="T33" fmla="*/ 2007 h 3486"/>
                  <a:gd name="T34" fmla="*/ 2901 w 3824"/>
                  <a:gd name="T35" fmla="*/ 2007 h 3486"/>
                  <a:gd name="T36" fmla="*/ 2901 w 3824"/>
                  <a:gd name="T37" fmla="*/ 1990 h 3486"/>
                  <a:gd name="T38" fmla="*/ 2898 w 3824"/>
                  <a:gd name="T39" fmla="*/ 1962 h 3486"/>
                  <a:gd name="T40" fmla="*/ 2749 w 3824"/>
                  <a:gd name="T41" fmla="*/ 1714 h 3486"/>
                  <a:gd name="T42" fmla="*/ 2367 w 3824"/>
                  <a:gd name="T43" fmla="*/ 1569 h 3486"/>
                  <a:gd name="T44" fmla="*/ 1457 w 3824"/>
                  <a:gd name="T45" fmla="*/ 1569 h 3486"/>
                  <a:gd name="T46" fmla="*/ 1075 w 3824"/>
                  <a:gd name="T47" fmla="*/ 1714 h 3486"/>
                  <a:gd name="T48" fmla="*/ 925 w 3824"/>
                  <a:gd name="T49" fmla="*/ 1965 h 3486"/>
                  <a:gd name="T50" fmla="*/ 922 w 3824"/>
                  <a:gd name="T51" fmla="*/ 1993 h 3486"/>
                  <a:gd name="T52" fmla="*/ 922 w 3824"/>
                  <a:gd name="T53" fmla="*/ 2007 h 3486"/>
                  <a:gd name="T54" fmla="*/ 250 w 3824"/>
                  <a:gd name="T55" fmla="*/ 2007 h 3486"/>
                  <a:gd name="T56" fmla="*/ 250 w 3824"/>
                  <a:gd name="T57" fmla="*/ 377 h 3486"/>
                  <a:gd name="T58" fmla="*/ 377 w 3824"/>
                  <a:gd name="T59" fmla="*/ 250 h 3486"/>
                  <a:gd name="T60" fmla="*/ 3446 w 3824"/>
                  <a:gd name="T61" fmla="*/ 250 h 3486"/>
                  <a:gd name="T62" fmla="*/ 3574 w 3824"/>
                  <a:gd name="T63" fmla="*/ 377 h 3486"/>
                  <a:gd name="T64" fmla="*/ 3574 w 3824"/>
                  <a:gd name="T65" fmla="*/ 783 h 3486"/>
                  <a:gd name="T66" fmla="*/ 3699 w 3824"/>
                  <a:gd name="T67" fmla="*/ 908 h 3486"/>
                  <a:gd name="T68" fmla="*/ 3824 w 3824"/>
                  <a:gd name="T69" fmla="*/ 783 h 3486"/>
                  <a:gd name="T70" fmla="*/ 3824 w 3824"/>
                  <a:gd name="T71" fmla="*/ 377 h 3486"/>
                  <a:gd name="T72" fmla="*/ 3446 w 3824"/>
                  <a:gd name="T73" fmla="*/ 0 h 3486"/>
                  <a:gd name="T74" fmla="*/ 377 w 3824"/>
                  <a:gd name="T75" fmla="*/ 0 h 3486"/>
                  <a:gd name="T76" fmla="*/ 0 w 3824"/>
                  <a:gd name="T77" fmla="*/ 377 h 3486"/>
                  <a:gd name="T78" fmla="*/ 0 w 3824"/>
                  <a:gd name="T79" fmla="*/ 2489 h 3486"/>
                  <a:gd name="T80" fmla="*/ 377 w 3824"/>
                  <a:gd name="T81" fmla="*/ 2866 h 3486"/>
                  <a:gd name="T82" fmla="*/ 2424 w 3824"/>
                  <a:gd name="T83" fmla="*/ 3236 h 3486"/>
                  <a:gd name="T84" fmla="*/ 1399 w 3824"/>
                  <a:gd name="T85" fmla="*/ 3236 h 3486"/>
                  <a:gd name="T86" fmla="*/ 1462 w 3824"/>
                  <a:gd name="T87" fmla="*/ 2866 h 3486"/>
                  <a:gd name="T88" fmla="*/ 2362 w 3824"/>
                  <a:gd name="T89" fmla="*/ 2866 h 3486"/>
                  <a:gd name="T90" fmla="*/ 2424 w 3824"/>
                  <a:gd name="T91" fmla="*/ 3236 h 3486"/>
                  <a:gd name="T92" fmla="*/ 1244 w 3824"/>
                  <a:gd name="T93" fmla="*/ 1898 h 3486"/>
                  <a:gd name="T94" fmla="*/ 1457 w 3824"/>
                  <a:gd name="T95" fmla="*/ 1819 h 3486"/>
                  <a:gd name="T96" fmla="*/ 2367 w 3824"/>
                  <a:gd name="T97" fmla="*/ 1819 h 3486"/>
                  <a:gd name="T98" fmla="*/ 2580 w 3824"/>
                  <a:gd name="T99" fmla="*/ 1898 h 3486"/>
                  <a:gd name="T100" fmla="*/ 2651 w 3824"/>
                  <a:gd name="T101" fmla="*/ 2007 h 3486"/>
                  <a:gd name="T102" fmla="*/ 2651 w 3824"/>
                  <a:gd name="T103" fmla="*/ 2007 h 3486"/>
                  <a:gd name="T104" fmla="*/ 1172 w 3824"/>
                  <a:gd name="T105" fmla="*/ 2007 h 3486"/>
                  <a:gd name="T106" fmla="*/ 1244 w 3824"/>
                  <a:gd name="T107" fmla="*/ 1898 h 3486"/>
                  <a:gd name="T108" fmla="*/ 3574 w 3824"/>
                  <a:gd name="T109" fmla="*/ 2257 h 3486"/>
                  <a:gd name="T110" fmla="*/ 3574 w 3824"/>
                  <a:gd name="T111" fmla="*/ 2489 h 3486"/>
                  <a:gd name="T112" fmla="*/ 3446 w 3824"/>
                  <a:gd name="T113" fmla="*/ 2616 h 3486"/>
                  <a:gd name="T114" fmla="*/ 377 w 3824"/>
                  <a:gd name="T115" fmla="*/ 2616 h 3486"/>
                  <a:gd name="T116" fmla="*/ 250 w 3824"/>
                  <a:gd name="T117" fmla="*/ 2489 h 3486"/>
                  <a:gd name="T118" fmla="*/ 250 w 3824"/>
                  <a:gd name="T119" fmla="*/ 2257 h 3486"/>
                  <a:gd name="T120" fmla="*/ 3574 w 3824"/>
                  <a:gd name="T121" fmla="*/ 2257 h 3486"/>
                  <a:gd name="T122" fmla="*/ 3574 w 3824"/>
                  <a:gd name="T123" fmla="*/ 2257 h 3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824" h="3486">
                    <a:moveTo>
                      <a:pt x="377" y="2866"/>
                    </a:moveTo>
                    <a:lnTo>
                      <a:pt x="1208" y="2866"/>
                    </a:lnTo>
                    <a:lnTo>
                      <a:pt x="1146" y="3236"/>
                    </a:lnTo>
                    <a:lnTo>
                      <a:pt x="1116" y="3236"/>
                    </a:lnTo>
                    <a:cubicBezTo>
                      <a:pt x="1047" y="3236"/>
                      <a:pt x="991" y="3292"/>
                      <a:pt x="991" y="3361"/>
                    </a:cubicBezTo>
                    <a:cubicBezTo>
                      <a:pt x="991" y="3430"/>
                      <a:pt x="1047" y="3486"/>
                      <a:pt x="1116" y="3486"/>
                    </a:cubicBezTo>
                    <a:lnTo>
                      <a:pt x="2707" y="3486"/>
                    </a:lnTo>
                    <a:cubicBezTo>
                      <a:pt x="2776" y="3486"/>
                      <a:pt x="2832" y="3430"/>
                      <a:pt x="2832" y="3361"/>
                    </a:cubicBezTo>
                    <a:cubicBezTo>
                      <a:pt x="2832" y="3292"/>
                      <a:pt x="2776" y="3236"/>
                      <a:pt x="2707" y="3236"/>
                    </a:cubicBezTo>
                    <a:lnTo>
                      <a:pt x="2678" y="3236"/>
                    </a:lnTo>
                    <a:lnTo>
                      <a:pt x="2615" y="2866"/>
                    </a:lnTo>
                    <a:lnTo>
                      <a:pt x="3446" y="2866"/>
                    </a:lnTo>
                    <a:cubicBezTo>
                      <a:pt x="3654" y="2866"/>
                      <a:pt x="3824" y="2697"/>
                      <a:pt x="3824" y="2489"/>
                    </a:cubicBezTo>
                    <a:lnTo>
                      <a:pt x="3824" y="1317"/>
                    </a:lnTo>
                    <a:cubicBezTo>
                      <a:pt x="3824" y="1248"/>
                      <a:pt x="3768" y="1192"/>
                      <a:pt x="3699" y="1192"/>
                    </a:cubicBezTo>
                    <a:cubicBezTo>
                      <a:pt x="3630" y="1192"/>
                      <a:pt x="3574" y="1248"/>
                      <a:pt x="3574" y="1317"/>
                    </a:cubicBezTo>
                    <a:lnTo>
                      <a:pt x="3574" y="2007"/>
                    </a:lnTo>
                    <a:lnTo>
                      <a:pt x="2901" y="2007"/>
                    </a:lnTo>
                    <a:lnTo>
                      <a:pt x="2901" y="1990"/>
                    </a:lnTo>
                    <a:cubicBezTo>
                      <a:pt x="2901" y="1981"/>
                      <a:pt x="2900" y="1971"/>
                      <a:pt x="2898" y="1962"/>
                    </a:cubicBezTo>
                    <a:cubicBezTo>
                      <a:pt x="2876" y="1869"/>
                      <a:pt x="2824" y="1784"/>
                      <a:pt x="2749" y="1714"/>
                    </a:cubicBezTo>
                    <a:cubicBezTo>
                      <a:pt x="2647" y="1621"/>
                      <a:pt x="2512" y="1569"/>
                      <a:pt x="2367" y="1569"/>
                    </a:cubicBezTo>
                    <a:lnTo>
                      <a:pt x="1457" y="1569"/>
                    </a:lnTo>
                    <a:cubicBezTo>
                      <a:pt x="1312" y="1569"/>
                      <a:pt x="1177" y="1621"/>
                      <a:pt x="1075" y="1714"/>
                    </a:cubicBezTo>
                    <a:cubicBezTo>
                      <a:pt x="999" y="1784"/>
                      <a:pt x="947" y="1871"/>
                      <a:pt x="925" y="1965"/>
                    </a:cubicBezTo>
                    <a:cubicBezTo>
                      <a:pt x="923" y="1974"/>
                      <a:pt x="922" y="1984"/>
                      <a:pt x="922" y="1993"/>
                    </a:cubicBezTo>
                    <a:lnTo>
                      <a:pt x="922" y="2007"/>
                    </a:lnTo>
                    <a:lnTo>
                      <a:pt x="250" y="2007"/>
                    </a:lnTo>
                    <a:lnTo>
                      <a:pt x="250" y="377"/>
                    </a:lnTo>
                    <a:cubicBezTo>
                      <a:pt x="250" y="307"/>
                      <a:pt x="307" y="250"/>
                      <a:pt x="377" y="250"/>
                    </a:cubicBezTo>
                    <a:lnTo>
                      <a:pt x="3446" y="250"/>
                    </a:lnTo>
                    <a:cubicBezTo>
                      <a:pt x="3517" y="250"/>
                      <a:pt x="3574" y="307"/>
                      <a:pt x="3574" y="377"/>
                    </a:cubicBezTo>
                    <a:lnTo>
                      <a:pt x="3574" y="783"/>
                    </a:lnTo>
                    <a:cubicBezTo>
                      <a:pt x="3574" y="852"/>
                      <a:pt x="3630" y="908"/>
                      <a:pt x="3699" y="908"/>
                    </a:cubicBezTo>
                    <a:cubicBezTo>
                      <a:pt x="3768" y="908"/>
                      <a:pt x="3824" y="852"/>
                      <a:pt x="3824" y="783"/>
                    </a:cubicBezTo>
                    <a:lnTo>
                      <a:pt x="3824" y="377"/>
                    </a:lnTo>
                    <a:cubicBezTo>
                      <a:pt x="3824" y="169"/>
                      <a:pt x="3654" y="0"/>
                      <a:pt x="3446" y="0"/>
                    </a:cubicBezTo>
                    <a:lnTo>
                      <a:pt x="377" y="0"/>
                    </a:lnTo>
                    <a:cubicBezTo>
                      <a:pt x="169" y="0"/>
                      <a:pt x="0" y="169"/>
                      <a:pt x="0" y="377"/>
                    </a:cubicBezTo>
                    <a:lnTo>
                      <a:pt x="0" y="2489"/>
                    </a:lnTo>
                    <a:cubicBezTo>
                      <a:pt x="0" y="2697"/>
                      <a:pt x="169" y="2866"/>
                      <a:pt x="377" y="2866"/>
                    </a:cubicBezTo>
                    <a:close/>
                    <a:moveTo>
                      <a:pt x="2424" y="3236"/>
                    </a:moveTo>
                    <a:lnTo>
                      <a:pt x="1399" y="3236"/>
                    </a:lnTo>
                    <a:lnTo>
                      <a:pt x="1462" y="2866"/>
                    </a:lnTo>
                    <a:lnTo>
                      <a:pt x="2362" y="2866"/>
                    </a:lnTo>
                    <a:lnTo>
                      <a:pt x="2424" y="3236"/>
                    </a:lnTo>
                    <a:close/>
                    <a:moveTo>
                      <a:pt x="1244" y="1898"/>
                    </a:moveTo>
                    <a:cubicBezTo>
                      <a:pt x="1299" y="1847"/>
                      <a:pt x="1375" y="1819"/>
                      <a:pt x="1457" y="1819"/>
                    </a:cubicBezTo>
                    <a:lnTo>
                      <a:pt x="2367" y="1819"/>
                    </a:lnTo>
                    <a:cubicBezTo>
                      <a:pt x="2449" y="1819"/>
                      <a:pt x="2524" y="1847"/>
                      <a:pt x="2580" y="1898"/>
                    </a:cubicBezTo>
                    <a:cubicBezTo>
                      <a:pt x="2615" y="1930"/>
                      <a:pt x="2639" y="1968"/>
                      <a:pt x="2651" y="2007"/>
                    </a:cubicBezTo>
                    <a:lnTo>
                      <a:pt x="2651" y="2007"/>
                    </a:lnTo>
                    <a:lnTo>
                      <a:pt x="1172" y="2007"/>
                    </a:lnTo>
                    <a:cubicBezTo>
                      <a:pt x="1185" y="1968"/>
                      <a:pt x="1209" y="1930"/>
                      <a:pt x="1244" y="1898"/>
                    </a:cubicBezTo>
                    <a:close/>
                    <a:moveTo>
                      <a:pt x="3574" y="2257"/>
                    </a:moveTo>
                    <a:lnTo>
                      <a:pt x="3574" y="2489"/>
                    </a:lnTo>
                    <a:cubicBezTo>
                      <a:pt x="3574" y="2559"/>
                      <a:pt x="3517" y="2616"/>
                      <a:pt x="3446" y="2616"/>
                    </a:cubicBezTo>
                    <a:lnTo>
                      <a:pt x="377" y="2616"/>
                    </a:lnTo>
                    <a:cubicBezTo>
                      <a:pt x="307" y="2616"/>
                      <a:pt x="250" y="2559"/>
                      <a:pt x="250" y="2489"/>
                    </a:cubicBezTo>
                    <a:lnTo>
                      <a:pt x="250" y="2257"/>
                    </a:lnTo>
                    <a:lnTo>
                      <a:pt x="3574" y="2257"/>
                    </a:lnTo>
                    <a:close/>
                    <a:moveTo>
                      <a:pt x="3574" y="2257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25" name="Freeform 100">
                <a:extLst>
                  <a:ext uri="{FF2B5EF4-FFF2-40B4-BE49-F238E27FC236}">
                    <a16:creationId xmlns:a16="http://schemas.microsoft.com/office/drawing/2014/main" id="{E7401368-5439-AA4E-8E49-A306C4EED9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4" y="830"/>
                <a:ext cx="34" cy="38"/>
              </a:xfrm>
              <a:custGeom>
                <a:avLst/>
                <a:gdLst>
                  <a:gd name="T0" fmla="*/ 310 w 848"/>
                  <a:gd name="T1" fmla="*/ 0 h 957"/>
                  <a:gd name="T2" fmla="*/ 0 w 848"/>
                  <a:gd name="T3" fmla="*/ 310 h 957"/>
                  <a:gd name="T4" fmla="*/ 0 w 848"/>
                  <a:gd name="T5" fmla="*/ 587 h 957"/>
                  <a:gd name="T6" fmla="*/ 137 w 848"/>
                  <a:gd name="T7" fmla="*/ 831 h 957"/>
                  <a:gd name="T8" fmla="*/ 276 w 848"/>
                  <a:gd name="T9" fmla="*/ 915 h 957"/>
                  <a:gd name="T10" fmla="*/ 424 w 848"/>
                  <a:gd name="T11" fmla="*/ 957 h 957"/>
                  <a:gd name="T12" fmla="*/ 572 w 848"/>
                  <a:gd name="T13" fmla="*/ 915 h 957"/>
                  <a:gd name="T14" fmla="*/ 711 w 848"/>
                  <a:gd name="T15" fmla="*/ 831 h 957"/>
                  <a:gd name="T16" fmla="*/ 848 w 848"/>
                  <a:gd name="T17" fmla="*/ 587 h 957"/>
                  <a:gd name="T18" fmla="*/ 848 w 848"/>
                  <a:gd name="T19" fmla="*/ 310 h 957"/>
                  <a:gd name="T20" fmla="*/ 538 w 848"/>
                  <a:gd name="T21" fmla="*/ 0 h 957"/>
                  <a:gd name="T22" fmla="*/ 310 w 848"/>
                  <a:gd name="T23" fmla="*/ 0 h 957"/>
                  <a:gd name="T24" fmla="*/ 598 w 848"/>
                  <a:gd name="T25" fmla="*/ 310 h 957"/>
                  <a:gd name="T26" fmla="*/ 598 w 848"/>
                  <a:gd name="T27" fmla="*/ 587 h 957"/>
                  <a:gd name="T28" fmla="*/ 581 w 848"/>
                  <a:gd name="T29" fmla="*/ 617 h 957"/>
                  <a:gd name="T30" fmla="*/ 442 w 848"/>
                  <a:gd name="T31" fmla="*/ 702 h 957"/>
                  <a:gd name="T32" fmla="*/ 406 w 848"/>
                  <a:gd name="T33" fmla="*/ 702 h 957"/>
                  <a:gd name="T34" fmla="*/ 267 w 848"/>
                  <a:gd name="T35" fmla="*/ 617 h 957"/>
                  <a:gd name="T36" fmla="*/ 250 w 848"/>
                  <a:gd name="T37" fmla="*/ 587 h 957"/>
                  <a:gd name="T38" fmla="*/ 250 w 848"/>
                  <a:gd name="T39" fmla="*/ 310 h 957"/>
                  <a:gd name="T40" fmla="*/ 310 w 848"/>
                  <a:gd name="T41" fmla="*/ 250 h 957"/>
                  <a:gd name="T42" fmla="*/ 538 w 848"/>
                  <a:gd name="T43" fmla="*/ 250 h 957"/>
                  <a:gd name="T44" fmla="*/ 598 w 848"/>
                  <a:gd name="T45" fmla="*/ 310 h 957"/>
                  <a:gd name="T46" fmla="*/ 598 w 848"/>
                  <a:gd name="T47" fmla="*/ 310 h 9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48" h="957">
                    <a:moveTo>
                      <a:pt x="310" y="0"/>
                    </a:moveTo>
                    <a:cubicBezTo>
                      <a:pt x="139" y="0"/>
                      <a:pt x="0" y="139"/>
                      <a:pt x="0" y="310"/>
                    </a:cubicBezTo>
                    <a:lnTo>
                      <a:pt x="0" y="587"/>
                    </a:lnTo>
                    <a:cubicBezTo>
                      <a:pt x="0" y="686"/>
                      <a:pt x="52" y="779"/>
                      <a:pt x="137" y="831"/>
                    </a:cubicBezTo>
                    <a:lnTo>
                      <a:pt x="276" y="915"/>
                    </a:lnTo>
                    <a:cubicBezTo>
                      <a:pt x="321" y="943"/>
                      <a:pt x="373" y="957"/>
                      <a:pt x="424" y="957"/>
                    </a:cubicBezTo>
                    <a:cubicBezTo>
                      <a:pt x="475" y="957"/>
                      <a:pt x="527" y="943"/>
                      <a:pt x="572" y="915"/>
                    </a:cubicBezTo>
                    <a:lnTo>
                      <a:pt x="711" y="831"/>
                    </a:lnTo>
                    <a:cubicBezTo>
                      <a:pt x="795" y="779"/>
                      <a:pt x="848" y="686"/>
                      <a:pt x="848" y="587"/>
                    </a:cubicBezTo>
                    <a:lnTo>
                      <a:pt x="848" y="310"/>
                    </a:lnTo>
                    <a:cubicBezTo>
                      <a:pt x="848" y="139"/>
                      <a:pt x="709" y="0"/>
                      <a:pt x="538" y="0"/>
                    </a:cubicBezTo>
                    <a:lnTo>
                      <a:pt x="310" y="0"/>
                    </a:lnTo>
                    <a:close/>
                    <a:moveTo>
                      <a:pt x="598" y="310"/>
                    </a:moveTo>
                    <a:lnTo>
                      <a:pt x="598" y="587"/>
                    </a:lnTo>
                    <a:cubicBezTo>
                      <a:pt x="598" y="599"/>
                      <a:pt x="591" y="611"/>
                      <a:pt x="581" y="617"/>
                    </a:cubicBezTo>
                    <a:lnTo>
                      <a:pt x="442" y="702"/>
                    </a:lnTo>
                    <a:cubicBezTo>
                      <a:pt x="431" y="709"/>
                      <a:pt x="417" y="709"/>
                      <a:pt x="406" y="702"/>
                    </a:cubicBezTo>
                    <a:lnTo>
                      <a:pt x="267" y="617"/>
                    </a:lnTo>
                    <a:cubicBezTo>
                      <a:pt x="257" y="611"/>
                      <a:pt x="250" y="599"/>
                      <a:pt x="250" y="587"/>
                    </a:cubicBezTo>
                    <a:lnTo>
                      <a:pt x="250" y="310"/>
                    </a:lnTo>
                    <a:cubicBezTo>
                      <a:pt x="250" y="277"/>
                      <a:pt x="277" y="250"/>
                      <a:pt x="310" y="250"/>
                    </a:cubicBezTo>
                    <a:lnTo>
                      <a:pt x="538" y="250"/>
                    </a:lnTo>
                    <a:cubicBezTo>
                      <a:pt x="571" y="250"/>
                      <a:pt x="598" y="277"/>
                      <a:pt x="598" y="310"/>
                    </a:cubicBezTo>
                    <a:close/>
                    <a:moveTo>
                      <a:pt x="598" y="31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26" name="Freeform 101">
                <a:extLst>
                  <a:ext uri="{FF2B5EF4-FFF2-40B4-BE49-F238E27FC236}">
                    <a16:creationId xmlns:a16="http://schemas.microsoft.com/office/drawing/2014/main" id="{4FDEC327-61D5-5148-BE29-A3DEDDB88A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1" y="1010"/>
                <a:ext cx="152" cy="139"/>
              </a:xfrm>
              <a:custGeom>
                <a:avLst/>
                <a:gdLst>
                  <a:gd name="T0" fmla="*/ 3447 w 3824"/>
                  <a:gd name="T1" fmla="*/ 0 h 3486"/>
                  <a:gd name="T2" fmla="*/ 377 w 3824"/>
                  <a:gd name="T3" fmla="*/ 0 h 3486"/>
                  <a:gd name="T4" fmla="*/ 0 w 3824"/>
                  <a:gd name="T5" fmla="*/ 378 h 3486"/>
                  <a:gd name="T6" fmla="*/ 0 w 3824"/>
                  <a:gd name="T7" fmla="*/ 2489 h 3486"/>
                  <a:gd name="T8" fmla="*/ 377 w 3824"/>
                  <a:gd name="T9" fmla="*/ 2866 h 3486"/>
                  <a:gd name="T10" fmla="*/ 1209 w 3824"/>
                  <a:gd name="T11" fmla="*/ 2866 h 3486"/>
                  <a:gd name="T12" fmla="*/ 1146 w 3824"/>
                  <a:gd name="T13" fmla="*/ 3236 h 3486"/>
                  <a:gd name="T14" fmla="*/ 1116 w 3824"/>
                  <a:gd name="T15" fmla="*/ 3236 h 3486"/>
                  <a:gd name="T16" fmla="*/ 991 w 3824"/>
                  <a:gd name="T17" fmla="*/ 3361 h 3486"/>
                  <a:gd name="T18" fmla="*/ 1116 w 3824"/>
                  <a:gd name="T19" fmla="*/ 3486 h 3486"/>
                  <a:gd name="T20" fmla="*/ 2708 w 3824"/>
                  <a:gd name="T21" fmla="*/ 3486 h 3486"/>
                  <a:gd name="T22" fmla="*/ 2833 w 3824"/>
                  <a:gd name="T23" fmla="*/ 3361 h 3486"/>
                  <a:gd name="T24" fmla="*/ 2708 w 3824"/>
                  <a:gd name="T25" fmla="*/ 3236 h 3486"/>
                  <a:gd name="T26" fmla="*/ 2678 w 3824"/>
                  <a:gd name="T27" fmla="*/ 3236 h 3486"/>
                  <a:gd name="T28" fmla="*/ 2616 w 3824"/>
                  <a:gd name="T29" fmla="*/ 2866 h 3486"/>
                  <a:gd name="T30" fmla="*/ 3447 w 3824"/>
                  <a:gd name="T31" fmla="*/ 2866 h 3486"/>
                  <a:gd name="T32" fmla="*/ 3824 w 3824"/>
                  <a:gd name="T33" fmla="*/ 2489 h 3486"/>
                  <a:gd name="T34" fmla="*/ 3824 w 3824"/>
                  <a:gd name="T35" fmla="*/ 378 h 3486"/>
                  <a:gd name="T36" fmla="*/ 3447 w 3824"/>
                  <a:gd name="T37" fmla="*/ 0 h 3486"/>
                  <a:gd name="T38" fmla="*/ 377 w 3824"/>
                  <a:gd name="T39" fmla="*/ 250 h 3486"/>
                  <a:gd name="T40" fmla="*/ 3447 w 3824"/>
                  <a:gd name="T41" fmla="*/ 250 h 3486"/>
                  <a:gd name="T42" fmla="*/ 3574 w 3824"/>
                  <a:gd name="T43" fmla="*/ 378 h 3486"/>
                  <a:gd name="T44" fmla="*/ 3574 w 3824"/>
                  <a:gd name="T45" fmla="*/ 2007 h 3486"/>
                  <a:gd name="T46" fmla="*/ 2902 w 3824"/>
                  <a:gd name="T47" fmla="*/ 2007 h 3486"/>
                  <a:gd name="T48" fmla="*/ 2902 w 3824"/>
                  <a:gd name="T49" fmla="*/ 1991 h 3486"/>
                  <a:gd name="T50" fmla="*/ 2898 w 3824"/>
                  <a:gd name="T51" fmla="*/ 1962 h 3486"/>
                  <a:gd name="T52" fmla="*/ 2749 w 3824"/>
                  <a:gd name="T53" fmla="*/ 1714 h 3486"/>
                  <a:gd name="T54" fmla="*/ 2367 w 3824"/>
                  <a:gd name="T55" fmla="*/ 1570 h 3486"/>
                  <a:gd name="T56" fmla="*/ 1458 w 3824"/>
                  <a:gd name="T57" fmla="*/ 1570 h 3486"/>
                  <a:gd name="T58" fmla="*/ 1076 w 3824"/>
                  <a:gd name="T59" fmla="*/ 1714 h 3486"/>
                  <a:gd name="T60" fmla="*/ 926 w 3824"/>
                  <a:gd name="T61" fmla="*/ 1965 h 3486"/>
                  <a:gd name="T62" fmla="*/ 922 w 3824"/>
                  <a:gd name="T63" fmla="*/ 1993 h 3486"/>
                  <a:gd name="T64" fmla="*/ 922 w 3824"/>
                  <a:gd name="T65" fmla="*/ 2008 h 3486"/>
                  <a:gd name="T66" fmla="*/ 250 w 3824"/>
                  <a:gd name="T67" fmla="*/ 2008 h 3486"/>
                  <a:gd name="T68" fmla="*/ 250 w 3824"/>
                  <a:gd name="T69" fmla="*/ 378 h 3486"/>
                  <a:gd name="T70" fmla="*/ 377 w 3824"/>
                  <a:gd name="T71" fmla="*/ 250 h 3486"/>
                  <a:gd name="T72" fmla="*/ 2425 w 3824"/>
                  <a:gd name="T73" fmla="*/ 3236 h 3486"/>
                  <a:gd name="T74" fmla="*/ 1400 w 3824"/>
                  <a:gd name="T75" fmla="*/ 3236 h 3486"/>
                  <a:gd name="T76" fmla="*/ 1462 w 3824"/>
                  <a:gd name="T77" fmla="*/ 2866 h 3486"/>
                  <a:gd name="T78" fmla="*/ 2362 w 3824"/>
                  <a:gd name="T79" fmla="*/ 2866 h 3486"/>
                  <a:gd name="T80" fmla="*/ 2425 w 3824"/>
                  <a:gd name="T81" fmla="*/ 3236 h 3486"/>
                  <a:gd name="T82" fmla="*/ 3574 w 3824"/>
                  <a:gd name="T83" fmla="*/ 2489 h 3486"/>
                  <a:gd name="T84" fmla="*/ 3447 w 3824"/>
                  <a:gd name="T85" fmla="*/ 2616 h 3486"/>
                  <a:gd name="T86" fmla="*/ 377 w 3824"/>
                  <a:gd name="T87" fmla="*/ 2616 h 3486"/>
                  <a:gd name="T88" fmla="*/ 250 w 3824"/>
                  <a:gd name="T89" fmla="*/ 2489 h 3486"/>
                  <a:gd name="T90" fmla="*/ 250 w 3824"/>
                  <a:gd name="T91" fmla="*/ 2258 h 3486"/>
                  <a:gd name="T92" fmla="*/ 1300 w 3824"/>
                  <a:gd name="T93" fmla="*/ 2258 h 3486"/>
                  <a:gd name="T94" fmla="*/ 1425 w 3824"/>
                  <a:gd name="T95" fmla="*/ 2133 h 3486"/>
                  <a:gd name="T96" fmla="*/ 1300 w 3824"/>
                  <a:gd name="T97" fmla="*/ 2008 h 3486"/>
                  <a:gd name="T98" fmla="*/ 1173 w 3824"/>
                  <a:gd name="T99" fmla="*/ 2008 h 3486"/>
                  <a:gd name="T100" fmla="*/ 1245 w 3824"/>
                  <a:gd name="T101" fmla="*/ 1898 h 3486"/>
                  <a:gd name="T102" fmla="*/ 1458 w 3824"/>
                  <a:gd name="T103" fmla="*/ 1820 h 3486"/>
                  <a:gd name="T104" fmla="*/ 2367 w 3824"/>
                  <a:gd name="T105" fmla="*/ 1820 h 3486"/>
                  <a:gd name="T106" fmla="*/ 2580 w 3824"/>
                  <a:gd name="T107" fmla="*/ 1898 h 3486"/>
                  <a:gd name="T108" fmla="*/ 2652 w 3824"/>
                  <a:gd name="T109" fmla="*/ 2007 h 3486"/>
                  <a:gd name="T110" fmla="*/ 2652 w 3824"/>
                  <a:gd name="T111" fmla="*/ 2008 h 3486"/>
                  <a:gd name="T112" fmla="*/ 1823 w 3824"/>
                  <a:gd name="T113" fmla="*/ 2008 h 3486"/>
                  <a:gd name="T114" fmla="*/ 1698 w 3824"/>
                  <a:gd name="T115" fmla="*/ 2133 h 3486"/>
                  <a:gd name="T116" fmla="*/ 1823 w 3824"/>
                  <a:gd name="T117" fmla="*/ 2258 h 3486"/>
                  <a:gd name="T118" fmla="*/ 3574 w 3824"/>
                  <a:gd name="T119" fmla="*/ 2258 h 3486"/>
                  <a:gd name="T120" fmla="*/ 3574 w 3824"/>
                  <a:gd name="T121" fmla="*/ 2489 h 3486"/>
                  <a:gd name="T122" fmla="*/ 3574 w 3824"/>
                  <a:gd name="T123" fmla="*/ 2489 h 3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824" h="3486">
                    <a:moveTo>
                      <a:pt x="3447" y="0"/>
                    </a:moveTo>
                    <a:lnTo>
                      <a:pt x="377" y="0"/>
                    </a:lnTo>
                    <a:cubicBezTo>
                      <a:pt x="169" y="0"/>
                      <a:pt x="0" y="170"/>
                      <a:pt x="0" y="378"/>
                    </a:cubicBezTo>
                    <a:lnTo>
                      <a:pt x="0" y="2489"/>
                    </a:lnTo>
                    <a:cubicBezTo>
                      <a:pt x="0" y="2697"/>
                      <a:pt x="169" y="2866"/>
                      <a:pt x="377" y="2866"/>
                    </a:cubicBezTo>
                    <a:lnTo>
                      <a:pt x="1209" y="2866"/>
                    </a:lnTo>
                    <a:lnTo>
                      <a:pt x="1146" y="3236"/>
                    </a:lnTo>
                    <a:lnTo>
                      <a:pt x="1116" y="3236"/>
                    </a:lnTo>
                    <a:cubicBezTo>
                      <a:pt x="1047" y="3236"/>
                      <a:pt x="991" y="3292"/>
                      <a:pt x="991" y="3361"/>
                    </a:cubicBezTo>
                    <a:cubicBezTo>
                      <a:pt x="991" y="3430"/>
                      <a:pt x="1047" y="3486"/>
                      <a:pt x="1116" y="3486"/>
                    </a:cubicBezTo>
                    <a:lnTo>
                      <a:pt x="2708" y="3486"/>
                    </a:lnTo>
                    <a:cubicBezTo>
                      <a:pt x="2777" y="3486"/>
                      <a:pt x="2833" y="3430"/>
                      <a:pt x="2833" y="3361"/>
                    </a:cubicBezTo>
                    <a:cubicBezTo>
                      <a:pt x="2833" y="3292"/>
                      <a:pt x="2777" y="3236"/>
                      <a:pt x="2708" y="3236"/>
                    </a:cubicBezTo>
                    <a:lnTo>
                      <a:pt x="2678" y="3236"/>
                    </a:lnTo>
                    <a:lnTo>
                      <a:pt x="2616" y="2866"/>
                    </a:lnTo>
                    <a:lnTo>
                      <a:pt x="3447" y="2866"/>
                    </a:lnTo>
                    <a:cubicBezTo>
                      <a:pt x="3655" y="2866"/>
                      <a:pt x="3824" y="2697"/>
                      <a:pt x="3824" y="2489"/>
                    </a:cubicBezTo>
                    <a:lnTo>
                      <a:pt x="3824" y="378"/>
                    </a:lnTo>
                    <a:cubicBezTo>
                      <a:pt x="3824" y="170"/>
                      <a:pt x="3655" y="0"/>
                      <a:pt x="3447" y="0"/>
                    </a:cubicBezTo>
                    <a:close/>
                    <a:moveTo>
                      <a:pt x="377" y="250"/>
                    </a:moveTo>
                    <a:lnTo>
                      <a:pt x="3447" y="250"/>
                    </a:lnTo>
                    <a:cubicBezTo>
                      <a:pt x="3517" y="250"/>
                      <a:pt x="3574" y="307"/>
                      <a:pt x="3574" y="378"/>
                    </a:cubicBezTo>
                    <a:lnTo>
                      <a:pt x="3574" y="2007"/>
                    </a:lnTo>
                    <a:lnTo>
                      <a:pt x="2902" y="2007"/>
                    </a:lnTo>
                    <a:lnTo>
                      <a:pt x="2902" y="1991"/>
                    </a:lnTo>
                    <a:cubicBezTo>
                      <a:pt x="2902" y="1981"/>
                      <a:pt x="2901" y="1971"/>
                      <a:pt x="2898" y="1962"/>
                    </a:cubicBezTo>
                    <a:cubicBezTo>
                      <a:pt x="2876" y="1869"/>
                      <a:pt x="2825" y="1784"/>
                      <a:pt x="2749" y="1714"/>
                    </a:cubicBezTo>
                    <a:cubicBezTo>
                      <a:pt x="2648" y="1621"/>
                      <a:pt x="2512" y="1570"/>
                      <a:pt x="2367" y="1570"/>
                    </a:cubicBezTo>
                    <a:lnTo>
                      <a:pt x="1458" y="1570"/>
                    </a:lnTo>
                    <a:cubicBezTo>
                      <a:pt x="1313" y="1570"/>
                      <a:pt x="1177" y="1621"/>
                      <a:pt x="1076" y="1714"/>
                    </a:cubicBezTo>
                    <a:cubicBezTo>
                      <a:pt x="999" y="1784"/>
                      <a:pt x="947" y="1871"/>
                      <a:pt x="926" y="1965"/>
                    </a:cubicBezTo>
                    <a:cubicBezTo>
                      <a:pt x="923" y="1974"/>
                      <a:pt x="922" y="1984"/>
                      <a:pt x="922" y="1993"/>
                    </a:cubicBezTo>
                    <a:lnTo>
                      <a:pt x="922" y="2008"/>
                    </a:lnTo>
                    <a:lnTo>
                      <a:pt x="250" y="2008"/>
                    </a:lnTo>
                    <a:lnTo>
                      <a:pt x="250" y="378"/>
                    </a:lnTo>
                    <a:cubicBezTo>
                      <a:pt x="250" y="307"/>
                      <a:pt x="307" y="250"/>
                      <a:pt x="377" y="250"/>
                    </a:cubicBezTo>
                    <a:close/>
                    <a:moveTo>
                      <a:pt x="2425" y="3236"/>
                    </a:moveTo>
                    <a:lnTo>
                      <a:pt x="1400" y="3236"/>
                    </a:lnTo>
                    <a:lnTo>
                      <a:pt x="1462" y="2866"/>
                    </a:lnTo>
                    <a:lnTo>
                      <a:pt x="2362" y="2866"/>
                    </a:lnTo>
                    <a:lnTo>
                      <a:pt x="2425" y="3236"/>
                    </a:lnTo>
                    <a:close/>
                    <a:moveTo>
                      <a:pt x="3574" y="2489"/>
                    </a:moveTo>
                    <a:cubicBezTo>
                      <a:pt x="3574" y="2559"/>
                      <a:pt x="3517" y="2616"/>
                      <a:pt x="3447" y="2616"/>
                    </a:cubicBezTo>
                    <a:lnTo>
                      <a:pt x="377" y="2616"/>
                    </a:lnTo>
                    <a:cubicBezTo>
                      <a:pt x="307" y="2616"/>
                      <a:pt x="250" y="2559"/>
                      <a:pt x="250" y="2489"/>
                    </a:cubicBezTo>
                    <a:lnTo>
                      <a:pt x="250" y="2258"/>
                    </a:lnTo>
                    <a:lnTo>
                      <a:pt x="1300" y="2258"/>
                    </a:lnTo>
                    <a:cubicBezTo>
                      <a:pt x="1369" y="2258"/>
                      <a:pt x="1425" y="2202"/>
                      <a:pt x="1425" y="2133"/>
                    </a:cubicBezTo>
                    <a:cubicBezTo>
                      <a:pt x="1425" y="2063"/>
                      <a:pt x="1369" y="2008"/>
                      <a:pt x="1300" y="2008"/>
                    </a:cubicBezTo>
                    <a:lnTo>
                      <a:pt x="1173" y="2008"/>
                    </a:lnTo>
                    <a:cubicBezTo>
                      <a:pt x="1185" y="1968"/>
                      <a:pt x="1210" y="1930"/>
                      <a:pt x="1245" y="1898"/>
                    </a:cubicBezTo>
                    <a:cubicBezTo>
                      <a:pt x="1300" y="1848"/>
                      <a:pt x="1376" y="1820"/>
                      <a:pt x="1458" y="1820"/>
                    </a:cubicBezTo>
                    <a:lnTo>
                      <a:pt x="2367" y="1820"/>
                    </a:lnTo>
                    <a:cubicBezTo>
                      <a:pt x="2449" y="1820"/>
                      <a:pt x="2525" y="1848"/>
                      <a:pt x="2580" y="1898"/>
                    </a:cubicBezTo>
                    <a:cubicBezTo>
                      <a:pt x="2615" y="1930"/>
                      <a:pt x="2640" y="1968"/>
                      <a:pt x="2652" y="2007"/>
                    </a:cubicBezTo>
                    <a:lnTo>
                      <a:pt x="2652" y="2008"/>
                    </a:lnTo>
                    <a:lnTo>
                      <a:pt x="1823" y="2008"/>
                    </a:lnTo>
                    <a:cubicBezTo>
                      <a:pt x="1754" y="2008"/>
                      <a:pt x="1698" y="2063"/>
                      <a:pt x="1698" y="2133"/>
                    </a:cubicBezTo>
                    <a:cubicBezTo>
                      <a:pt x="1698" y="2202"/>
                      <a:pt x="1754" y="2258"/>
                      <a:pt x="1823" y="2258"/>
                    </a:cubicBezTo>
                    <a:lnTo>
                      <a:pt x="3574" y="2258"/>
                    </a:lnTo>
                    <a:lnTo>
                      <a:pt x="3574" y="2489"/>
                    </a:lnTo>
                    <a:close/>
                    <a:moveTo>
                      <a:pt x="3574" y="2489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27" name="Freeform 102">
                <a:extLst>
                  <a:ext uri="{FF2B5EF4-FFF2-40B4-BE49-F238E27FC236}">
                    <a16:creationId xmlns:a16="http://schemas.microsoft.com/office/drawing/2014/main" id="{AB4A17A8-5384-3C4E-9712-021C70E136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20" y="1031"/>
                <a:ext cx="34" cy="38"/>
              </a:xfrm>
              <a:custGeom>
                <a:avLst/>
                <a:gdLst>
                  <a:gd name="T0" fmla="*/ 137 w 848"/>
                  <a:gd name="T1" fmla="*/ 831 h 957"/>
                  <a:gd name="T2" fmla="*/ 276 w 848"/>
                  <a:gd name="T3" fmla="*/ 916 h 957"/>
                  <a:gd name="T4" fmla="*/ 424 w 848"/>
                  <a:gd name="T5" fmla="*/ 957 h 957"/>
                  <a:gd name="T6" fmla="*/ 573 w 848"/>
                  <a:gd name="T7" fmla="*/ 916 h 957"/>
                  <a:gd name="T8" fmla="*/ 711 w 848"/>
                  <a:gd name="T9" fmla="*/ 831 h 957"/>
                  <a:gd name="T10" fmla="*/ 848 w 848"/>
                  <a:gd name="T11" fmla="*/ 587 h 957"/>
                  <a:gd name="T12" fmla="*/ 848 w 848"/>
                  <a:gd name="T13" fmla="*/ 310 h 957"/>
                  <a:gd name="T14" fmla="*/ 539 w 848"/>
                  <a:gd name="T15" fmla="*/ 0 h 957"/>
                  <a:gd name="T16" fmla="*/ 310 w 848"/>
                  <a:gd name="T17" fmla="*/ 0 h 957"/>
                  <a:gd name="T18" fmla="*/ 0 w 848"/>
                  <a:gd name="T19" fmla="*/ 310 h 957"/>
                  <a:gd name="T20" fmla="*/ 0 w 848"/>
                  <a:gd name="T21" fmla="*/ 587 h 957"/>
                  <a:gd name="T22" fmla="*/ 137 w 848"/>
                  <a:gd name="T23" fmla="*/ 831 h 957"/>
                  <a:gd name="T24" fmla="*/ 251 w 848"/>
                  <a:gd name="T25" fmla="*/ 310 h 957"/>
                  <a:gd name="T26" fmla="*/ 310 w 848"/>
                  <a:gd name="T27" fmla="*/ 250 h 957"/>
                  <a:gd name="T28" fmla="*/ 539 w 848"/>
                  <a:gd name="T29" fmla="*/ 250 h 957"/>
                  <a:gd name="T30" fmla="*/ 598 w 848"/>
                  <a:gd name="T31" fmla="*/ 310 h 957"/>
                  <a:gd name="T32" fmla="*/ 598 w 848"/>
                  <a:gd name="T33" fmla="*/ 587 h 957"/>
                  <a:gd name="T34" fmla="*/ 581 w 848"/>
                  <a:gd name="T35" fmla="*/ 618 h 957"/>
                  <a:gd name="T36" fmla="*/ 443 w 848"/>
                  <a:gd name="T37" fmla="*/ 702 h 957"/>
                  <a:gd name="T38" fmla="*/ 406 w 848"/>
                  <a:gd name="T39" fmla="*/ 702 h 957"/>
                  <a:gd name="T40" fmla="*/ 268 w 848"/>
                  <a:gd name="T41" fmla="*/ 618 h 957"/>
                  <a:gd name="T42" fmla="*/ 251 w 848"/>
                  <a:gd name="T43" fmla="*/ 587 h 957"/>
                  <a:gd name="T44" fmla="*/ 251 w 848"/>
                  <a:gd name="T45" fmla="*/ 310 h 957"/>
                  <a:gd name="T46" fmla="*/ 251 w 848"/>
                  <a:gd name="T47" fmla="*/ 310 h 9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48" h="957">
                    <a:moveTo>
                      <a:pt x="137" y="831"/>
                    </a:moveTo>
                    <a:lnTo>
                      <a:pt x="276" y="916"/>
                    </a:lnTo>
                    <a:cubicBezTo>
                      <a:pt x="322" y="943"/>
                      <a:pt x="373" y="957"/>
                      <a:pt x="424" y="957"/>
                    </a:cubicBezTo>
                    <a:cubicBezTo>
                      <a:pt x="476" y="957"/>
                      <a:pt x="527" y="943"/>
                      <a:pt x="573" y="916"/>
                    </a:cubicBezTo>
                    <a:lnTo>
                      <a:pt x="711" y="831"/>
                    </a:lnTo>
                    <a:cubicBezTo>
                      <a:pt x="796" y="780"/>
                      <a:pt x="848" y="686"/>
                      <a:pt x="848" y="587"/>
                    </a:cubicBezTo>
                    <a:lnTo>
                      <a:pt x="848" y="310"/>
                    </a:lnTo>
                    <a:cubicBezTo>
                      <a:pt x="848" y="140"/>
                      <a:pt x="709" y="0"/>
                      <a:pt x="539" y="0"/>
                    </a:cubicBezTo>
                    <a:lnTo>
                      <a:pt x="310" y="0"/>
                    </a:lnTo>
                    <a:cubicBezTo>
                      <a:pt x="139" y="0"/>
                      <a:pt x="0" y="140"/>
                      <a:pt x="0" y="310"/>
                    </a:cubicBezTo>
                    <a:lnTo>
                      <a:pt x="0" y="587"/>
                    </a:lnTo>
                    <a:cubicBezTo>
                      <a:pt x="1" y="686"/>
                      <a:pt x="53" y="780"/>
                      <a:pt x="137" y="831"/>
                    </a:cubicBezTo>
                    <a:close/>
                    <a:moveTo>
                      <a:pt x="251" y="310"/>
                    </a:moveTo>
                    <a:cubicBezTo>
                      <a:pt x="251" y="277"/>
                      <a:pt x="277" y="250"/>
                      <a:pt x="310" y="250"/>
                    </a:cubicBezTo>
                    <a:lnTo>
                      <a:pt x="539" y="250"/>
                    </a:lnTo>
                    <a:cubicBezTo>
                      <a:pt x="572" y="250"/>
                      <a:pt x="598" y="277"/>
                      <a:pt x="598" y="310"/>
                    </a:cubicBezTo>
                    <a:lnTo>
                      <a:pt x="598" y="587"/>
                    </a:lnTo>
                    <a:cubicBezTo>
                      <a:pt x="598" y="599"/>
                      <a:pt x="592" y="611"/>
                      <a:pt x="581" y="618"/>
                    </a:cubicBezTo>
                    <a:lnTo>
                      <a:pt x="443" y="702"/>
                    </a:lnTo>
                    <a:cubicBezTo>
                      <a:pt x="431" y="709"/>
                      <a:pt x="417" y="709"/>
                      <a:pt x="406" y="702"/>
                    </a:cubicBezTo>
                    <a:lnTo>
                      <a:pt x="268" y="618"/>
                    </a:lnTo>
                    <a:cubicBezTo>
                      <a:pt x="257" y="611"/>
                      <a:pt x="251" y="599"/>
                      <a:pt x="251" y="587"/>
                    </a:cubicBezTo>
                    <a:lnTo>
                      <a:pt x="251" y="310"/>
                    </a:lnTo>
                    <a:close/>
                    <a:moveTo>
                      <a:pt x="251" y="31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</p:grpSp>
      <p:grpSp>
        <p:nvGrpSpPr>
          <p:cNvPr id="128" name="Groupe 127"/>
          <p:cNvGrpSpPr/>
          <p:nvPr/>
        </p:nvGrpSpPr>
        <p:grpSpPr>
          <a:xfrm>
            <a:off x="3730266" y="2018572"/>
            <a:ext cx="640677" cy="806645"/>
            <a:chOff x="3594933" y="1970411"/>
            <a:chExt cx="474722" cy="597699"/>
          </a:xfrm>
        </p:grpSpPr>
        <p:sp>
          <p:nvSpPr>
            <p:cNvPr id="129" name="Freeform 14">
              <a:extLst>
                <a:ext uri="{FF2B5EF4-FFF2-40B4-BE49-F238E27FC236}">
                  <a16:creationId xmlns:a16="http://schemas.microsoft.com/office/drawing/2014/main" id="{E1271759-F623-7F45-A57E-F75D5C5F1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933" y="1970411"/>
              <a:ext cx="474722" cy="597699"/>
            </a:xfrm>
            <a:custGeom>
              <a:avLst/>
              <a:gdLst>
                <a:gd name="T0" fmla="*/ 555 w 841"/>
                <a:gd name="T1" fmla="*/ 971 h 1059"/>
                <a:gd name="T2" fmla="*/ 841 w 841"/>
                <a:gd name="T3" fmla="*/ 436 h 1059"/>
                <a:gd name="T4" fmla="*/ 841 w 841"/>
                <a:gd name="T5" fmla="*/ 204 h 1059"/>
                <a:gd name="T6" fmla="*/ 772 w 841"/>
                <a:gd name="T7" fmla="*/ 109 h 1059"/>
                <a:gd name="T8" fmla="*/ 452 w 841"/>
                <a:gd name="T9" fmla="*/ 5 h 1059"/>
                <a:gd name="T10" fmla="*/ 420 w 841"/>
                <a:gd name="T11" fmla="*/ 0 h 1059"/>
                <a:gd name="T12" fmla="*/ 390 w 841"/>
                <a:gd name="T13" fmla="*/ 5 h 1059"/>
                <a:gd name="T14" fmla="*/ 70 w 841"/>
                <a:gd name="T15" fmla="*/ 109 h 1059"/>
                <a:gd name="T16" fmla="*/ 0 w 841"/>
                <a:gd name="T17" fmla="*/ 204 h 1059"/>
                <a:gd name="T18" fmla="*/ 0 w 841"/>
                <a:gd name="T19" fmla="*/ 436 h 1059"/>
                <a:gd name="T20" fmla="*/ 287 w 841"/>
                <a:gd name="T21" fmla="*/ 971 h 1059"/>
                <a:gd name="T22" fmla="*/ 420 w 841"/>
                <a:gd name="T23" fmla="*/ 1059 h 1059"/>
                <a:gd name="T24" fmla="*/ 555 w 841"/>
                <a:gd name="T25" fmla="*/ 971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1" h="1059">
                  <a:moveTo>
                    <a:pt x="555" y="971"/>
                  </a:moveTo>
                  <a:cubicBezTo>
                    <a:pt x="733" y="851"/>
                    <a:pt x="841" y="651"/>
                    <a:pt x="841" y="436"/>
                  </a:cubicBezTo>
                  <a:lnTo>
                    <a:pt x="841" y="204"/>
                  </a:lnTo>
                  <a:cubicBezTo>
                    <a:pt x="841" y="161"/>
                    <a:pt x="813" y="122"/>
                    <a:pt x="772" y="109"/>
                  </a:cubicBezTo>
                  <a:lnTo>
                    <a:pt x="452" y="5"/>
                  </a:lnTo>
                  <a:cubicBezTo>
                    <a:pt x="441" y="2"/>
                    <a:pt x="431" y="0"/>
                    <a:pt x="420" y="0"/>
                  </a:cubicBezTo>
                  <a:cubicBezTo>
                    <a:pt x="410" y="0"/>
                    <a:pt x="400" y="2"/>
                    <a:pt x="390" y="5"/>
                  </a:cubicBezTo>
                  <a:lnTo>
                    <a:pt x="70" y="109"/>
                  </a:lnTo>
                  <a:cubicBezTo>
                    <a:pt x="28" y="122"/>
                    <a:pt x="0" y="161"/>
                    <a:pt x="0" y="204"/>
                  </a:cubicBezTo>
                  <a:lnTo>
                    <a:pt x="0" y="436"/>
                  </a:lnTo>
                  <a:cubicBezTo>
                    <a:pt x="0" y="651"/>
                    <a:pt x="108" y="851"/>
                    <a:pt x="287" y="971"/>
                  </a:cubicBezTo>
                  <a:lnTo>
                    <a:pt x="420" y="1059"/>
                  </a:lnTo>
                  <a:lnTo>
                    <a:pt x="555" y="971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E57518"/>
                </a:gs>
                <a:gs pos="0">
                  <a:srgbClr val="FEC232">
                    <a:alpha val="7800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130" name="Group 649"/>
            <p:cNvGrpSpPr>
              <a:grpSpLocks noChangeAspect="1"/>
            </p:cNvGrpSpPr>
            <p:nvPr/>
          </p:nvGrpSpPr>
          <p:grpSpPr bwMode="auto">
            <a:xfrm>
              <a:off x="3655086" y="2075258"/>
              <a:ext cx="335366" cy="335448"/>
              <a:chOff x="1788" y="108"/>
              <a:chExt cx="4095" cy="4096"/>
            </a:xfrm>
            <a:solidFill>
              <a:srgbClr val="A136A0"/>
            </a:solidFill>
          </p:grpSpPr>
          <p:sp>
            <p:nvSpPr>
              <p:cNvPr id="131" name="Freeform 650"/>
              <p:cNvSpPr>
                <a:spLocks noEditPoints="1"/>
              </p:cNvSpPr>
              <p:nvPr/>
            </p:nvSpPr>
            <p:spPr bwMode="auto">
              <a:xfrm>
                <a:off x="1788" y="108"/>
                <a:ext cx="4095" cy="4096"/>
              </a:xfrm>
              <a:custGeom>
                <a:avLst/>
                <a:gdLst>
                  <a:gd name="T0" fmla="*/ 8533 w 8533"/>
                  <a:gd name="T1" fmla="*/ 4267 h 8533"/>
                  <a:gd name="T2" fmla="*/ 4267 w 8533"/>
                  <a:gd name="T3" fmla="*/ 0 h 8533"/>
                  <a:gd name="T4" fmla="*/ 0 w 8533"/>
                  <a:gd name="T5" fmla="*/ 4267 h 8533"/>
                  <a:gd name="T6" fmla="*/ 4267 w 8533"/>
                  <a:gd name="T7" fmla="*/ 8533 h 8533"/>
                  <a:gd name="T8" fmla="*/ 8533 w 8533"/>
                  <a:gd name="T9" fmla="*/ 4267 h 8533"/>
                  <a:gd name="T10" fmla="*/ 4267 w 8533"/>
                  <a:gd name="T11" fmla="*/ 500 h 8533"/>
                  <a:gd name="T12" fmla="*/ 8033 w 8533"/>
                  <a:gd name="T13" fmla="*/ 4267 h 8533"/>
                  <a:gd name="T14" fmla="*/ 7388 w 8533"/>
                  <a:gd name="T15" fmla="*/ 6375 h 8533"/>
                  <a:gd name="T16" fmla="*/ 1145 w 8533"/>
                  <a:gd name="T17" fmla="*/ 6375 h 8533"/>
                  <a:gd name="T18" fmla="*/ 500 w 8533"/>
                  <a:gd name="T19" fmla="*/ 4267 h 8533"/>
                  <a:gd name="T20" fmla="*/ 4267 w 8533"/>
                  <a:gd name="T21" fmla="*/ 500 h 8533"/>
                  <a:gd name="T22" fmla="*/ 1457 w 8533"/>
                  <a:gd name="T23" fmla="*/ 6775 h 8533"/>
                  <a:gd name="T24" fmla="*/ 7076 w 8533"/>
                  <a:gd name="T25" fmla="*/ 6775 h 8533"/>
                  <a:gd name="T26" fmla="*/ 1457 w 8533"/>
                  <a:gd name="T27" fmla="*/ 6775 h 8533"/>
                  <a:gd name="T28" fmla="*/ 1457 w 8533"/>
                  <a:gd name="T29" fmla="*/ 6775 h 8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533" h="8533">
                    <a:moveTo>
                      <a:pt x="8533" y="4267"/>
                    </a:moveTo>
                    <a:cubicBezTo>
                      <a:pt x="8533" y="1909"/>
                      <a:pt x="6625" y="0"/>
                      <a:pt x="4267" y="0"/>
                    </a:cubicBezTo>
                    <a:cubicBezTo>
                      <a:pt x="1909" y="0"/>
                      <a:pt x="0" y="1908"/>
                      <a:pt x="0" y="4267"/>
                    </a:cubicBezTo>
                    <a:cubicBezTo>
                      <a:pt x="0" y="6604"/>
                      <a:pt x="1892" y="8533"/>
                      <a:pt x="4267" y="8533"/>
                    </a:cubicBezTo>
                    <a:cubicBezTo>
                      <a:pt x="6631" y="8533"/>
                      <a:pt x="8533" y="6615"/>
                      <a:pt x="8533" y="4267"/>
                    </a:cubicBezTo>
                    <a:close/>
                    <a:moveTo>
                      <a:pt x="4267" y="500"/>
                    </a:moveTo>
                    <a:cubicBezTo>
                      <a:pt x="6344" y="500"/>
                      <a:pt x="8033" y="2190"/>
                      <a:pt x="8033" y="4267"/>
                    </a:cubicBezTo>
                    <a:cubicBezTo>
                      <a:pt x="8033" y="5026"/>
                      <a:pt x="7807" y="5757"/>
                      <a:pt x="7388" y="6375"/>
                    </a:cubicBezTo>
                    <a:cubicBezTo>
                      <a:pt x="5705" y="4565"/>
                      <a:pt x="2831" y="4562"/>
                      <a:pt x="1145" y="6375"/>
                    </a:cubicBezTo>
                    <a:cubicBezTo>
                      <a:pt x="726" y="5757"/>
                      <a:pt x="500" y="5026"/>
                      <a:pt x="500" y="4267"/>
                    </a:cubicBezTo>
                    <a:cubicBezTo>
                      <a:pt x="500" y="2190"/>
                      <a:pt x="2190" y="500"/>
                      <a:pt x="4267" y="500"/>
                    </a:cubicBezTo>
                    <a:close/>
                    <a:moveTo>
                      <a:pt x="1457" y="6775"/>
                    </a:moveTo>
                    <a:cubicBezTo>
                      <a:pt x="2953" y="5097"/>
                      <a:pt x="5581" y="5097"/>
                      <a:pt x="7076" y="6775"/>
                    </a:cubicBezTo>
                    <a:cubicBezTo>
                      <a:pt x="5575" y="8455"/>
                      <a:pt x="2959" y="8455"/>
                      <a:pt x="1457" y="6775"/>
                    </a:cubicBezTo>
                    <a:close/>
                    <a:moveTo>
                      <a:pt x="1457" y="6775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651"/>
              <p:cNvSpPr>
                <a:spLocks noEditPoints="1"/>
              </p:cNvSpPr>
              <p:nvPr/>
            </p:nvSpPr>
            <p:spPr bwMode="auto">
              <a:xfrm>
                <a:off x="3116" y="596"/>
                <a:ext cx="1440" cy="1680"/>
              </a:xfrm>
              <a:custGeom>
                <a:avLst/>
                <a:gdLst>
                  <a:gd name="T0" fmla="*/ 1500 w 3000"/>
                  <a:gd name="T1" fmla="*/ 3500 h 3500"/>
                  <a:gd name="T2" fmla="*/ 3000 w 3000"/>
                  <a:gd name="T3" fmla="*/ 2000 h 3500"/>
                  <a:gd name="T4" fmla="*/ 3000 w 3000"/>
                  <a:gd name="T5" fmla="*/ 1500 h 3500"/>
                  <a:gd name="T6" fmla="*/ 1500 w 3000"/>
                  <a:gd name="T7" fmla="*/ 0 h 3500"/>
                  <a:gd name="T8" fmla="*/ 0 w 3000"/>
                  <a:gd name="T9" fmla="*/ 1500 h 3500"/>
                  <a:gd name="T10" fmla="*/ 0 w 3000"/>
                  <a:gd name="T11" fmla="*/ 2000 h 3500"/>
                  <a:gd name="T12" fmla="*/ 1500 w 3000"/>
                  <a:gd name="T13" fmla="*/ 3500 h 3500"/>
                  <a:gd name="T14" fmla="*/ 500 w 3000"/>
                  <a:gd name="T15" fmla="*/ 1500 h 3500"/>
                  <a:gd name="T16" fmla="*/ 1500 w 3000"/>
                  <a:gd name="T17" fmla="*/ 500 h 3500"/>
                  <a:gd name="T18" fmla="*/ 2500 w 3000"/>
                  <a:gd name="T19" fmla="*/ 1500 h 3500"/>
                  <a:gd name="T20" fmla="*/ 2500 w 3000"/>
                  <a:gd name="T21" fmla="*/ 2000 h 3500"/>
                  <a:gd name="T22" fmla="*/ 1500 w 3000"/>
                  <a:gd name="T23" fmla="*/ 3000 h 3500"/>
                  <a:gd name="T24" fmla="*/ 500 w 3000"/>
                  <a:gd name="T25" fmla="*/ 2000 h 3500"/>
                  <a:gd name="T26" fmla="*/ 500 w 3000"/>
                  <a:gd name="T27" fmla="*/ 1500 h 3500"/>
                  <a:gd name="T28" fmla="*/ 500 w 3000"/>
                  <a:gd name="T29" fmla="*/ 1500 h 3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00" h="3500">
                    <a:moveTo>
                      <a:pt x="1500" y="3500"/>
                    </a:moveTo>
                    <a:cubicBezTo>
                      <a:pt x="2327" y="3500"/>
                      <a:pt x="3000" y="2827"/>
                      <a:pt x="3000" y="2000"/>
                    </a:cubicBezTo>
                    <a:lnTo>
                      <a:pt x="3000" y="1500"/>
                    </a:lnTo>
                    <a:cubicBezTo>
                      <a:pt x="3000" y="673"/>
                      <a:pt x="2327" y="0"/>
                      <a:pt x="1500" y="0"/>
                    </a:cubicBezTo>
                    <a:cubicBezTo>
                      <a:pt x="673" y="0"/>
                      <a:pt x="0" y="673"/>
                      <a:pt x="0" y="1500"/>
                    </a:cubicBezTo>
                    <a:lnTo>
                      <a:pt x="0" y="2000"/>
                    </a:lnTo>
                    <a:cubicBezTo>
                      <a:pt x="0" y="2827"/>
                      <a:pt x="673" y="3500"/>
                      <a:pt x="1500" y="3500"/>
                    </a:cubicBezTo>
                    <a:close/>
                    <a:moveTo>
                      <a:pt x="500" y="1500"/>
                    </a:moveTo>
                    <a:cubicBezTo>
                      <a:pt x="500" y="948"/>
                      <a:pt x="948" y="500"/>
                      <a:pt x="1500" y="500"/>
                    </a:cubicBezTo>
                    <a:cubicBezTo>
                      <a:pt x="2051" y="500"/>
                      <a:pt x="2500" y="948"/>
                      <a:pt x="2500" y="1500"/>
                    </a:cubicBezTo>
                    <a:lnTo>
                      <a:pt x="2500" y="2000"/>
                    </a:lnTo>
                    <a:cubicBezTo>
                      <a:pt x="2500" y="2551"/>
                      <a:pt x="2051" y="3000"/>
                      <a:pt x="1500" y="3000"/>
                    </a:cubicBezTo>
                    <a:cubicBezTo>
                      <a:pt x="948" y="3000"/>
                      <a:pt x="500" y="2551"/>
                      <a:pt x="500" y="2000"/>
                    </a:cubicBezTo>
                    <a:lnTo>
                      <a:pt x="500" y="1500"/>
                    </a:lnTo>
                    <a:close/>
                    <a:moveTo>
                      <a:pt x="500" y="150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33" name="Groupe 132"/>
          <p:cNvGrpSpPr/>
          <p:nvPr/>
        </p:nvGrpSpPr>
        <p:grpSpPr>
          <a:xfrm>
            <a:off x="3730266" y="3028004"/>
            <a:ext cx="640677" cy="806645"/>
            <a:chOff x="3594933" y="2841477"/>
            <a:chExt cx="474722" cy="597699"/>
          </a:xfrm>
        </p:grpSpPr>
        <p:sp>
          <p:nvSpPr>
            <p:cNvPr id="134" name="Freeform 14">
              <a:extLst>
                <a:ext uri="{FF2B5EF4-FFF2-40B4-BE49-F238E27FC236}">
                  <a16:creationId xmlns:a16="http://schemas.microsoft.com/office/drawing/2014/main" id="{7D92FF7C-326D-1C49-A57F-2CE4C5F5B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933" y="2841477"/>
              <a:ext cx="474722" cy="597699"/>
            </a:xfrm>
            <a:custGeom>
              <a:avLst/>
              <a:gdLst>
                <a:gd name="T0" fmla="*/ 555 w 841"/>
                <a:gd name="T1" fmla="*/ 971 h 1059"/>
                <a:gd name="T2" fmla="*/ 841 w 841"/>
                <a:gd name="T3" fmla="*/ 436 h 1059"/>
                <a:gd name="T4" fmla="*/ 841 w 841"/>
                <a:gd name="T5" fmla="*/ 204 h 1059"/>
                <a:gd name="T6" fmla="*/ 772 w 841"/>
                <a:gd name="T7" fmla="*/ 109 h 1059"/>
                <a:gd name="T8" fmla="*/ 452 w 841"/>
                <a:gd name="T9" fmla="*/ 5 h 1059"/>
                <a:gd name="T10" fmla="*/ 420 w 841"/>
                <a:gd name="T11" fmla="*/ 0 h 1059"/>
                <a:gd name="T12" fmla="*/ 390 w 841"/>
                <a:gd name="T13" fmla="*/ 5 h 1059"/>
                <a:gd name="T14" fmla="*/ 70 w 841"/>
                <a:gd name="T15" fmla="*/ 109 h 1059"/>
                <a:gd name="T16" fmla="*/ 0 w 841"/>
                <a:gd name="T17" fmla="*/ 204 h 1059"/>
                <a:gd name="T18" fmla="*/ 0 w 841"/>
                <a:gd name="T19" fmla="*/ 436 h 1059"/>
                <a:gd name="T20" fmla="*/ 287 w 841"/>
                <a:gd name="T21" fmla="*/ 971 h 1059"/>
                <a:gd name="T22" fmla="*/ 420 w 841"/>
                <a:gd name="T23" fmla="*/ 1059 h 1059"/>
                <a:gd name="T24" fmla="*/ 555 w 841"/>
                <a:gd name="T25" fmla="*/ 971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1" h="1059">
                  <a:moveTo>
                    <a:pt x="555" y="971"/>
                  </a:moveTo>
                  <a:cubicBezTo>
                    <a:pt x="733" y="851"/>
                    <a:pt x="841" y="651"/>
                    <a:pt x="841" y="436"/>
                  </a:cubicBezTo>
                  <a:lnTo>
                    <a:pt x="841" y="204"/>
                  </a:lnTo>
                  <a:cubicBezTo>
                    <a:pt x="841" y="161"/>
                    <a:pt x="813" y="122"/>
                    <a:pt x="772" y="109"/>
                  </a:cubicBezTo>
                  <a:lnTo>
                    <a:pt x="452" y="5"/>
                  </a:lnTo>
                  <a:cubicBezTo>
                    <a:pt x="441" y="2"/>
                    <a:pt x="431" y="0"/>
                    <a:pt x="420" y="0"/>
                  </a:cubicBezTo>
                  <a:cubicBezTo>
                    <a:pt x="410" y="0"/>
                    <a:pt x="400" y="2"/>
                    <a:pt x="390" y="5"/>
                  </a:cubicBezTo>
                  <a:lnTo>
                    <a:pt x="70" y="109"/>
                  </a:lnTo>
                  <a:cubicBezTo>
                    <a:pt x="28" y="122"/>
                    <a:pt x="0" y="161"/>
                    <a:pt x="0" y="204"/>
                  </a:cubicBezTo>
                  <a:lnTo>
                    <a:pt x="0" y="436"/>
                  </a:lnTo>
                  <a:cubicBezTo>
                    <a:pt x="0" y="651"/>
                    <a:pt x="108" y="851"/>
                    <a:pt x="287" y="971"/>
                  </a:cubicBezTo>
                  <a:lnTo>
                    <a:pt x="420" y="1059"/>
                  </a:lnTo>
                  <a:lnTo>
                    <a:pt x="555" y="971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E57518"/>
                </a:gs>
                <a:gs pos="0">
                  <a:srgbClr val="FEC232">
                    <a:alpha val="7800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135" name="Group 87"/>
            <p:cNvGrpSpPr>
              <a:grpSpLocks noChangeAspect="1"/>
            </p:cNvGrpSpPr>
            <p:nvPr/>
          </p:nvGrpSpPr>
          <p:grpSpPr bwMode="auto">
            <a:xfrm>
              <a:off x="3694905" y="2962275"/>
              <a:ext cx="267605" cy="313904"/>
              <a:chOff x="1870" y="3037"/>
              <a:chExt cx="289" cy="339"/>
            </a:xfrm>
            <a:solidFill>
              <a:srgbClr val="A136A0"/>
            </a:solidFill>
          </p:grpSpPr>
          <p:sp>
            <p:nvSpPr>
              <p:cNvPr id="136" name="Freeform 88"/>
              <p:cNvSpPr>
                <a:spLocks/>
              </p:cNvSpPr>
              <p:nvPr/>
            </p:nvSpPr>
            <p:spPr bwMode="auto">
              <a:xfrm>
                <a:off x="1870" y="3037"/>
                <a:ext cx="207" cy="92"/>
              </a:xfrm>
              <a:custGeom>
                <a:avLst/>
                <a:gdLst>
                  <a:gd name="T0" fmla="*/ 94 w 3913"/>
                  <a:gd name="T1" fmla="*/ 1219 h 1730"/>
                  <a:gd name="T2" fmla="*/ 188 w 3913"/>
                  <a:gd name="T3" fmla="*/ 1126 h 1730"/>
                  <a:gd name="T4" fmla="*/ 188 w 3913"/>
                  <a:gd name="T5" fmla="*/ 673 h 1730"/>
                  <a:gd name="T6" fmla="*/ 673 w 3913"/>
                  <a:gd name="T7" fmla="*/ 188 h 1730"/>
                  <a:gd name="T8" fmla="*/ 3240 w 3913"/>
                  <a:gd name="T9" fmla="*/ 188 h 1730"/>
                  <a:gd name="T10" fmla="*/ 3725 w 3913"/>
                  <a:gd name="T11" fmla="*/ 673 h 1730"/>
                  <a:gd name="T12" fmla="*/ 3725 w 3913"/>
                  <a:gd name="T13" fmla="*/ 1636 h 1730"/>
                  <a:gd name="T14" fmla="*/ 3819 w 3913"/>
                  <a:gd name="T15" fmla="*/ 1730 h 1730"/>
                  <a:gd name="T16" fmla="*/ 3913 w 3913"/>
                  <a:gd name="T17" fmla="*/ 1636 h 1730"/>
                  <a:gd name="T18" fmla="*/ 3913 w 3913"/>
                  <a:gd name="T19" fmla="*/ 673 h 1730"/>
                  <a:gd name="T20" fmla="*/ 3240 w 3913"/>
                  <a:gd name="T21" fmla="*/ 0 h 1730"/>
                  <a:gd name="T22" fmla="*/ 673 w 3913"/>
                  <a:gd name="T23" fmla="*/ 0 h 1730"/>
                  <a:gd name="T24" fmla="*/ 0 w 3913"/>
                  <a:gd name="T25" fmla="*/ 673 h 1730"/>
                  <a:gd name="T26" fmla="*/ 0 w 3913"/>
                  <a:gd name="T27" fmla="*/ 1126 h 1730"/>
                  <a:gd name="T28" fmla="*/ 94 w 3913"/>
                  <a:gd name="T29" fmla="*/ 1219 h 17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913" h="1730">
                    <a:moveTo>
                      <a:pt x="94" y="1219"/>
                    </a:moveTo>
                    <a:cubicBezTo>
                      <a:pt x="146" y="1219"/>
                      <a:pt x="188" y="1177"/>
                      <a:pt x="188" y="1126"/>
                    </a:cubicBezTo>
                    <a:lnTo>
                      <a:pt x="188" y="673"/>
                    </a:lnTo>
                    <a:cubicBezTo>
                      <a:pt x="188" y="405"/>
                      <a:pt x="406" y="188"/>
                      <a:pt x="673" y="188"/>
                    </a:cubicBezTo>
                    <a:lnTo>
                      <a:pt x="3240" y="188"/>
                    </a:lnTo>
                    <a:cubicBezTo>
                      <a:pt x="3507" y="188"/>
                      <a:pt x="3725" y="405"/>
                      <a:pt x="3725" y="673"/>
                    </a:cubicBezTo>
                    <a:lnTo>
                      <a:pt x="3725" y="1636"/>
                    </a:lnTo>
                    <a:cubicBezTo>
                      <a:pt x="3725" y="1688"/>
                      <a:pt x="3767" y="1730"/>
                      <a:pt x="3819" y="1730"/>
                    </a:cubicBezTo>
                    <a:cubicBezTo>
                      <a:pt x="3871" y="1730"/>
                      <a:pt x="3913" y="1688"/>
                      <a:pt x="3913" y="1636"/>
                    </a:cubicBezTo>
                    <a:lnTo>
                      <a:pt x="3913" y="673"/>
                    </a:lnTo>
                    <a:cubicBezTo>
                      <a:pt x="3913" y="302"/>
                      <a:pt x="3611" y="0"/>
                      <a:pt x="3240" y="0"/>
                    </a:cubicBezTo>
                    <a:lnTo>
                      <a:pt x="673" y="0"/>
                    </a:lnTo>
                    <a:cubicBezTo>
                      <a:pt x="302" y="0"/>
                      <a:pt x="0" y="302"/>
                      <a:pt x="0" y="673"/>
                    </a:cubicBezTo>
                    <a:lnTo>
                      <a:pt x="0" y="1126"/>
                    </a:lnTo>
                    <a:cubicBezTo>
                      <a:pt x="0" y="1177"/>
                      <a:pt x="42" y="1219"/>
                      <a:pt x="94" y="121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37" name="Freeform 89"/>
              <p:cNvSpPr>
                <a:spLocks/>
              </p:cNvSpPr>
              <p:nvPr/>
            </p:nvSpPr>
            <p:spPr bwMode="auto">
              <a:xfrm>
                <a:off x="1870" y="3113"/>
                <a:ext cx="207" cy="263"/>
              </a:xfrm>
              <a:custGeom>
                <a:avLst/>
                <a:gdLst>
                  <a:gd name="T0" fmla="*/ 3819 w 3913"/>
                  <a:gd name="T1" fmla="*/ 3247 h 4968"/>
                  <a:gd name="T2" fmla="*/ 3725 w 3913"/>
                  <a:gd name="T3" fmla="*/ 3340 h 4968"/>
                  <a:gd name="T4" fmla="*/ 3725 w 3913"/>
                  <a:gd name="T5" fmla="*/ 4295 h 4968"/>
                  <a:gd name="T6" fmla="*/ 3240 w 3913"/>
                  <a:gd name="T7" fmla="*/ 4780 h 4968"/>
                  <a:gd name="T8" fmla="*/ 673 w 3913"/>
                  <a:gd name="T9" fmla="*/ 4780 h 4968"/>
                  <a:gd name="T10" fmla="*/ 188 w 3913"/>
                  <a:gd name="T11" fmla="*/ 4295 h 4968"/>
                  <a:gd name="T12" fmla="*/ 188 w 3913"/>
                  <a:gd name="T13" fmla="*/ 93 h 4968"/>
                  <a:gd name="T14" fmla="*/ 94 w 3913"/>
                  <a:gd name="T15" fmla="*/ 0 h 4968"/>
                  <a:gd name="T16" fmla="*/ 0 w 3913"/>
                  <a:gd name="T17" fmla="*/ 93 h 4968"/>
                  <a:gd name="T18" fmla="*/ 0 w 3913"/>
                  <a:gd name="T19" fmla="*/ 4295 h 4968"/>
                  <a:gd name="T20" fmla="*/ 673 w 3913"/>
                  <a:gd name="T21" fmla="*/ 4968 h 4968"/>
                  <a:gd name="T22" fmla="*/ 3240 w 3913"/>
                  <a:gd name="T23" fmla="*/ 4968 h 4968"/>
                  <a:gd name="T24" fmla="*/ 3913 w 3913"/>
                  <a:gd name="T25" fmla="*/ 4295 h 4968"/>
                  <a:gd name="T26" fmla="*/ 3913 w 3913"/>
                  <a:gd name="T27" fmla="*/ 3340 h 4968"/>
                  <a:gd name="T28" fmla="*/ 3819 w 3913"/>
                  <a:gd name="T29" fmla="*/ 3247 h 4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913" h="4968">
                    <a:moveTo>
                      <a:pt x="3819" y="3247"/>
                    </a:moveTo>
                    <a:cubicBezTo>
                      <a:pt x="3767" y="3247"/>
                      <a:pt x="3725" y="3289"/>
                      <a:pt x="3725" y="3340"/>
                    </a:cubicBezTo>
                    <a:lnTo>
                      <a:pt x="3725" y="4295"/>
                    </a:lnTo>
                    <a:cubicBezTo>
                      <a:pt x="3725" y="4563"/>
                      <a:pt x="3507" y="4780"/>
                      <a:pt x="3240" y="4780"/>
                    </a:cubicBezTo>
                    <a:lnTo>
                      <a:pt x="673" y="4780"/>
                    </a:lnTo>
                    <a:cubicBezTo>
                      <a:pt x="406" y="4780"/>
                      <a:pt x="188" y="4563"/>
                      <a:pt x="188" y="4295"/>
                    </a:cubicBezTo>
                    <a:lnTo>
                      <a:pt x="188" y="93"/>
                    </a:lnTo>
                    <a:cubicBezTo>
                      <a:pt x="188" y="42"/>
                      <a:pt x="146" y="0"/>
                      <a:pt x="94" y="0"/>
                    </a:cubicBezTo>
                    <a:cubicBezTo>
                      <a:pt x="42" y="0"/>
                      <a:pt x="0" y="42"/>
                      <a:pt x="0" y="93"/>
                    </a:cubicBezTo>
                    <a:lnTo>
                      <a:pt x="0" y="4295"/>
                    </a:lnTo>
                    <a:cubicBezTo>
                      <a:pt x="0" y="4666"/>
                      <a:pt x="302" y="4968"/>
                      <a:pt x="673" y="4968"/>
                    </a:cubicBezTo>
                    <a:lnTo>
                      <a:pt x="3240" y="4968"/>
                    </a:lnTo>
                    <a:cubicBezTo>
                      <a:pt x="3611" y="4968"/>
                      <a:pt x="3913" y="4666"/>
                      <a:pt x="3913" y="4295"/>
                    </a:cubicBezTo>
                    <a:lnTo>
                      <a:pt x="3913" y="3340"/>
                    </a:lnTo>
                    <a:cubicBezTo>
                      <a:pt x="3913" y="3289"/>
                      <a:pt x="3871" y="3247"/>
                      <a:pt x="3819" y="324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38" name="Freeform 90"/>
              <p:cNvSpPr>
                <a:spLocks/>
              </p:cNvSpPr>
              <p:nvPr/>
            </p:nvSpPr>
            <p:spPr bwMode="auto">
              <a:xfrm>
                <a:off x="1890" y="3057"/>
                <a:ext cx="167" cy="299"/>
              </a:xfrm>
              <a:custGeom>
                <a:avLst/>
                <a:gdLst>
                  <a:gd name="T0" fmla="*/ 3068 w 3161"/>
                  <a:gd name="T1" fmla="*/ 1355 h 5650"/>
                  <a:gd name="T2" fmla="*/ 3161 w 3161"/>
                  <a:gd name="T3" fmla="*/ 1261 h 5650"/>
                  <a:gd name="T4" fmla="*/ 3161 w 3161"/>
                  <a:gd name="T5" fmla="*/ 298 h 5650"/>
                  <a:gd name="T6" fmla="*/ 2864 w 3161"/>
                  <a:gd name="T7" fmla="*/ 0 h 5650"/>
                  <a:gd name="T8" fmla="*/ 2423 w 3161"/>
                  <a:gd name="T9" fmla="*/ 0 h 5650"/>
                  <a:gd name="T10" fmla="*/ 2331 w 3161"/>
                  <a:gd name="T11" fmla="*/ 76 h 5650"/>
                  <a:gd name="T12" fmla="*/ 2330 w 3161"/>
                  <a:gd name="T13" fmla="*/ 77 h 5650"/>
                  <a:gd name="T14" fmla="*/ 2205 w 3161"/>
                  <a:gd name="T15" fmla="*/ 180 h 5650"/>
                  <a:gd name="T16" fmla="*/ 955 w 3161"/>
                  <a:gd name="T17" fmla="*/ 180 h 5650"/>
                  <a:gd name="T18" fmla="*/ 831 w 3161"/>
                  <a:gd name="T19" fmla="*/ 78 h 5650"/>
                  <a:gd name="T20" fmla="*/ 830 w 3161"/>
                  <a:gd name="T21" fmla="*/ 76 h 5650"/>
                  <a:gd name="T22" fmla="*/ 738 w 3161"/>
                  <a:gd name="T23" fmla="*/ 0 h 5650"/>
                  <a:gd name="T24" fmla="*/ 297 w 3161"/>
                  <a:gd name="T25" fmla="*/ 0 h 5650"/>
                  <a:gd name="T26" fmla="*/ 0 w 3161"/>
                  <a:gd name="T27" fmla="*/ 298 h 5650"/>
                  <a:gd name="T28" fmla="*/ 0 w 3161"/>
                  <a:gd name="T29" fmla="*/ 5352 h 5650"/>
                  <a:gd name="T30" fmla="*/ 297 w 3161"/>
                  <a:gd name="T31" fmla="*/ 5650 h 5650"/>
                  <a:gd name="T32" fmla="*/ 563 w 3161"/>
                  <a:gd name="T33" fmla="*/ 5650 h 5650"/>
                  <a:gd name="T34" fmla="*/ 657 w 3161"/>
                  <a:gd name="T35" fmla="*/ 5556 h 5650"/>
                  <a:gd name="T36" fmla="*/ 563 w 3161"/>
                  <a:gd name="T37" fmla="*/ 5462 h 5650"/>
                  <a:gd name="T38" fmla="*/ 297 w 3161"/>
                  <a:gd name="T39" fmla="*/ 5462 h 5650"/>
                  <a:gd name="T40" fmla="*/ 187 w 3161"/>
                  <a:gd name="T41" fmla="*/ 5352 h 5650"/>
                  <a:gd name="T42" fmla="*/ 187 w 3161"/>
                  <a:gd name="T43" fmla="*/ 298 h 5650"/>
                  <a:gd name="T44" fmla="*/ 297 w 3161"/>
                  <a:gd name="T45" fmla="*/ 188 h 5650"/>
                  <a:gd name="T46" fmla="*/ 671 w 3161"/>
                  <a:gd name="T47" fmla="*/ 188 h 5650"/>
                  <a:gd name="T48" fmla="*/ 955 w 3161"/>
                  <a:gd name="T49" fmla="*/ 368 h 5650"/>
                  <a:gd name="T50" fmla="*/ 2205 w 3161"/>
                  <a:gd name="T51" fmla="*/ 368 h 5650"/>
                  <a:gd name="T52" fmla="*/ 2490 w 3161"/>
                  <a:gd name="T53" fmla="*/ 188 h 5650"/>
                  <a:gd name="T54" fmla="*/ 2864 w 3161"/>
                  <a:gd name="T55" fmla="*/ 188 h 5650"/>
                  <a:gd name="T56" fmla="*/ 2974 w 3161"/>
                  <a:gd name="T57" fmla="*/ 298 h 5650"/>
                  <a:gd name="T58" fmla="*/ 2974 w 3161"/>
                  <a:gd name="T59" fmla="*/ 1261 h 5650"/>
                  <a:gd name="T60" fmla="*/ 3068 w 3161"/>
                  <a:gd name="T61" fmla="*/ 1355 h 5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161" h="5650">
                    <a:moveTo>
                      <a:pt x="3068" y="1355"/>
                    </a:moveTo>
                    <a:cubicBezTo>
                      <a:pt x="3119" y="1355"/>
                      <a:pt x="3161" y="1313"/>
                      <a:pt x="3161" y="1261"/>
                    </a:cubicBezTo>
                    <a:lnTo>
                      <a:pt x="3161" y="298"/>
                    </a:lnTo>
                    <a:cubicBezTo>
                      <a:pt x="3161" y="134"/>
                      <a:pt x="3028" y="0"/>
                      <a:pt x="2864" y="0"/>
                    </a:cubicBezTo>
                    <a:lnTo>
                      <a:pt x="2423" y="0"/>
                    </a:lnTo>
                    <a:cubicBezTo>
                      <a:pt x="2378" y="0"/>
                      <a:pt x="2339" y="32"/>
                      <a:pt x="2331" y="76"/>
                    </a:cubicBezTo>
                    <a:lnTo>
                      <a:pt x="2330" y="77"/>
                    </a:lnTo>
                    <a:cubicBezTo>
                      <a:pt x="2318" y="137"/>
                      <a:pt x="2266" y="180"/>
                      <a:pt x="2205" y="180"/>
                    </a:cubicBezTo>
                    <a:lnTo>
                      <a:pt x="955" y="180"/>
                    </a:lnTo>
                    <a:cubicBezTo>
                      <a:pt x="895" y="180"/>
                      <a:pt x="842" y="137"/>
                      <a:pt x="831" y="78"/>
                    </a:cubicBezTo>
                    <a:lnTo>
                      <a:pt x="830" y="76"/>
                    </a:lnTo>
                    <a:cubicBezTo>
                      <a:pt x="821" y="32"/>
                      <a:pt x="783" y="0"/>
                      <a:pt x="738" y="0"/>
                    </a:cubicBezTo>
                    <a:lnTo>
                      <a:pt x="297" y="0"/>
                    </a:lnTo>
                    <a:cubicBezTo>
                      <a:pt x="133" y="0"/>
                      <a:pt x="0" y="134"/>
                      <a:pt x="0" y="298"/>
                    </a:cubicBezTo>
                    <a:lnTo>
                      <a:pt x="0" y="5352"/>
                    </a:lnTo>
                    <a:cubicBezTo>
                      <a:pt x="0" y="5516"/>
                      <a:pt x="133" y="5650"/>
                      <a:pt x="297" y="5650"/>
                    </a:cubicBezTo>
                    <a:lnTo>
                      <a:pt x="563" y="5650"/>
                    </a:lnTo>
                    <a:cubicBezTo>
                      <a:pt x="615" y="5650"/>
                      <a:pt x="657" y="5608"/>
                      <a:pt x="657" y="5556"/>
                    </a:cubicBezTo>
                    <a:cubicBezTo>
                      <a:pt x="657" y="5504"/>
                      <a:pt x="615" y="5462"/>
                      <a:pt x="563" y="5462"/>
                    </a:cubicBezTo>
                    <a:lnTo>
                      <a:pt x="297" y="5462"/>
                    </a:lnTo>
                    <a:cubicBezTo>
                      <a:pt x="236" y="5462"/>
                      <a:pt x="187" y="5413"/>
                      <a:pt x="187" y="5352"/>
                    </a:cubicBezTo>
                    <a:lnTo>
                      <a:pt x="187" y="298"/>
                    </a:lnTo>
                    <a:cubicBezTo>
                      <a:pt x="187" y="237"/>
                      <a:pt x="236" y="188"/>
                      <a:pt x="297" y="188"/>
                    </a:cubicBezTo>
                    <a:lnTo>
                      <a:pt x="671" y="188"/>
                    </a:lnTo>
                    <a:cubicBezTo>
                      <a:pt x="722" y="295"/>
                      <a:pt x="832" y="368"/>
                      <a:pt x="955" y="368"/>
                    </a:cubicBezTo>
                    <a:lnTo>
                      <a:pt x="2205" y="368"/>
                    </a:lnTo>
                    <a:cubicBezTo>
                      <a:pt x="2329" y="368"/>
                      <a:pt x="2439" y="295"/>
                      <a:pt x="2490" y="188"/>
                    </a:cubicBezTo>
                    <a:lnTo>
                      <a:pt x="2864" y="188"/>
                    </a:lnTo>
                    <a:cubicBezTo>
                      <a:pt x="2924" y="188"/>
                      <a:pt x="2974" y="237"/>
                      <a:pt x="2974" y="298"/>
                    </a:cubicBezTo>
                    <a:lnTo>
                      <a:pt x="2974" y="1261"/>
                    </a:lnTo>
                    <a:cubicBezTo>
                      <a:pt x="2974" y="1313"/>
                      <a:pt x="3016" y="1355"/>
                      <a:pt x="3068" y="135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39" name="Freeform 91"/>
              <p:cNvSpPr>
                <a:spLocks/>
              </p:cNvSpPr>
              <p:nvPr/>
            </p:nvSpPr>
            <p:spPr bwMode="auto">
              <a:xfrm>
                <a:off x="1936" y="3285"/>
                <a:ext cx="121" cy="71"/>
              </a:xfrm>
              <a:custGeom>
                <a:avLst/>
                <a:gdLst>
                  <a:gd name="T0" fmla="*/ 0 w 2292"/>
                  <a:gd name="T1" fmla="*/ 1252 h 1346"/>
                  <a:gd name="T2" fmla="*/ 94 w 2292"/>
                  <a:gd name="T3" fmla="*/ 1346 h 1346"/>
                  <a:gd name="T4" fmla="*/ 1995 w 2292"/>
                  <a:gd name="T5" fmla="*/ 1346 h 1346"/>
                  <a:gd name="T6" fmla="*/ 2292 w 2292"/>
                  <a:gd name="T7" fmla="*/ 1048 h 1346"/>
                  <a:gd name="T8" fmla="*/ 2292 w 2292"/>
                  <a:gd name="T9" fmla="*/ 93 h 1346"/>
                  <a:gd name="T10" fmla="*/ 2199 w 2292"/>
                  <a:gd name="T11" fmla="*/ 0 h 1346"/>
                  <a:gd name="T12" fmla="*/ 2105 w 2292"/>
                  <a:gd name="T13" fmla="*/ 93 h 1346"/>
                  <a:gd name="T14" fmla="*/ 2105 w 2292"/>
                  <a:gd name="T15" fmla="*/ 1048 h 1346"/>
                  <a:gd name="T16" fmla="*/ 1995 w 2292"/>
                  <a:gd name="T17" fmla="*/ 1158 h 1346"/>
                  <a:gd name="T18" fmla="*/ 94 w 2292"/>
                  <a:gd name="T19" fmla="*/ 1158 h 1346"/>
                  <a:gd name="T20" fmla="*/ 0 w 2292"/>
                  <a:gd name="T21" fmla="*/ 1252 h 1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92" h="1346">
                    <a:moveTo>
                      <a:pt x="0" y="1252"/>
                    </a:moveTo>
                    <a:cubicBezTo>
                      <a:pt x="0" y="1304"/>
                      <a:pt x="42" y="1346"/>
                      <a:pt x="94" y="1346"/>
                    </a:cubicBezTo>
                    <a:lnTo>
                      <a:pt x="1995" y="1346"/>
                    </a:lnTo>
                    <a:cubicBezTo>
                      <a:pt x="2159" y="1346"/>
                      <a:pt x="2292" y="1212"/>
                      <a:pt x="2292" y="1048"/>
                    </a:cubicBezTo>
                    <a:lnTo>
                      <a:pt x="2292" y="93"/>
                    </a:lnTo>
                    <a:cubicBezTo>
                      <a:pt x="2292" y="42"/>
                      <a:pt x="2250" y="0"/>
                      <a:pt x="2199" y="0"/>
                    </a:cubicBezTo>
                    <a:cubicBezTo>
                      <a:pt x="2147" y="0"/>
                      <a:pt x="2105" y="42"/>
                      <a:pt x="2105" y="93"/>
                    </a:cubicBezTo>
                    <a:lnTo>
                      <a:pt x="2105" y="1048"/>
                    </a:lnTo>
                    <a:cubicBezTo>
                      <a:pt x="2105" y="1109"/>
                      <a:pt x="2055" y="1158"/>
                      <a:pt x="1995" y="1158"/>
                    </a:cubicBezTo>
                    <a:lnTo>
                      <a:pt x="94" y="1158"/>
                    </a:lnTo>
                    <a:cubicBezTo>
                      <a:pt x="42" y="1158"/>
                      <a:pt x="0" y="1200"/>
                      <a:pt x="0" y="125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40" name="Freeform 92"/>
              <p:cNvSpPr>
                <a:spLocks noEditPoints="1"/>
              </p:cNvSpPr>
              <p:nvPr/>
            </p:nvSpPr>
            <p:spPr bwMode="auto">
              <a:xfrm>
                <a:off x="1965" y="3138"/>
                <a:ext cx="194" cy="137"/>
              </a:xfrm>
              <a:custGeom>
                <a:avLst/>
                <a:gdLst>
                  <a:gd name="T0" fmla="*/ 3335 w 3670"/>
                  <a:gd name="T1" fmla="*/ 0 h 2574"/>
                  <a:gd name="T2" fmla="*/ 2782 w 3670"/>
                  <a:gd name="T3" fmla="*/ 0 h 2574"/>
                  <a:gd name="T4" fmla="*/ 2688 w 3670"/>
                  <a:gd name="T5" fmla="*/ 94 h 2574"/>
                  <a:gd name="T6" fmla="*/ 2782 w 3670"/>
                  <a:gd name="T7" fmla="*/ 188 h 2574"/>
                  <a:gd name="T8" fmla="*/ 3335 w 3670"/>
                  <a:gd name="T9" fmla="*/ 188 h 2574"/>
                  <a:gd name="T10" fmla="*/ 3474 w 3670"/>
                  <a:gd name="T11" fmla="*/ 287 h 2574"/>
                  <a:gd name="T12" fmla="*/ 1891 w 3670"/>
                  <a:gd name="T13" fmla="*/ 1244 h 2574"/>
                  <a:gd name="T14" fmla="*/ 1779 w 3670"/>
                  <a:gd name="T15" fmla="*/ 1244 h 2574"/>
                  <a:gd name="T16" fmla="*/ 196 w 3670"/>
                  <a:gd name="T17" fmla="*/ 287 h 2574"/>
                  <a:gd name="T18" fmla="*/ 334 w 3670"/>
                  <a:gd name="T19" fmla="*/ 188 h 2574"/>
                  <a:gd name="T20" fmla="*/ 2382 w 3670"/>
                  <a:gd name="T21" fmla="*/ 188 h 2574"/>
                  <a:gd name="T22" fmla="*/ 2476 w 3670"/>
                  <a:gd name="T23" fmla="*/ 94 h 2574"/>
                  <a:gd name="T24" fmla="*/ 2382 w 3670"/>
                  <a:gd name="T25" fmla="*/ 0 h 2574"/>
                  <a:gd name="T26" fmla="*/ 334 w 3670"/>
                  <a:gd name="T27" fmla="*/ 0 h 2574"/>
                  <a:gd name="T28" fmla="*/ 0 w 3670"/>
                  <a:gd name="T29" fmla="*/ 335 h 2574"/>
                  <a:gd name="T30" fmla="*/ 0 w 3670"/>
                  <a:gd name="T31" fmla="*/ 2240 h 2574"/>
                  <a:gd name="T32" fmla="*/ 334 w 3670"/>
                  <a:gd name="T33" fmla="*/ 2574 h 2574"/>
                  <a:gd name="T34" fmla="*/ 3335 w 3670"/>
                  <a:gd name="T35" fmla="*/ 2574 h 2574"/>
                  <a:gd name="T36" fmla="*/ 3670 w 3670"/>
                  <a:gd name="T37" fmla="*/ 2240 h 2574"/>
                  <a:gd name="T38" fmla="*/ 3670 w 3670"/>
                  <a:gd name="T39" fmla="*/ 335 h 2574"/>
                  <a:gd name="T40" fmla="*/ 3335 w 3670"/>
                  <a:gd name="T41" fmla="*/ 0 h 2574"/>
                  <a:gd name="T42" fmla="*/ 2318 w 3670"/>
                  <a:gd name="T43" fmla="*/ 1205 h 2574"/>
                  <a:gd name="T44" fmla="*/ 3482 w 3670"/>
                  <a:gd name="T45" fmla="*/ 501 h 2574"/>
                  <a:gd name="T46" fmla="*/ 3482 w 3670"/>
                  <a:gd name="T47" fmla="*/ 2055 h 2574"/>
                  <a:gd name="T48" fmla="*/ 2318 w 3670"/>
                  <a:gd name="T49" fmla="*/ 1205 h 2574"/>
                  <a:gd name="T50" fmla="*/ 1351 w 3670"/>
                  <a:gd name="T51" fmla="*/ 1205 h 2574"/>
                  <a:gd name="T52" fmla="*/ 187 w 3670"/>
                  <a:gd name="T53" fmla="*/ 2055 h 2574"/>
                  <a:gd name="T54" fmla="*/ 187 w 3670"/>
                  <a:gd name="T55" fmla="*/ 501 h 2574"/>
                  <a:gd name="T56" fmla="*/ 1351 w 3670"/>
                  <a:gd name="T57" fmla="*/ 1205 h 2574"/>
                  <a:gd name="T58" fmla="*/ 3335 w 3670"/>
                  <a:gd name="T59" fmla="*/ 2386 h 2574"/>
                  <a:gd name="T60" fmla="*/ 334 w 3670"/>
                  <a:gd name="T61" fmla="*/ 2386 h 2574"/>
                  <a:gd name="T62" fmla="*/ 194 w 3670"/>
                  <a:gd name="T63" fmla="*/ 2282 h 2574"/>
                  <a:gd name="T64" fmla="*/ 1525 w 3670"/>
                  <a:gd name="T65" fmla="*/ 1310 h 2574"/>
                  <a:gd name="T66" fmla="*/ 1682 w 3670"/>
                  <a:gd name="T67" fmla="*/ 1405 h 2574"/>
                  <a:gd name="T68" fmla="*/ 1835 w 3670"/>
                  <a:gd name="T69" fmla="*/ 1448 h 2574"/>
                  <a:gd name="T70" fmla="*/ 1988 w 3670"/>
                  <a:gd name="T71" fmla="*/ 1405 h 2574"/>
                  <a:gd name="T72" fmla="*/ 2144 w 3670"/>
                  <a:gd name="T73" fmla="*/ 1310 h 2574"/>
                  <a:gd name="T74" fmla="*/ 3475 w 3670"/>
                  <a:gd name="T75" fmla="*/ 2283 h 2574"/>
                  <a:gd name="T76" fmla="*/ 3335 w 3670"/>
                  <a:gd name="T77" fmla="*/ 2386 h 25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670" h="2574">
                    <a:moveTo>
                      <a:pt x="3335" y="0"/>
                    </a:moveTo>
                    <a:lnTo>
                      <a:pt x="2782" y="0"/>
                    </a:lnTo>
                    <a:cubicBezTo>
                      <a:pt x="2730" y="0"/>
                      <a:pt x="2688" y="42"/>
                      <a:pt x="2688" y="94"/>
                    </a:cubicBezTo>
                    <a:cubicBezTo>
                      <a:pt x="2688" y="146"/>
                      <a:pt x="2730" y="188"/>
                      <a:pt x="2782" y="188"/>
                    </a:cubicBezTo>
                    <a:lnTo>
                      <a:pt x="3335" y="188"/>
                    </a:lnTo>
                    <a:cubicBezTo>
                      <a:pt x="3399" y="188"/>
                      <a:pt x="3454" y="229"/>
                      <a:pt x="3474" y="287"/>
                    </a:cubicBezTo>
                    <a:lnTo>
                      <a:pt x="1891" y="1244"/>
                    </a:lnTo>
                    <a:cubicBezTo>
                      <a:pt x="1856" y="1265"/>
                      <a:pt x="1813" y="1265"/>
                      <a:pt x="1779" y="1244"/>
                    </a:cubicBezTo>
                    <a:lnTo>
                      <a:pt x="196" y="287"/>
                    </a:lnTo>
                    <a:cubicBezTo>
                      <a:pt x="216" y="229"/>
                      <a:pt x="270" y="188"/>
                      <a:pt x="334" y="188"/>
                    </a:cubicBezTo>
                    <a:lnTo>
                      <a:pt x="2382" y="188"/>
                    </a:lnTo>
                    <a:cubicBezTo>
                      <a:pt x="2434" y="188"/>
                      <a:pt x="2476" y="146"/>
                      <a:pt x="2476" y="94"/>
                    </a:cubicBezTo>
                    <a:cubicBezTo>
                      <a:pt x="2476" y="42"/>
                      <a:pt x="2434" y="0"/>
                      <a:pt x="2382" y="0"/>
                    </a:cubicBezTo>
                    <a:lnTo>
                      <a:pt x="334" y="0"/>
                    </a:lnTo>
                    <a:cubicBezTo>
                      <a:pt x="150" y="0"/>
                      <a:pt x="0" y="150"/>
                      <a:pt x="0" y="335"/>
                    </a:cubicBezTo>
                    <a:lnTo>
                      <a:pt x="0" y="2240"/>
                    </a:lnTo>
                    <a:cubicBezTo>
                      <a:pt x="0" y="2424"/>
                      <a:pt x="150" y="2574"/>
                      <a:pt x="334" y="2574"/>
                    </a:cubicBezTo>
                    <a:lnTo>
                      <a:pt x="3335" y="2574"/>
                    </a:lnTo>
                    <a:cubicBezTo>
                      <a:pt x="3520" y="2574"/>
                      <a:pt x="3670" y="2424"/>
                      <a:pt x="3670" y="2240"/>
                    </a:cubicBezTo>
                    <a:lnTo>
                      <a:pt x="3670" y="335"/>
                    </a:lnTo>
                    <a:cubicBezTo>
                      <a:pt x="3670" y="150"/>
                      <a:pt x="3520" y="0"/>
                      <a:pt x="3335" y="0"/>
                    </a:cubicBezTo>
                    <a:close/>
                    <a:moveTo>
                      <a:pt x="2318" y="1205"/>
                    </a:moveTo>
                    <a:lnTo>
                      <a:pt x="3482" y="501"/>
                    </a:lnTo>
                    <a:lnTo>
                      <a:pt x="3482" y="2055"/>
                    </a:lnTo>
                    <a:lnTo>
                      <a:pt x="2318" y="1205"/>
                    </a:lnTo>
                    <a:close/>
                    <a:moveTo>
                      <a:pt x="1351" y="1205"/>
                    </a:moveTo>
                    <a:lnTo>
                      <a:pt x="187" y="2055"/>
                    </a:lnTo>
                    <a:lnTo>
                      <a:pt x="187" y="501"/>
                    </a:lnTo>
                    <a:lnTo>
                      <a:pt x="1351" y="1205"/>
                    </a:lnTo>
                    <a:close/>
                    <a:moveTo>
                      <a:pt x="3335" y="2386"/>
                    </a:moveTo>
                    <a:lnTo>
                      <a:pt x="334" y="2386"/>
                    </a:lnTo>
                    <a:cubicBezTo>
                      <a:pt x="268" y="2386"/>
                      <a:pt x="212" y="2343"/>
                      <a:pt x="194" y="2282"/>
                    </a:cubicBezTo>
                    <a:lnTo>
                      <a:pt x="1525" y="1310"/>
                    </a:lnTo>
                    <a:lnTo>
                      <a:pt x="1682" y="1405"/>
                    </a:lnTo>
                    <a:cubicBezTo>
                      <a:pt x="1729" y="1434"/>
                      <a:pt x="1782" y="1448"/>
                      <a:pt x="1835" y="1448"/>
                    </a:cubicBezTo>
                    <a:cubicBezTo>
                      <a:pt x="1888" y="1448"/>
                      <a:pt x="1941" y="1434"/>
                      <a:pt x="1988" y="1405"/>
                    </a:cubicBezTo>
                    <a:lnTo>
                      <a:pt x="2144" y="1310"/>
                    </a:lnTo>
                    <a:lnTo>
                      <a:pt x="3475" y="2283"/>
                    </a:lnTo>
                    <a:cubicBezTo>
                      <a:pt x="3457" y="2343"/>
                      <a:pt x="3401" y="2386"/>
                      <a:pt x="3335" y="2386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</p:grpSp>
      <p:grpSp>
        <p:nvGrpSpPr>
          <p:cNvPr id="141" name="Groupe 140"/>
          <p:cNvGrpSpPr/>
          <p:nvPr/>
        </p:nvGrpSpPr>
        <p:grpSpPr>
          <a:xfrm>
            <a:off x="3730266" y="4037436"/>
            <a:ext cx="640677" cy="806645"/>
            <a:chOff x="3594933" y="3712543"/>
            <a:chExt cx="474722" cy="597699"/>
          </a:xfrm>
        </p:grpSpPr>
        <p:sp>
          <p:nvSpPr>
            <p:cNvPr id="142" name="Freeform 14">
              <a:extLst>
                <a:ext uri="{FF2B5EF4-FFF2-40B4-BE49-F238E27FC236}">
                  <a16:creationId xmlns:a16="http://schemas.microsoft.com/office/drawing/2014/main" id="{7FA54939-6B8E-1343-884C-0CE695DCF2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933" y="3712543"/>
              <a:ext cx="474722" cy="597699"/>
            </a:xfrm>
            <a:custGeom>
              <a:avLst/>
              <a:gdLst>
                <a:gd name="T0" fmla="*/ 555 w 841"/>
                <a:gd name="T1" fmla="*/ 971 h 1059"/>
                <a:gd name="T2" fmla="*/ 841 w 841"/>
                <a:gd name="T3" fmla="*/ 436 h 1059"/>
                <a:gd name="T4" fmla="*/ 841 w 841"/>
                <a:gd name="T5" fmla="*/ 204 h 1059"/>
                <a:gd name="T6" fmla="*/ 772 w 841"/>
                <a:gd name="T7" fmla="*/ 109 h 1059"/>
                <a:gd name="T8" fmla="*/ 452 w 841"/>
                <a:gd name="T9" fmla="*/ 5 h 1059"/>
                <a:gd name="T10" fmla="*/ 420 w 841"/>
                <a:gd name="T11" fmla="*/ 0 h 1059"/>
                <a:gd name="T12" fmla="*/ 390 w 841"/>
                <a:gd name="T13" fmla="*/ 5 h 1059"/>
                <a:gd name="T14" fmla="*/ 70 w 841"/>
                <a:gd name="T15" fmla="*/ 109 h 1059"/>
                <a:gd name="T16" fmla="*/ 0 w 841"/>
                <a:gd name="T17" fmla="*/ 204 h 1059"/>
                <a:gd name="T18" fmla="*/ 0 w 841"/>
                <a:gd name="T19" fmla="*/ 436 h 1059"/>
                <a:gd name="T20" fmla="*/ 287 w 841"/>
                <a:gd name="T21" fmla="*/ 971 h 1059"/>
                <a:gd name="T22" fmla="*/ 420 w 841"/>
                <a:gd name="T23" fmla="*/ 1059 h 1059"/>
                <a:gd name="T24" fmla="*/ 555 w 841"/>
                <a:gd name="T25" fmla="*/ 971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1" h="1059">
                  <a:moveTo>
                    <a:pt x="555" y="971"/>
                  </a:moveTo>
                  <a:cubicBezTo>
                    <a:pt x="733" y="851"/>
                    <a:pt x="841" y="651"/>
                    <a:pt x="841" y="436"/>
                  </a:cubicBezTo>
                  <a:lnTo>
                    <a:pt x="841" y="204"/>
                  </a:lnTo>
                  <a:cubicBezTo>
                    <a:pt x="841" y="161"/>
                    <a:pt x="813" y="122"/>
                    <a:pt x="772" y="109"/>
                  </a:cubicBezTo>
                  <a:lnTo>
                    <a:pt x="452" y="5"/>
                  </a:lnTo>
                  <a:cubicBezTo>
                    <a:pt x="441" y="2"/>
                    <a:pt x="431" y="0"/>
                    <a:pt x="420" y="0"/>
                  </a:cubicBezTo>
                  <a:cubicBezTo>
                    <a:pt x="410" y="0"/>
                    <a:pt x="400" y="2"/>
                    <a:pt x="390" y="5"/>
                  </a:cubicBezTo>
                  <a:lnTo>
                    <a:pt x="70" y="109"/>
                  </a:lnTo>
                  <a:cubicBezTo>
                    <a:pt x="28" y="122"/>
                    <a:pt x="0" y="161"/>
                    <a:pt x="0" y="204"/>
                  </a:cubicBezTo>
                  <a:lnTo>
                    <a:pt x="0" y="436"/>
                  </a:lnTo>
                  <a:cubicBezTo>
                    <a:pt x="0" y="651"/>
                    <a:pt x="108" y="851"/>
                    <a:pt x="287" y="971"/>
                  </a:cubicBezTo>
                  <a:lnTo>
                    <a:pt x="420" y="1059"/>
                  </a:lnTo>
                  <a:lnTo>
                    <a:pt x="555" y="971"/>
                  </a:lnTo>
                  <a:close/>
                </a:path>
              </a:pathLst>
            </a:custGeom>
            <a:gradFill flip="none" rotWithShape="1">
              <a:gsLst>
                <a:gs pos="100000">
                  <a:srgbClr val="E57518"/>
                </a:gs>
                <a:gs pos="0">
                  <a:srgbClr val="FEC232">
                    <a:alpha val="7800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grpSp>
          <p:nvGrpSpPr>
            <p:cNvPr id="143" name="Group 89"/>
            <p:cNvGrpSpPr>
              <a:grpSpLocks noChangeAspect="1"/>
            </p:cNvGrpSpPr>
            <p:nvPr/>
          </p:nvGrpSpPr>
          <p:grpSpPr bwMode="auto">
            <a:xfrm>
              <a:off x="3677603" y="3811228"/>
              <a:ext cx="342925" cy="332147"/>
              <a:chOff x="5242" y="-778"/>
              <a:chExt cx="350" cy="339"/>
            </a:xfrm>
            <a:solidFill>
              <a:srgbClr val="A136A0"/>
            </a:solidFill>
          </p:grpSpPr>
          <p:sp>
            <p:nvSpPr>
              <p:cNvPr id="144" name="Freeform 90"/>
              <p:cNvSpPr>
                <a:spLocks noEditPoints="1"/>
              </p:cNvSpPr>
              <p:nvPr/>
            </p:nvSpPr>
            <p:spPr bwMode="auto">
              <a:xfrm>
                <a:off x="5242" y="-778"/>
                <a:ext cx="350" cy="339"/>
              </a:xfrm>
              <a:custGeom>
                <a:avLst/>
                <a:gdLst>
                  <a:gd name="T0" fmla="*/ 4308 w 6620"/>
                  <a:gd name="T1" fmla="*/ 2 h 6402"/>
                  <a:gd name="T2" fmla="*/ 2454 w 6620"/>
                  <a:gd name="T3" fmla="*/ 1076 h 6402"/>
                  <a:gd name="T4" fmla="*/ 2472 w 6620"/>
                  <a:gd name="T5" fmla="*/ 3217 h 6402"/>
                  <a:gd name="T6" fmla="*/ 197 w 6620"/>
                  <a:gd name="T7" fmla="*/ 5493 h 6402"/>
                  <a:gd name="T8" fmla="*/ 82 w 6620"/>
                  <a:gd name="T9" fmla="*/ 6073 h 6402"/>
                  <a:gd name="T10" fmla="*/ 574 w 6620"/>
                  <a:gd name="T11" fmla="*/ 6402 h 6402"/>
                  <a:gd name="T12" fmla="*/ 951 w 6620"/>
                  <a:gd name="T13" fmla="*/ 6246 h 6402"/>
                  <a:gd name="T14" fmla="*/ 1216 w 6620"/>
                  <a:gd name="T15" fmla="*/ 5981 h 6402"/>
                  <a:gd name="T16" fmla="*/ 1219 w 6620"/>
                  <a:gd name="T17" fmla="*/ 5979 h 6402"/>
                  <a:gd name="T18" fmla="*/ 1221 w 6620"/>
                  <a:gd name="T19" fmla="*/ 5976 h 6402"/>
                  <a:gd name="T20" fmla="*/ 1536 w 6620"/>
                  <a:gd name="T21" fmla="*/ 5661 h 6402"/>
                  <a:gd name="T22" fmla="*/ 1539 w 6620"/>
                  <a:gd name="T23" fmla="*/ 5659 h 6402"/>
                  <a:gd name="T24" fmla="*/ 1541 w 6620"/>
                  <a:gd name="T25" fmla="*/ 5656 h 6402"/>
                  <a:gd name="T26" fmla="*/ 3226 w 6620"/>
                  <a:gd name="T27" fmla="*/ 3971 h 6402"/>
                  <a:gd name="T28" fmla="*/ 5670 w 6620"/>
                  <a:gd name="T29" fmla="*/ 3776 h 6402"/>
                  <a:gd name="T30" fmla="*/ 6315 w 6620"/>
                  <a:gd name="T31" fmla="*/ 1410 h 6402"/>
                  <a:gd name="T32" fmla="*/ 4308 w 6620"/>
                  <a:gd name="T33" fmla="*/ 2 h 6402"/>
                  <a:gd name="T34" fmla="*/ 1462 w 6620"/>
                  <a:gd name="T35" fmla="*/ 5433 h 6402"/>
                  <a:gd name="T36" fmla="*/ 1290 w 6620"/>
                  <a:gd name="T37" fmla="*/ 5260 h 6402"/>
                  <a:gd name="T38" fmla="*/ 1140 w 6620"/>
                  <a:gd name="T39" fmla="*/ 5261 h 6402"/>
                  <a:gd name="T40" fmla="*/ 1139 w 6620"/>
                  <a:gd name="T41" fmla="*/ 5411 h 6402"/>
                  <a:gd name="T42" fmla="*/ 1312 w 6620"/>
                  <a:gd name="T43" fmla="*/ 5583 h 6402"/>
                  <a:gd name="T44" fmla="*/ 1142 w 6620"/>
                  <a:gd name="T45" fmla="*/ 5753 h 6402"/>
                  <a:gd name="T46" fmla="*/ 970 w 6620"/>
                  <a:gd name="T47" fmla="*/ 5580 h 6402"/>
                  <a:gd name="T48" fmla="*/ 866 w 6620"/>
                  <a:gd name="T49" fmla="*/ 5551 h 6402"/>
                  <a:gd name="T50" fmla="*/ 790 w 6620"/>
                  <a:gd name="T51" fmla="*/ 5627 h 6402"/>
                  <a:gd name="T52" fmla="*/ 819 w 6620"/>
                  <a:gd name="T53" fmla="*/ 5731 h 6402"/>
                  <a:gd name="T54" fmla="*/ 992 w 6620"/>
                  <a:gd name="T55" fmla="*/ 5903 h 6402"/>
                  <a:gd name="T56" fmla="*/ 800 w 6620"/>
                  <a:gd name="T57" fmla="*/ 6095 h 6402"/>
                  <a:gd name="T58" fmla="*/ 574 w 6620"/>
                  <a:gd name="T59" fmla="*/ 6189 h 6402"/>
                  <a:gd name="T60" fmla="*/ 280 w 6620"/>
                  <a:gd name="T61" fmla="*/ 5991 h 6402"/>
                  <a:gd name="T62" fmla="*/ 348 w 6620"/>
                  <a:gd name="T63" fmla="*/ 5643 h 6402"/>
                  <a:gd name="T64" fmla="*/ 2593 w 6620"/>
                  <a:gd name="T65" fmla="*/ 3399 h 6402"/>
                  <a:gd name="T66" fmla="*/ 3044 w 6620"/>
                  <a:gd name="T67" fmla="*/ 3850 h 6402"/>
                  <a:gd name="T68" fmla="*/ 1462 w 6620"/>
                  <a:gd name="T69" fmla="*/ 5433 h 6402"/>
                  <a:gd name="T70" fmla="*/ 4308 w 6620"/>
                  <a:gd name="T71" fmla="*/ 4055 h 6402"/>
                  <a:gd name="T72" fmla="*/ 2388 w 6620"/>
                  <a:gd name="T73" fmla="*/ 2135 h 6402"/>
                  <a:gd name="T74" fmla="*/ 4308 w 6620"/>
                  <a:gd name="T75" fmla="*/ 215 h 6402"/>
                  <a:gd name="T76" fmla="*/ 6228 w 6620"/>
                  <a:gd name="T77" fmla="*/ 2135 h 6402"/>
                  <a:gd name="T78" fmla="*/ 4308 w 6620"/>
                  <a:gd name="T79" fmla="*/ 4055 h 6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620" h="6402">
                    <a:moveTo>
                      <a:pt x="4308" y="2"/>
                    </a:moveTo>
                    <a:cubicBezTo>
                      <a:pt x="3542" y="0"/>
                      <a:pt x="2834" y="410"/>
                      <a:pt x="2454" y="1076"/>
                    </a:cubicBezTo>
                    <a:cubicBezTo>
                      <a:pt x="2075" y="1741"/>
                      <a:pt x="2082" y="2559"/>
                      <a:pt x="2472" y="3217"/>
                    </a:cubicBezTo>
                    <a:lnTo>
                      <a:pt x="197" y="5493"/>
                    </a:lnTo>
                    <a:cubicBezTo>
                      <a:pt x="45" y="5645"/>
                      <a:pt x="0" y="5874"/>
                      <a:pt x="82" y="6073"/>
                    </a:cubicBezTo>
                    <a:cubicBezTo>
                      <a:pt x="165" y="6272"/>
                      <a:pt x="359" y="6402"/>
                      <a:pt x="574" y="6402"/>
                    </a:cubicBezTo>
                    <a:cubicBezTo>
                      <a:pt x="716" y="6402"/>
                      <a:pt x="851" y="6346"/>
                      <a:pt x="951" y="6246"/>
                    </a:cubicBezTo>
                    <a:lnTo>
                      <a:pt x="1216" y="5981"/>
                    </a:lnTo>
                    <a:cubicBezTo>
                      <a:pt x="1216" y="5981"/>
                      <a:pt x="1218" y="5980"/>
                      <a:pt x="1219" y="5979"/>
                    </a:cubicBezTo>
                    <a:cubicBezTo>
                      <a:pt x="1220" y="5978"/>
                      <a:pt x="1220" y="5977"/>
                      <a:pt x="1221" y="5976"/>
                    </a:cubicBezTo>
                    <a:lnTo>
                      <a:pt x="1536" y="5661"/>
                    </a:lnTo>
                    <a:cubicBezTo>
                      <a:pt x="1536" y="5661"/>
                      <a:pt x="1538" y="5660"/>
                      <a:pt x="1539" y="5659"/>
                    </a:cubicBezTo>
                    <a:cubicBezTo>
                      <a:pt x="1540" y="5658"/>
                      <a:pt x="1540" y="5657"/>
                      <a:pt x="1541" y="5656"/>
                    </a:cubicBezTo>
                    <a:lnTo>
                      <a:pt x="3226" y="3971"/>
                    </a:lnTo>
                    <a:cubicBezTo>
                      <a:pt x="4001" y="4427"/>
                      <a:pt x="4978" y="4349"/>
                      <a:pt x="5670" y="3776"/>
                    </a:cubicBezTo>
                    <a:cubicBezTo>
                      <a:pt x="6362" y="3202"/>
                      <a:pt x="6620" y="2256"/>
                      <a:pt x="6315" y="1410"/>
                    </a:cubicBezTo>
                    <a:cubicBezTo>
                      <a:pt x="6009" y="565"/>
                      <a:pt x="5207" y="1"/>
                      <a:pt x="4308" y="2"/>
                    </a:cubicBezTo>
                    <a:close/>
                    <a:moveTo>
                      <a:pt x="1462" y="5433"/>
                    </a:moveTo>
                    <a:lnTo>
                      <a:pt x="1290" y="5260"/>
                    </a:lnTo>
                    <a:cubicBezTo>
                      <a:pt x="1248" y="5219"/>
                      <a:pt x="1181" y="5220"/>
                      <a:pt x="1140" y="5261"/>
                    </a:cubicBezTo>
                    <a:cubicBezTo>
                      <a:pt x="1099" y="5302"/>
                      <a:pt x="1098" y="5369"/>
                      <a:pt x="1139" y="5411"/>
                    </a:cubicBezTo>
                    <a:lnTo>
                      <a:pt x="1312" y="5583"/>
                    </a:lnTo>
                    <a:lnTo>
                      <a:pt x="1142" y="5753"/>
                    </a:lnTo>
                    <a:lnTo>
                      <a:pt x="970" y="5580"/>
                    </a:lnTo>
                    <a:cubicBezTo>
                      <a:pt x="943" y="5552"/>
                      <a:pt x="903" y="5541"/>
                      <a:pt x="866" y="5551"/>
                    </a:cubicBezTo>
                    <a:cubicBezTo>
                      <a:pt x="829" y="5561"/>
                      <a:pt x="800" y="5590"/>
                      <a:pt x="790" y="5627"/>
                    </a:cubicBezTo>
                    <a:cubicBezTo>
                      <a:pt x="780" y="5664"/>
                      <a:pt x="791" y="5704"/>
                      <a:pt x="819" y="5731"/>
                    </a:cubicBezTo>
                    <a:lnTo>
                      <a:pt x="992" y="5903"/>
                    </a:lnTo>
                    <a:lnTo>
                      <a:pt x="800" y="6095"/>
                    </a:lnTo>
                    <a:cubicBezTo>
                      <a:pt x="740" y="6155"/>
                      <a:pt x="659" y="6189"/>
                      <a:pt x="574" y="6189"/>
                    </a:cubicBezTo>
                    <a:cubicBezTo>
                      <a:pt x="445" y="6188"/>
                      <a:pt x="329" y="6110"/>
                      <a:pt x="280" y="5991"/>
                    </a:cubicBezTo>
                    <a:cubicBezTo>
                      <a:pt x="231" y="5872"/>
                      <a:pt x="258" y="5735"/>
                      <a:pt x="348" y="5643"/>
                    </a:cubicBezTo>
                    <a:lnTo>
                      <a:pt x="2593" y="3399"/>
                    </a:lnTo>
                    <a:cubicBezTo>
                      <a:pt x="2720" y="3571"/>
                      <a:pt x="2872" y="3723"/>
                      <a:pt x="3044" y="3850"/>
                    </a:cubicBezTo>
                    <a:lnTo>
                      <a:pt x="1462" y="5433"/>
                    </a:lnTo>
                    <a:close/>
                    <a:moveTo>
                      <a:pt x="4308" y="4055"/>
                    </a:moveTo>
                    <a:cubicBezTo>
                      <a:pt x="3247" y="4055"/>
                      <a:pt x="2388" y="3196"/>
                      <a:pt x="2388" y="2135"/>
                    </a:cubicBezTo>
                    <a:cubicBezTo>
                      <a:pt x="2388" y="1075"/>
                      <a:pt x="3247" y="215"/>
                      <a:pt x="4308" y="215"/>
                    </a:cubicBezTo>
                    <a:cubicBezTo>
                      <a:pt x="5368" y="215"/>
                      <a:pt x="6228" y="1075"/>
                      <a:pt x="6228" y="2135"/>
                    </a:cubicBezTo>
                    <a:cubicBezTo>
                      <a:pt x="6226" y="3195"/>
                      <a:pt x="5368" y="4054"/>
                      <a:pt x="4308" y="405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45" name="Freeform 91"/>
              <p:cNvSpPr>
                <a:spLocks/>
              </p:cNvSpPr>
              <p:nvPr/>
            </p:nvSpPr>
            <p:spPr bwMode="auto">
              <a:xfrm>
                <a:off x="5377" y="-758"/>
                <a:ext cx="142" cy="141"/>
              </a:xfrm>
              <a:custGeom>
                <a:avLst/>
                <a:gdLst>
                  <a:gd name="T0" fmla="*/ 772 w 2679"/>
                  <a:gd name="T1" fmla="*/ 772 h 2666"/>
                  <a:gd name="T2" fmla="*/ 2500 w 2679"/>
                  <a:gd name="T3" fmla="*/ 584 h 2666"/>
                  <a:gd name="T4" fmla="*/ 2648 w 2679"/>
                  <a:gd name="T5" fmla="*/ 552 h 2666"/>
                  <a:gd name="T6" fmla="*/ 2615 w 2679"/>
                  <a:gd name="T7" fmla="*/ 404 h 2666"/>
                  <a:gd name="T8" fmla="*/ 621 w 2679"/>
                  <a:gd name="T9" fmla="*/ 622 h 2666"/>
                  <a:gd name="T10" fmla="*/ 405 w 2679"/>
                  <a:gd name="T11" fmla="*/ 2615 h 2666"/>
                  <a:gd name="T12" fmla="*/ 499 w 2679"/>
                  <a:gd name="T13" fmla="*/ 2664 h 2666"/>
                  <a:gd name="T14" fmla="*/ 589 w 2679"/>
                  <a:gd name="T15" fmla="*/ 2607 h 2666"/>
                  <a:gd name="T16" fmla="*/ 584 w 2679"/>
                  <a:gd name="T17" fmla="*/ 2500 h 2666"/>
                  <a:gd name="T18" fmla="*/ 772 w 2679"/>
                  <a:gd name="T19" fmla="*/ 772 h 2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79" h="2666">
                    <a:moveTo>
                      <a:pt x="772" y="772"/>
                    </a:moveTo>
                    <a:cubicBezTo>
                      <a:pt x="1234" y="314"/>
                      <a:pt x="1951" y="237"/>
                      <a:pt x="2500" y="584"/>
                    </a:cubicBezTo>
                    <a:cubicBezTo>
                      <a:pt x="2550" y="616"/>
                      <a:pt x="2616" y="601"/>
                      <a:pt x="2648" y="552"/>
                    </a:cubicBezTo>
                    <a:cubicBezTo>
                      <a:pt x="2679" y="502"/>
                      <a:pt x="2665" y="436"/>
                      <a:pt x="2615" y="404"/>
                    </a:cubicBezTo>
                    <a:cubicBezTo>
                      <a:pt x="1982" y="0"/>
                      <a:pt x="1153" y="90"/>
                      <a:pt x="621" y="622"/>
                    </a:cubicBezTo>
                    <a:cubicBezTo>
                      <a:pt x="90" y="1153"/>
                      <a:pt x="0" y="1982"/>
                      <a:pt x="405" y="2615"/>
                    </a:cubicBezTo>
                    <a:cubicBezTo>
                      <a:pt x="425" y="2647"/>
                      <a:pt x="461" y="2666"/>
                      <a:pt x="499" y="2664"/>
                    </a:cubicBezTo>
                    <a:cubicBezTo>
                      <a:pt x="538" y="2663"/>
                      <a:pt x="572" y="2641"/>
                      <a:pt x="589" y="2607"/>
                    </a:cubicBezTo>
                    <a:cubicBezTo>
                      <a:pt x="607" y="2573"/>
                      <a:pt x="605" y="2532"/>
                      <a:pt x="584" y="2500"/>
                    </a:cubicBezTo>
                    <a:cubicBezTo>
                      <a:pt x="237" y="1951"/>
                      <a:pt x="314" y="1234"/>
                      <a:pt x="772" y="77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46" name="Freeform 92"/>
              <p:cNvSpPr>
                <a:spLocks/>
              </p:cNvSpPr>
              <p:nvPr/>
            </p:nvSpPr>
            <p:spPr bwMode="auto">
              <a:xfrm>
                <a:off x="5421" y="-714"/>
                <a:ext cx="141" cy="141"/>
              </a:xfrm>
              <a:custGeom>
                <a:avLst/>
                <a:gdLst>
                  <a:gd name="T0" fmla="*/ 2128 w 2677"/>
                  <a:gd name="T1" fmla="*/ 21 h 2666"/>
                  <a:gd name="T2" fmla="*/ 2096 w 2677"/>
                  <a:gd name="T3" fmla="*/ 168 h 2666"/>
                  <a:gd name="T4" fmla="*/ 1909 w 2677"/>
                  <a:gd name="T5" fmla="*/ 1897 h 2666"/>
                  <a:gd name="T6" fmla="*/ 180 w 2677"/>
                  <a:gd name="T7" fmla="*/ 2085 h 2666"/>
                  <a:gd name="T8" fmla="*/ 32 w 2677"/>
                  <a:gd name="T9" fmla="*/ 2117 h 2666"/>
                  <a:gd name="T10" fmla="*/ 65 w 2677"/>
                  <a:gd name="T11" fmla="*/ 2264 h 2666"/>
                  <a:gd name="T12" fmla="*/ 2059 w 2677"/>
                  <a:gd name="T13" fmla="*/ 2048 h 2666"/>
                  <a:gd name="T14" fmla="*/ 2276 w 2677"/>
                  <a:gd name="T15" fmla="*/ 53 h 2666"/>
                  <a:gd name="T16" fmla="*/ 2209 w 2677"/>
                  <a:gd name="T17" fmla="*/ 6 h 2666"/>
                  <a:gd name="T18" fmla="*/ 2128 w 2677"/>
                  <a:gd name="T19" fmla="*/ 21 h 2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77" h="2666">
                    <a:moveTo>
                      <a:pt x="2128" y="21"/>
                    </a:moveTo>
                    <a:cubicBezTo>
                      <a:pt x="2079" y="53"/>
                      <a:pt x="2064" y="119"/>
                      <a:pt x="2096" y="168"/>
                    </a:cubicBezTo>
                    <a:cubicBezTo>
                      <a:pt x="2448" y="717"/>
                      <a:pt x="2370" y="1437"/>
                      <a:pt x="1909" y="1897"/>
                    </a:cubicBezTo>
                    <a:cubicBezTo>
                      <a:pt x="1448" y="2358"/>
                      <a:pt x="728" y="2436"/>
                      <a:pt x="180" y="2085"/>
                    </a:cubicBezTo>
                    <a:cubicBezTo>
                      <a:pt x="130" y="2053"/>
                      <a:pt x="64" y="2067"/>
                      <a:pt x="32" y="2117"/>
                    </a:cubicBezTo>
                    <a:cubicBezTo>
                      <a:pt x="0" y="2167"/>
                      <a:pt x="15" y="2233"/>
                      <a:pt x="65" y="2264"/>
                    </a:cubicBezTo>
                    <a:cubicBezTo>
                      <a:pt x="699" y="2666"/>
                      <a:pt x="1526" y="2576"/>
                      <a:pt x="2059" y="2048"/>
                    </a:cubicBezTo>
                    <a:cubicBezTo>
                      <a:pt x="2587" y="1514"/>
                      <a:pt x="2677" y="687"/>
                      <a:pt x="2276" y="53"/>
                    </a:cubicBezTo>
                    <a:cubicBezTo>
                      <a:pt x="2261" y="29"/>
                      <a:pt x="2236" y="12"/>
                      <a:pt x="2209" y="6"/>
                    </a:cubicBezTo>
                    <a:cubicBezTo>
                      <a:pt x="2181" y="0"/>
                      <a:pt x="2152" y="5"/>
                      <a:pt x="2128" y="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47" name="Freeform 93"/>
              <p:cNvSpPr>
                <a:spLocks/>
              </p:cNvSpPr>
              <p:nvPr/>
            </p:nvSpPr>
            <p:spPr bwMode="auto">
              <a:xfrm>
                <a:off x="5413" y="-722"/>
                <a:ext cx="57" cy="57"/>
              </a:xfrm>
              <a:custGeom>
                <a:avLst/>
                <a:gdLst>
                  <a:gd name="T0" fmla="*/ 190 w 1084"/>
                  <a:gd name="T1" fmla="*/ 1045 h 1084"/>
                  <a:gd name="T2" fmla="*/ 1043 w 1084"/>
                  <a:gd name="T3" fmla="*/ 192 h 1084"/>
                  <a:gd name="T4" fmla="*/ 1042 w 1084"/>
                  <a:gd name="T5" fmla="*/ 42 h 1084"/>
                  <a:gd name="T6" fmla="*/ 893 w 1084"/>
                  <a:gd name="T7" fmla="*/ 41 h 1084"/>
                  <a:gd name="T8" fmla="*/ 39 w 1084"/>
                  <a:gd name="T9" fmla="*/ 894 h 1084"/>
                  <a:gd name="T10" fmla="*/ 10 w 1084"/>
                  <a:gd name="T11" fmla="*/ 998 h 1084"/>
                  <a:gd name="T12" fmla="*/ 86 w 1084"/>
                  <a:gd name="T13" fmla="*/ 1074 h 1084"/>
                  <a:gd name="T14" fmla="*/ 190 w 1084"/>
                  <a:gd name="T15" fmla="*/ 1045 h 10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4" h="1084">
                    <a:moveTo>
                      <a:pt x="190" y="1045"/>
                    </a:moveTo>
                    <a:lnTo>
                      <a:pt x="1043" y="192"/>
                    </a:lnTo>
                    <a:cubicBezTo>
                      <a:pt x="1084" y="150"/>
                      <a:pt x="1083" y="83"/>
                      <a:pt x="1042" y="42"/>
                    </a:cubicBezTo>
                    <a:cubicBezTo>
                      <a:pt x="1001" y="1"/>
                      <a:pt x="934" y="0"/>
                      <a:pt x="893" y="41"/>
                    </a:cubicBezTo>
                    <a:lnTo>
                      <a:pt x="39" y="894"/>
                    </a:lnTo>
                    <a:cubicBezTo>
                      <a:pt x="12" y="921"/>
                      <a:pt x="0" y="961"/>
                      <a:pt x="10" y="998"/>
                    </a:cubicBezTo>
                    <a:cubicBezTo>
                      <a:pt x="20" y="1035"/>
                      <a:pt x="49" y="1064"/>
                      <a:pt x="86" y="1074"/>
                    </a:cubicBezTo>
                    <a:cubicBezTo>
                      <a:pt x="124" y="1084"/>
                      <a:pt x="163" y="1073"/>
                      <a:pt x="190" y="10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48" name="Freeform 94"/>
              <p:cNvSpPr>
                <a:spLocks/>
              </p:cNvSpPr>
              <p:nvPr/>
            </p:nvSpPr>
            <p:spPr bwMode="auto">
              <a:xfrm>
                <a:off x="5447" y="-688"/>
                <a:ext cx="57" cy="57"/>
              </a:xfrm>
              <a:custGeom>
                <a:avLst/>
                <a:gdLst>
                  <a:gd name="T0" fmla="*/ 893 w 1084"/>
                  <a:gd name="T1" fmla="*/ 41 h 1084"/>
                  <a:gd name="T2" fmla="*/ 39 w 1084"/>
                  <a:gd name="T3" fmla="*/ 894 h 1084"/>
                  <a:gd name="T4" fmla="*/ 10 w 1084"/>
                  <a:gd name="T5" fmla="*/ 998 h 1084"/>
                  <a:gd name="T6" fmla="*/ 86 w 1084"/>
                  <a:gd name="T7" fmla="*/ 1074 h 1084"/>
                  <a:gd name="T8" fmla="*/ 190 w 1084"/>
                  <a:gd name="T9" fmla="*/ 1045 h 1084"/>
                  <a:gd name="T10" fmla="*/ 1043 w 1084"/>
                  <a:gd name="T11" fmla="*/ 192 h 1084"/>
                  <a:gd name="T12" fmla="*/ 1042 w 1084"/>
                  <a:gd name="T13" fmla="*/ 42 h 1084"/>
                  <a:gd name="T14" fmla="*/ 893 w 1084"/>
                  <a:gd name="T15" fmla="*/ 41 h 10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4" h="1084">
                    <a:moveTo>
                      <a:pt x="893" y="41"/>
                    </a:moveTo>
                    <a:lnTo>
                      <a:pt x="39" y="894"/>
                    </a:lnTo>
                    <a:cubicBezTo>
                      <a:pt x="12" y="921"/>
                      <a:pt x="0" y="961"/>
                      <a:pt x="10" y="998"/>
                    </a:cubicBezTo>
                    <a:cubicBezTo>
                      <a:pt x="20" y="1035"/>
                      <a:pt x="49" y="1064"/>
                      <a:pt x="86" y="1074"/>
                    </a:cubicBezTo>
                    <a:cubicBezTo>
                      <a:pt x="124" y="1084"/>
                      <a:pt x="163" y="1073"/>
                      <a:pt x="190" y="1045"/>
                    </a:cubicBezTo>
                    <a:lnTo>
                      <a:pt x="1043" y="192"/>
                    </a:lnTo>
                    <a:cubicBezTo>
                      <a:pt x="1084" y="150"/>
                      <a:pt x="1083" y="83"/>
                      <a:pt x="1042" y="42"/>
                    </a:cubicBezTo>
                    <a:cubicBezTo>
                      <a:pt x="1001" y="1"/>
                      <a:pt x="934" y="0"/>
                      <a:pt x="893" y="4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  <p:sp>
            <p:nvSpPr>
              <p:cNvPr id="149" name="Freeform 95"/>
              <p:cNvSpPr>
                <a:spLocks/>
              </p:cNvSpPr>
              <p:nvPr/>
            </p:nvSpPr>
            <p:spPr bwMode="auto">
              <a:xfrm>
                <a:off x="5419" y="-716"/>
                <a:ext cx="79" cy="80"/>
              </a:xfrm>
              <a:custGeom>
                <a:avLst/>
                <a:gdLst>
                  <a:gd name="T0" fmla="*/ 190 w 1510"/>
                  <a:gd name="T1" fmla="*/ 1471 h 1510"/>
                  <a:gd name="T2" fmla="*/ 1470 w 1510"/>
                  <a:gd name="T3" fmla="*/ 191 h 1510"/>
                  <a:gd name="T4" fmla="*/ 1468 w 1510"/>
                  <a:gd name="T5" fmla="*/ 42 h 1510"/>
                  <a:gd name="T6" fmla="*/ 1319 w 1510"/>
                  <a:gd name="T7" fmla="*/ 41 h 1510"/>
                  <a:gd name="T8" fmla="*/ 39 w 1510"/>
                  <a:gd name="T9" fmla="*/ 1321 h 1510"/>
                  <a:gd name="T10" fmla="*/ 10 w 1510"/>
                  <a:gd name="T11" fmla="*/ 1424 h 1510"/>
                  <a:gd name="T12" fmla="*/ 86 w 1510"/>
                  <a:gd name="T13" fmla="*/ 1501 h 1510"/>
                  <a:gd name="T14" fmla="*/ 190 w 1510"/>
                  <a:gd name="T15" fmla="*/ 1471 h 1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10" h="1510">
                    <a:moveTo>
                      <a:pt x="190" y="1471"/>
                    </a:moveTo>
                    <a:lnTo>
                      <a:pt x="1470" y="191"/>
                    </a:lnTo>
                    <a:cubicBezTo>
                      <a:pt x="1510" y="150"/>
                      <a:pt x="1510" y="83"/>
                      <a:pt x="1468" y="42"/>
                    </a:cubicBezTo>
                    <a:cubicBezTo>
                      <a:pt x="1427" y="1"/>
                      <a:pt x="1361" y="0"/>
                      <a:pt x="1319" y="41"/>
                    </a:cubicBezTo>
                    <a:lnTo>
                      <a:pt x="39" y="1321"/>
                    </a:lnTo>
                    <a:cubicBezTo>
                      <a:pt x="11" y="1347"/>
                      <a:pt x="0" y="1387"/>
                      <a:pt x="10" y="1424"/>
                    </a:cubicBezTo>
                    <a:cubicBezTo>
                      <a:pt x="20" y="1462"/>
                      <a:pt x="49" y="1491"/>
                      <a:pt x="86" y="1501"/>
                    </a:cubicBezTo>
                    <a:cubicBezTo>
                      <a:pt x="123" y="1510"/>
                      <a:pt x="163" y="1499"/>
                      <a:pt x="190" y="147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endParaRPr>
              </a:p>
            </p:txBody>
          </p:sp>
        </p:grpSp>
      </p:grpSp>
      <p:grpSp>
        <p:nvGrpSpPr>
          <p:cNvPr id="150" name="Group 116"/>
          <p:cNvGrpSpPr>
            <a:grpSpLocks noChangeAspect="1"/>
          </p:cNvGrpSpPr>
          <p:nvPr/>
        </p:nvGrpSpPr>
        <p:grpSpPr bwMode="auto">
          <a:xfrm>
            <a:off x="3841836" y="5219488"/>
            <a:ext cx="432815" cy="434091"/>
            <a:chOff x="-363" y="4560"/>
            <a:chExt cx="339" cy="340"/>
          </a:xfrm>
          <a:solidFill>
            <a:srgbClr val="A136A0"/>
          </a:solidFill>
        </p:grpSpPr>
        <p:sp>
          <p:nvSpPr>
            <p:cNvPr id="151" name="Freeform 117"/>
            <p:cNvSpPr>
              <a:spLocks/>
            </p:cNvSpPr>
            <p:nvPr/>
          </p:nvSpPr>
          <p:spPr bwMode="auto">
            <a:xfrm>
              <a:off x="-199" y="4624"/>
              <a:ext cx="10" cy="17"/>
            </a:xfrm>
            <a:custGeom>
              <a:avLst/>
              <a:gdLst>
                <a:gd name="T0" fmla="*/ 94 w 188"/>
                <a:gd name="T1" fmla="*/ 325 h 325"/>
                <a:gd name="T2" fmla="*/ 188 w 188"/>
                <a:gd name="T3" fmla="*/ 232 h 325"/>
                <a:gd name="T4" fmla="*/ 188 w 188"/>
                <a:gd name="T5" fmla="*/ 94 h 325"/>
                <a:gd name="T6" fmla="*/ 94 w 188"/>
                <a:gd name="T7" fmla="*/ 0 h 325"/>
                <a:gd name="T8" fmla="*/ 0 w 188"/>
                <a:gd name="T9" fmla="*/ 94 h 325"/>
                <a:gd name="T10" fmla="*/ 0 w 188"/>
                <a:gd name="T11" fmla="*/ 232 h 325"/>
                <a:gd name="T12" fmla="*/ 94 w 188"/>
                <a:gd name="T13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325">
                  <a:moveTo>
                    <a:pt x="94" y="325"/>
                  </a:moveTo>
                  <a:cubicBezTo>
                    <a:pt x="146" y="325"/>
                    <a:pt x="188" y="283"/>
                    <a:pt x="188" y="232"/>
                  </a:cubicBezTo>
                  <a:lnTo>
                    <a:pt x="188" y="94"/>
                  </a:lnTo>
                  <a:cubicBezTo>
                    <a:pt x="188" y="42"/>
                    <a:pt x="146" y="0"/>
                    <a:pt x="94" y="0"/>
                  </a:cubicBezTo>
                  <a:cubicBezTo>
                    <a:pt x="42" y="0"/>
                    <a:pt x="0" y="42"/>
                    <a:pt x="0" y="94"/>
                  </a:cubicBezTo>
                  <a:lnTo>
                    <a:pt x="0" y="232"/>
                  </a:lnTo>
                  <a:cubicBezTo>
                    <a:pt x="0" y="283"/>
                    <a:pt x="42" y="325"/>
                    <a:pt x="94" y="3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18"/>
            <p:cNvSpPr>
              <a:spLocks/>
            </p:cNvSpPr>
            <p:nvPr/>
          </p:nvSpPr>
          <p:spPr bwMode="auto">
            <a:xfrm>
              <a:off x="-133" y="4653"/>
              <a:ext cx="16" cy="16"/>
            </a:xfrm>
            <a:custGeom>
              <a:avLst/>
              <a:gdLst>
                <a:gd name="T0" fmla="*/ 267 w 303"/>
                <a:gd name="T1" fmla="*/ 36 h 294"/>
                <a:gd name="T2" fmla="*/ 134 w 303"/>
                <a:gd name="T3" fmla="*/ 36 h 294"/>
                <a:gd name="T4" fmla="*/ 37 w 303"/>
                <a:gd name="T5" fmla="*/ 134 h 294"/>
                <a:gd name="T6" fmla="*/ 37 w 303"/>
                <a:gd name="T7" fmla="*/ 266 h 294"/>
                <a:gd name="T8" fmla="*/ 103 w 303"/>
                <a:gd name="T9" fmla="*/ 294 h 294"/>
                <a:gd name="T10" fmla="*/ 169 w 303"/>
                <a:gd name="T11" fmla="*/ 266 h 294"/>
                <a:gd name="T12" fmla="*/ 267 w 303"/>
                <a:gd name="T13" fmla="*/ 169 h 294"/>
                <a:gd name="T14" fmla="*/ 267 w 303"/>
                <a:gd name="T15" fmla="*/ 36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3" h="294">
                  <a:moveTo>
                    <a:pt x="267" y="36"/>
                  </a:moveTo>
                  <a:cubicBezTo>
                    <a:pt x="230" y="0"/>
                    <a:pt x="171" y="0"/>
                    <a:pt x="134" y="36"/>
                  </a:cubicBezTo>
                  <a:lnTo>
                    <a:pt x="37" y="134"/>
                  </a:lnTo>
                  <a:cubicBezTo>
                    <a:pt x="0" y="170"/>
                    <a:pt x="0" y="230"/>
                    <a:pt x="37" y="266"/>
                  </a:cubicBezTo>
                  <a:cubicBezTo>
                    <a:pt x="55" y="285"/>
                    <a:pt x="79" y="294"/>
                    <a:pt x="103" y="294"/>
                  </a:cubicBezTo>
                  <a:cubicBezTo>
                    <a:pt x="127" y="294"/>
                    <a:pt x="151" y="285"/>
                    <a:pt x="169" y="266"/>
                  </a:cubicBezTo>
                  <a:lnTo>
                    <a:pt x="267" y="169"/>
                  </a:lnTo>
                  <a:cubicBezTo>
                    <a:pt x="303" y="132"/>
                    <a:pt x="303" y="73"/>
                    <a:pt x="267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19"/>
            <p:cNvSpPr>
              <a:spLocks/>
            </p:cNvSpPr>
            <p:nvPr/>
          </p:nvSpPr>
          <p:spPr bwMode="auto">
            <a:xfrm>
              <a:off x="-106" y="4725"/>
              <a:ext cx="18" cy="10"/>
            </a:xfrm>
            <a:custGeom>
              <a:avLst/>
              <a:gdLst>
                <a:gd name="T0" fmla="*/ 94 w 325"/>
                <a:gd name="T1" fmla="*/ 0 h 188"/>
                <a:gd name="T2" fmla="*/ 0 w 325"/>
                <a:gd name="T3" fmla="*/ 94 h 188"/>
                <a:gd name="T4" fmla="*/ 94 w 325"/>
                <a:gd name="T5" fmla="*/ 188 h 188"/>
                <a:gd name="T6" fmla="*/ 232 w 325"/>
                <a:gd name="T7" fmla="*/ 188 h 188"/>
                <a:gd name="T8" fmla="*/ 325 w 325"/>
                <a:gd name="T9" fmla="*/ 94 h 188"/>
                <a:gd name="T10" fmla="*/ 232 w 325"/>
                <a:gd name="T11" fmla="*/ 0 h 188"/>
                <a:gd name="T12" fmla="*/ 94 w 325"/>
                <a:gd name="T13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" h="188">
                  <a:moveTo>
                    <a:pt x="94" y="0"/>
                  </a:move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lnTo>
                    <a:pt x="232" y="188"/>
                  </a:lnTo>
                  <a:cubicBezTo>
                    <a:pt x="283" y="188"/>
                    <a:pt x="325" y="146"/>
                    <a:pt x="325" y="94"/>
                  </a:cubicBezTo>
                  <a:cubicBezTo>
                    <a:pt x="325" y="42"/>
                    <a:pt x="283" y="0"/>
                    <a:pt x="232" y="0"/>
                  </a:cubicBezTo>
                  <a:lnTo>
                    <a:pt x="9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20"/>
            <p:cNvSpPr>
              <a:spLocks/>
            </p:cNvSpPr>
            <p:nvPr/>
          </p:nvSpPr>
          <p:spPr bwMode="auto">
            <a:xfrm>
              <a:off x="-134" y="4791"/>
              <a:ext cx="16" cy="15"/>
            </a:xfrm>
            <a:custGeom>
              <a:avLst/>
              <a:gdLst>
                <a:gd name="T0" fmla="*/ 169 w 303"/>
                <a:gd name="T1" fmla="*/ 37 h 294"/>
                <a:gd name="T2" fmla="*/ 36 w 303"/>
                <a:gd name="T3" fmla="*/ 37 h 294"/>
                <a:gd name="T4" fmla="*/ 36 w 303"/>
                <a:gd name="T5" fmla="*/ 169 h 294"/>
                <a:gd name="T6" fmla="*/ 134 w 303"/>
                <a:gd name="T7" fmla="*/ 267 h 294"/>
                <a:gd name="T8" fmla="*/ 200 w 303"/>
                <a:gd name="T9" fmla="*/ 294 h 294"/>
                <a:gd name="T10" fmla="*/ 266 w 303"/>
                <a:gd name="T11" fmla="*/ 267 h 294"/>
                <a:gd name="T12" fmla="*/ 266 w 303"/>
                <a:gd name="T13" fmla="*/ 134 h 294"/>
                <a:gd name="T14" fmla="*/ 169 w 303"/>
                <a:gd name="T15" fmla="*/ 37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3" h="294">
                  <a:moveTo>
                    <a:pt x="169" y="37"/>
                  </a:moveTo>
                  <a:cubicBezTo>
                    <a:pt x="132" y="0"/>
                    <a:pt x="73" y="0"/>
                    <a:pt x="36" y="37"/>
                  </a:cubicBezTo>
                  <a:cubicBezTo>
                    <a:pt x="0" y="73"/>
                    <a:pt x="0" y="133"/>
                    <a:pt x="36" y="169"/>
                  </a:cubicBezTo>
                  <a:lnTo>
                    <a:pt x="134" y="267"/>
                  </a:lnTo>
                  <a:cubicBezTo>
                    <a:pt x="152" y="285"/>
                    <a:pt x="176" y="294"/>
                    <a:pt x="200" y="294"/>
                  </a:cubicBezTo>
                  <a:cubicBezTo>
                    <a:pt x="224" y="294"/>
                    <a:pt x="248" y="285"/>
                    <a:pt x="266" y="267"/>
                  </a:cubicBezTo>
                  <a:cubicBezTo>
                    <a:pt x="303" y="230"/>
                    <a:pt x="303" y="171"/>
                    <a:pt x="266" y="134"/>
                  </a:cubicBezTo>
                  <a:lnTo>
                    <a:pt x="169" y="3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21"/>
            <p:cNvSpPr>
              <a:spLocks/>
            </p:cNvSpPr>
            <p:nvPr/>
          </p:nvSpPr>
          <p:spPr bwMode="auto">
            <a:xfrm>
              <a:off x="-199" y="4818"/>
              <a:ext cx="10" cy="17"/>
            </a:xfrm>
            <a:custGeom>
              <a:avLst/>
              <a:gdLst>
                <a:gd name="T0" fmla="*/ 0 w 188"/>
                <a:gd name="T1" fmla="*/ 94 h 325"/>
                <a:gd name="T2" fmla="*/ 0 w 188"/>
                <a:gd name="T3" fmla="*/ 232 h 325"/>
                <a:gd name="T4" fmla="*/ 94 w 188"/>
                <a:gd name="T5" fmla="*/ 325 h 325"/>
                <a:gd name="T6" fmla="*/ 188 w 188"/>
                <a:gd name="T7" fmla="*/ 232 h 325"/>
                <a:gd name="T8" fmla="*/ 188 w 188"/>
                <a:gd name="T9" fmla="*/ 94 h 325"/>
                <a:gd name="T10" fmla="*/ 94 w 188"/>
                <a:gd name="T11" fmla="*/ 0 h 325"/>
                <a:gd name="T12" fmla="*/ 0 w 188"/>
                <a:gd name="T13" fmla="*/ 9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325">
                  <a:moveTo>
                    <a:pt x="0" y="94"/>
                  </a:moveTo>
                  <a:lnTo>
                    <a:pt x="0" y="232"/>
                  </a:lnTo>
                  <a:cubicBezTo>
                    <a:pt x="0" y="283"/>
                    <a:pt x="42" y="325"/>
                    <a:pt x="94" y="325"/>
                  </a:cubicBezTo>
                  <a:cubicBezTo>
                    <a:pt x="146" y="325"/>
                    <a:pt x="188" y="283"/>
                    <a:pt x="188" y="232"/>
                  </a:cubicBezTo>
                  <a:lnTo>
                    <a:pt x="188" y="94"/>
                  </a:lnTo>
                  <a:cubicBezTo>
                    <a:pt x="188" y="42"/>
                    <a:pt x="146" y="0"/>
                    <a:pt x="94" y="0"/>
                  </a:cubicBezTo>
                  <a:cubicBezTo>
                    <a:pt x="42" y="0"/>
                    <a:pt x="0" y="42"/>
                    <a:pt x="0" y="9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2"/>
            <p:cNvSpPr>
              <a:spLocks/>
            </p:cNvSpPr>
            <p:nvPr/>
          </p:nvSpPr>
          <p:spPr bwMode="auto">
            <a:xfrm>
              <a:off x="-271" y="4790"/>
              <a:ext cx="16" cy="16"/>
            </a:xfrm>
            <a:custGeom>
              <a:avLst/>
              <a:gdLst>
                <a:gd name="T0" fmla="*/ 134 w 303"/>
                <a:gd name="T1" fmla="*/ 36 h 294"/>
                <a:gd name="T2" fmla="*/ 36 w 303"/>
                <a:gd name="T3" fmla="*/ 134 h 294"/>
                <a:gd name="T4" fmla="*/ 36 w 303"/>
                <a:gd name="T5" fmla="*/ 266 h 294"/>
                <a:gd name="T6" fmla="*/ 103 w 303"/>
                <a:gd name="T7" fmla="*/ 294 h 294"/>
                <a:gd name="T8" fmla="*/ 169 w 303"/>
                <a:gd name="T9" fmla="*/ 266 h 294"/>
                <a:gd name="T10" fmla="*/ 266 w 303"/>
                <a:gd name="T11" fmla="*/ 169 h 294"/>
                <a:gd name="T12" fmla="*/ 266 w 303"/>
                <a:gd name="T13" fmla="*/ 36 h 294"/>
                <a:gd name="T14" fmla="*/ 134 w 303"/>
                <a:gd name="T15" fmla="*/ 36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3" h="294">
                  <a:moveTo>
                    <a:pt x="134" y="36"/>
                  </a:moveTo>
                  <a:lnTo>
                    <a:pt x="36" y="134"/>
                  </a:lnTo>
                  <a:cubicBezTo>
                    <a:pt x="0" y="170"/>
                    <a:pt x="0" y="230"/>
                    <a:pt x="36" y="266"/>
                  </a:cubicBezTo>
                  <a:cubicBezTo>
                    <a:pt x="55" y="285"/>
                    <a:pt x="79" y="294"/>
                    <a:pt x="103" y="294"/>
                  </a:cubicBezTo>
                  <a:cubicBezTo>
                    <a:pt x="126" y="294"/>
                    <a:pt x="150" y="285"/>
                    <a:pt x="169" y="266"/>
                  </a:cubicBezTo>
                  <a:lnTo>
                    <a:pt x="266" y="169"/>
                  </a:lnTo>
                  <a:cubicBezTo>
                    <a:pt x="303" y="132"/>
                    <a:pt x="303" y="73"/>
                    <a:pt x="266" y="36"/>
                  </a:cubicBezTo>
                  <a:cubicBezTo>
                    <a:pt x="229" y="0"/>
                    <a:pt x="170" y="0"/>
                    <a:pt x="134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23"/>
            <p:cNvSpPr>
              <a:spLocks/>
            </p:cNvSpPr>
            <p:nvPr/>
          </p:nvSpPr>
          <p:spPr bwMode="auto">
            <a:xfrm>
              <a:off x="-300" y="4724"/>
              <a:ext cx="18" cy="10"/>
            </a:xfrm>
            <a:custGeom>
              <a:avLst/>
              <a:gdLst>
                <a:gd name="T0" fmla="*/ 94 w 325"/>
                <a:gd name="T1" fmla="*/ 0 h 188"/>
                <a:gd name="T2" fmla="*/ 0 w 325"/>
                <a:gd name="T3" fmla="*/ 94 h 188"/>
                <a:gd name="T4" fmla="*/ 94 w 325"/>
                <a:gd name="T5" fmla="*/ 188 h 188"/>
                <a:gd name="T6" fmla="*/ 232 w 325"/>
                <a:gd name="T7" fmla="*/ 188 h 188"/>
                <a:gd name="T8" fmla="*/ 325 w 325"/>
                <a:gd name="T9" fmla="*/ 94 h 188"/>
                <a:gd name="T10" fmla="*/ 232 w 325"/>
                <a:gd name="T11" fmla="*/ 0 h 188"/>
                <a:gd name="T12" fmla="*/ 94 w 325"/>
                <a:gd name="T13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" h="188">
                  <a:moveTo>
                    <a:pt x="94" y="0"/>
                  </a:move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lnTo>
                    <a:pt x="232" y="188"/>
                  </a:lnTo>
                  <a:cubicBezTo>
                    <a:pt x="283" y="188"/>
                    <a:pt x="325" y="146"/>
                    <a:pt x="325" y="94"/>
                  </a:cubicBezTo>
                  <a:cubicBezTo>
                    <a:pt x="325" y="42"/>
                    <a:pt x="283" y="0"/>
                    <a:pt x="232" y="0"/>
                  </a:cubicBezTo>
                  <a:lnTo>
                    <a:pt x="9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24"/>
            <p:cNvSpPr>
              <a:spLocks/>
            </p:cNvSpPr>
            <p:nvPr/>
          </p:nvSpPr>
          <p:spPr bwMode="auto">
            <a:xfrm>
              <a:off x="-270" y="4653"/>
              <a:ext cx="16" cy="15"/>
            </a:xfrm>
            <a:custGeom>
              <a:avLst/>
              <a:gdLst>
                <a:gd name="T0" fmla="*/ 266 w 303"/>
                <a:gd name="T1" fmla="*/ 134 h 294"/>
                <a:gd name="T2" fmla="*/ 169 w 303"/>
                <a:gd name="T3" fmla="*/ 36 h 294"/>
                <a:gd name="T4" fmla="*/ 36 w 303"/>
                <a:gd name="T5" fmla="*/ 36 h 294"/>
                <a:gd name="T6" fmla="*/ 36 w 303"/>
                <a:gd name="T7" fmla="*/ 169 h 294"/>
                <a:gd name="T8" fmla="*/ 134 w 303"/>
                <a:gd name="T9" fmla="*/ 266 h 294"/>
                <a:gd name="T10" fmla="*/ 200 w 303"/>
                <a:gd name="T11" fmla="*/ 294 h 294"/>
                <a:gd name="T12" fmla="*/ 266 w 303"/>
                <a:gd name="T13" fmla="*/ 266 h 294"/>
                <a:gd name="T14" fmla="*/ 266 w 303"/>
                <a:gd name="T15" fmla="*/ 13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3" h="294">
                  <a:moveTo>
                    <a:pt x="266" y="134"/>
                  </a:moveTo>
                  <a:lnTo>
                    <a:pt x="169" y="36"/>
                  </a:lnTo>
                  <a:cubicBezTo>
                    <a:pt x="132" y="0"/>
                    <a:pt x="73" y="0"/>
                    <a:pt x="36" y="36"/>
                  </a:cubicBezTo>
                  <a:cubicBezTo>
                    <a:pt x="0" y="73"/>
                    <a:pt x="0" y="132"/>
                    <a:pt x="36" y="169"/>
                  </a:cubicBezTo>
                  <a:lnTo>
                    <a:pt x="134" y="266"/>
                  </a:lnTo>
                  <a:cubicBezTo>
                    <a:pt x="152" y="284"/>
                    <a:pt x="176" y="294"/>
                    <a:pt x="200" y="294"/>
                  </a:cubicBezTo>
                  <a:cubicBezTo>
                    <a:pt x="224" y="294"/>
                    <a:pt x="248" y="284"/>
                    <a:pt x="266" y="266"/>
                  </a:cubicBezTo>
                  <a:cubicBezTo>
                    <a:pt x="303" y="229"/>
                    <a:pt x="303" y="170"/>
                    <a:pt x="266" y="1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25"/>
            <p:cNvSpPr>
              <a:spLocks noEditPoints="1"/>
            </p:cNvSpPr>
            <p:nvPr/>
          </p:nvSpPr>
          <p:spPr bwMode="auto">
            <a:xfrm>
              <a:off x="-241" y="4657"/>
              <a:ext cx="104" cy="105"/>
            </a:xfrm>
            <a:custGeom>
              <a:avLst/>
              <a:gdLst>
                <a:gd name="T0" fmla="*/ 1141 w 1959"/>
                <a:gd name="T1" fmla="*/ 1615 h 1982"/>
                <a:gd name="T2" fmla="*/ 1809 w 1959"/>
                <a:gd name="T3" fmla="*/ 1958 h 1982"/>
                <a:gd name="T4" fmla="*/ 1935 w 1959"/>
                <a:gd name="T5" fmla="*/ 1917 h 1982"/>
                <a:gd name="T6" fmla="*/ 1895 w 1959"/>
                <a:gd name="T7" fmla="*/ 1791 h 1982"/>
                <a:gd name="T8" fmla="*/ 1227 w 1959"/>
                <a:gd name="T9" fmla="*/ 1448 h 1982"/>
                <a:gd name="T10" fmla="*/ 1234 w 1959"/>
                <a:gd name="T11" fmla="*/ 1380 h 1982"/>
                <a:gd name="T12" fmla="*/ 984 w 1959"/>
                <a:gd name="T13" fmla="*/ 1049 h 1982"/>
                <a:gd name="T14" fmla="*/ 984 w 1959"/>
                <a:gd name="T15" fmla="*/ 94 h 1982"/>
                <a:gd name="T16" fmla="*/ 890 w 1959"/>
                <a:gd name="T17" fmla="*/ 0 h 1982"/>
                <a:gd name="T18" fmla="*/ 796 w 1959"/>
                <a:gd name="T19" fmla="*/ 94 h 1982"/>
                <a:gd name="T20" fmla="*/ 796 w 1959"/>
                <a:gd name="T21" fmla="*/ 1049 h 1982"/>
                <a:gd name="T22" fmla="*/ 559 w 1959"/>
                <a:gd name="T23" fmla="*/ 1286 h 1982"/>
                <a:gd name="T24" fmla="*/ 94 w 1959"/>
                <a:gd name="T25" fmla="*/ 1286 h 1982"/>
                <a:gd name="T26" fmla="*/ 0 w 1959"/>
                <a:gd name="T27" fmla="*/ 1380 h 1982"/>
                <a:gd name="T28" fmla="*/ 94 w 1959"/>
                <a:gd name="T29" fmla="*/ 1474 h 1982"/>
                <a:gd name="T30" fmla="*/ 559 w 1959"/>
                <a:gd name="T31" fmla="*/ 1474 h 1982"/>
                <a:gd name="T32" fmla="*/ 890 w 1959"/>
                <a:gd name="T33" fmla="*/ 1724 h 1982"/>
                <a:gd name="T34" fmla="*/ 1141 w 1959"/>
                <a:gd name="T35" fmla="*/ 1615 h 1982"/>
                <a:gd name="T36" fmla="*/ 890 w 1959"/>
                <a:gd name="T37" fmla="*/ 1536 h 1982"/>
                <a:gd name="T38" fmla="*/ 734 w 1959"/>
                <a:gd name="T39" fmla="*/ 1380 h 1982"/>
                <a:gd name="T40" fmla="*/ 890 w 1959"/>
                <a:gd name="T41" fmla="*/ 1224 h 1982"/>
                <a:gd name="T42" fmla="*/ 1046 w 1959"/>
                <a:gd name="T43" fmla="*/ 1380 h 1982"/>
                <a:gd name="T44" fmla="*/ 890 w 1959"/>
                <a:gd name="T45" fmla="*/ 1536 h 1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59" h="1982">
                  <a:moveTo>
                    <a:pt x="1141" y="1615"/>
                  </a:moveTo>
                  <a:lnTo>
                    <a:pt x="1809" y="1958"/>
                  </a:lnTo>
                  <a:cubicBezTo>
                    <a:pt x="1855" y="1982"/>
                    <a:pt x="1912" y="1963"/>
                    <a:pt x="1935" y="1917"/>
                  </a:cubicBezTo>
                  <a:cubicBezTo>
                    <a:pt x="1959" y="1871"/>
                    <a:pt x="1941" y="1815"/>
                    <a:pt x="1895" y="1791"/>
                  </a:cubicBezTo>
                  <a:lnTo>
                    <a:pt x="1227" y="1448"/>
                  </a:lnTo>
                  <a:cubicBezTo>
                    <a:pt x="1232" y="1426"/>
                    <a:pt x="1234" y="1403"/>
                    <a:pt x="1234" y="1380"/>
                  </a:cubicBezTo>
                  <a:cubicBezTo>
                    <a:pt x="1234" y="1223"/>
                    <a:pt x="1128" y="1090"/>
                    <a:pt x="984" y="1049"/>
                  </a:cubicBezTo>
                  <a:lnTo>
                    <a:pt x="984" y="94"/>
                  </a:lnTo>
                  <a:cubicBezTo>
                    <a:pt x="984" y="42"/>
                    <a:pt x="942" y="0"/>
                    <a:pt x="890" y="0"/>
                  </a:cubicBezTo>
                  <a:cubicBezTo>
                    <a:pt x="838" y="0"/>
                    <a:pt x="796" y="42"/>
                    <a:pt x="796" y="94"/>
                  </a:cubicBezTo>
                  <a:lnTo>
                    <a:pt x="796" y="1049"/>
                  </a:lnTo>
                  <a:cubicBezTo>
                    <a:pt x="682" y="1082"/>
                    <a:pt x="592" y="1172"/>
                    <a:pt x="559" y="1286"/>
                  </a:cubicBezTo>
                  <a:lnTo>
                    <a:pt x="94" y="1286"/>
                  </a:lnTo>
                  <a:cubicBezTo>
                    <a:pt x="42" y="1286"/>
                    <a:pt x="0" y="1328"/>
                    <a:pt x="0" y="1380"/>
                  </a:cubicBezTo>
                  <a:cubicBezTo>
                    <a:pt x="0" y="1432"/>
                    <a:pt x="42" y="1474"/>
                    <a:pt x="94" y="1474"/>
                  </a:cubicBezTo>
                  <a:lnTo>
                    <a:pt x="559" y="1474"/>
                  </a:lnTo>
                  <a:cubicBezTo>
                    <a:pt x="600" y="1618"/>
                    <a:pt x="733" y="1724"/>
                    <a:pt x="890" y="1724"/>
                  </a:cubicBezTo>
                  <a:cubicBezTo>
                    <a:pt x="989" y="1724"/>
                    <a:pt x="1078" y="1682"/>
                    <a:pt x="1141" y="1615"/>
                  </a:cubicBezTo>
                  <a:close/>
                  <a:moveTo>
                    <a:pt x="890" y="1536"/>
                  </a:moveTo>
                  <a:cubicBezTo>
                    <a:pt x="804" y="1536"/>
                    <a:pt x="734" y="1466"/>
                    <a:pt x="734" y="1380"/>
                  </a:cubicBezTo>
                  <a:cubicBezTo>
                    <a:pt x="734" y="1294"/>
                    <a:pt x="804" y="1224"/>
                    <a:pt x="890" y="1224"/>
                  </a:cubicBezTo>
                  <a:cubicBezTo>
                    <a:pt x="976" y="1224"/>
                    <a:pt x="1046" y="1294"/>
                    <a:pt x="1046" y="1380"/>
                  </a:cubicBezTo>
                  <a:cubicBezTo>
                    <a:pt x="1046" y="1466"/>
                    <a:pt x="976" y="1536"/>
                    <a:pt x="890" y="15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126"/>
            <p:cNvSpPr>
              <a:spLocks/>
            </p:cNvSpPr>
            <p:nvPr/>
          </p:nvSpPr>
          <p:spPr bwMode="auto">
            <a:xfrm>
              <a:off x="-327" y="4596"/>
              <a:ext cx="266" cy="267"/>
            </a:xfrm>
            <a:custGeom>
              <a:avLst/>
              <a:gdLst>
                <a:gd name="T0" fmla="*/ 4935 w 5025"/>
                <a:gd name="T1" fmla="*/ 2420 h 5028"/>
                <a:gd name="T2" fmla="*/ 5021 w 5025"/>
                <a:gd name="T3" fmla="*/ 2319 h 5028"/>
                <a:gd name="T4" fmla="*/ 4226 w 5025"/>
                <a:gd name="T5" fmla="*/ 673 h 5028"/>
                <a:gd name="T6" fmla="*/ 2514 w 5025"/>
                <a:gd name="T7" fmla="*/ 0 h 5028"/>
                <a:gd name="T8" fmla="*/ 0 w 5025"/>
                <a:gd name="T9" fmla="*/ 2514 h 5028"/>
                <a:gd name="T10" fmla="*/ 2514 w 5025"/>
                <a:gd name="T11" fmla="*/ 5028 h 5028"/>
                <a:gd name="T12" fmla="*/ 5021 w 5025"/>
                <a:gd name="T13" fmla="*/ 2709 h 5028"/>
                <a:gd name="T14" fmla="*/ 4935 w 5025"/>
                <a:gd name="T15" fmla="*/ 2608 h 5028"/>
                <a:gd name="T16" fmla="*/ 4834 w 5025"/>
                <a:gd name="T17" fmla="*/ 2694 h 5028"/>
                <a:gd name="T18" fmla="*/ 2514 w 5025"/>
                <a:gd name="T19" fmla="*/ 4841 h 5028"/>
                <a:gd name="T20" fmla="*/ 187 w 5025"/>
                <a:gd name="T21" fmla="*/ 2514 h 5028"/>
                <a:gd name="T22" fmla="*/ 2514 w 5025"/>
                <a:gd name="T23" fmla="*/ 187 h 5028"/>
                <a:gd name="T24" fmla="*/ 4099 w 5025"/>
                <a:gd name="T25" fmla="*/ 810 h 5028"/>
                <a:gd name="T26" fmla="*/ 4834 w 5025"/>
                <a:gd name="T27" fmla="*/ 2334 h 5028"/>
                <a:gd name="T28" fmla="*/ 4935 w 5025"/>
                <a:gd name="T29" fmla="*/ 2420 h 5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025" h="5028">
                  <a:moveTo>
                    <a:pt x="4935" y="2420"/>
                  </a:moveTo>
                  <a:cubicBezTo>
                    <a:pt x="4986" y="2416"/>
                    <a:pt x="5025" y="2371"/>
                    <a:pt x="5021" y="2319"/>
                  </a:cubicBezTo>
                  <a:cubicBezTo>
                    <a:pt x="4973" y="1690"/>
                    <a:pt x="4690" y="1105"/>
                    <a:pt x="4226" y="673"/>
                  </a:cubicBezTo>
                  <a:cubicBezTo>
                    <a:pt x="3760" y="239"/>
                    <a:pt x="3152" y="0"/>
                    <a:pt x="2514" y="0"/>
                  </a:cubicBezTo>
                  <a:cubicBezTo>
                    <a:pt x="1128" y="0"/>
                    <a:pt x="0" y="1128"/>
                    <a:pt x="0" y="2514"/>
                  </a:cubicBezTo>
                  <a:cubicBezTo>
                    <a:pt x="0" y="3900"/>
                    <a:pt x="1128" y="5028"/>
                    <a:pt x="2514" y="5028"/>
                  </a:cubicBezTo>
                  <a:cubicBezTo>
                    <a:pt x="3825" y="5028"/>
                    <a:pt x="4921" y="4018"/>
                    <a:pt x="5021" y="2709"/>
                  </a:cubicBezTo>
                  <a:cubicBezTo>
                    <a:pt x="5025" y="2657"/>
                    <a:pt x="4986" y="2612"/>
                    <a:pt x="4935" y="2608"/>
                  </a:cubicBezTo>
                  <a:cubicBezTo>
                    <a:pt x="4883" y="2604"/>
                    <a:pt x="4838" y="2643"/>
                    <a:pt x="4834" y="2694"/>
                  </a:cubicBezTo>
                  <a:cubicBezTo>
                    <a:pt x="4741" y="3904"/>
                    <a:pt x="3730" y="4841"/>
                    <a:pt x="2514" y="4841"/>
                  </a:cubicBezTo>
                  <a:cubicBezTo>
                    <a:pt x="1231" y="4841"/>
                    <a:pt x="187" y="3797"/>
                    <a:pt x="187" y="2514"/>
                  </a:cubicBezTo>
                  <a:cubicBezTo>
                    <a:pt x="187" y="1231"/>
                    <a:pt x="1231" y="187"/>
                    <a:pt x="2514" y="187"/>
                  </a:cubicBezTo>
                  <a:cubicBezTo>
                    <a:pt x="3104" y="187"/>
                    <a:pt x="3667" y="408"/>
                    <a:pt x="4099" y="810"/>
                  </a:cubicBezTo>
                  <a:cubicBezTo>
                    <a:pt x="4528" y="1210"/>
                    <a:pt x="4789" y="1751"/>
                    <a:pt x="4834" y="2334"/>
                  </a:cubicBezTo>
                  <a:cubicBezTo>
                    <a:pt x="4838" y="2385"/>
                    <a:pt x="4883" y="2424"/>
                    <a:pt x="4935" y="24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27"/>
            <p:cNvSpPr>
              <a:spLocks/>
            </p:cNvSpPr>
            <p:nvPr/>
          </p:nvSpPr>
          <p:spPr bwMode="auto">
            <a:xfrm>
              <a:off x="-288" y="4560"/>
              <a:ext cx="264" cy="340"/>
            </a:xfrm>
            <a:custGeom>
              <a:avLst/>
              <a:gdLst>
                <a:gd name="T0" fmla="*/ 4045 w 4982"/>
                <a:gd name="T1" fmla="*/ 937 h 6400"/>
                <a:gd name="T2" fmla="*/ 1782 w 4982"/>
                <a:gd name="T3" fmla="*/ 0 h 6400"/>
                <a:gd name="T4" fmla="*/ 56 w 4982"/>
                <a:gd name="T5" fmla="*/ 505 h 6400"/>
                <a:gd name="T6" fmla="*/ 28 w 4982"/>
                <a:gd name="T7" fmla="*/ 634 h 6400"/>
                <a:gd name="T8" fmla="*/ 157 w 4982"/>
                <a:gd name="T9" fmla="*/ 663 h 6400"/>
                <a:gd name="T10" fmla="*/ 1782 w 4982"/>
                <a:gd name="T11" fmla="*/ 188 h 6400"/>
                <a:gd name="T12" fmla="*/ 3912 w 4982"/>
                <a:gd name="T13" fmla="*/ 1070 h 6400"/>
                <a:gd name="T14" fmla="*/ 4795 w 4982"/>
                <a:gd name="T15" fmla="*/ 3200 h 6400"/>
                <a:gd name="T16" fmla="*/ 1782 w 4982"/>
                <a:gd name="T17" fmla="*/ 6213 h 6400"/>
                <a:gd name="T18" fmla="*/ 907 w 4982"/>
                <a:gd name="T19" fmla="*/ 6083 h 6400"/>
                <a:gd name="T20" fmla="*/ 790 w 4982"/>
                <a:gd name="T21" fmla="*/ 6146 h 6400"/>
                <a:gd name="T22" fmla="*/ 853 w 4982"/>
                <a:gd name="T23" fmla="*/ 6263 h 6400"/>
                <a:gd name="T24" fmla="*/ 1782 w 4982"/>
                <a:gd name="T25" fmla="*/ 6400 h 6400"/>
                <a:gd name="T26" fmla="*/ 4982 w 4982"/>
                <a:gd name="T27" fmla="*/ 3200 h 6400"/>
                <a:gd name="T28" fmla="*/ 4045 w 4982"/>
                <a:gd name="T29" fmla="*/ 937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2" h="6400">
                  <a:moveTo>
                    <a:pt x="4045" y="937"/>
                  </a:moveTo>
                  <a:cubicBezTo>
                    <a:pt x="3440" y="333"/>
                    <a:pt x="2637" y="0"/>
                    <a:pt x="1782" y="0"/>
                  </a:cubicBezTo>
                  <a:cubicBezTo>
                    <a:pt x="1168" y="0"/>
                    <a:pt x="571" y="175"/>
                    <a:pt x="56" y="505"/>
                  </a:cubicBezTo>
                  <a:cubicBezTo>
                    <a:pt x="13" y="533"/>
                    <a:pt x="0" y="591"/>
                    <a:pt x="28" y="634"/>
                  </a:cubicBezTo>
                  <a:cubicBezTo>
                    <a:pt x="56" y="678"/>
                    <a:pt x="114" y="691"/>
                    <a:pt x="157" y="663"/>
                  </a:cubicBezTo>
                  <a:cubicBezTo>
                    <a:pt x="642" y="352"/>
                    <a:pt x="1204" y="188"/>
                    <a:pt x="1782" y="188"/>
                  </a:cubicBezTo>
                  <a:cubicBezTo>
                    <a:pt x="2587" y="188"/>
                    <a:pt x="3343" y="501"/>
                    <a:pt x="3912" y="1070"/>
                  </a:cubicBezTo>
                  <a:cubicBezTo>
                    <a:pt x="4481" y="1639"/>
                    <a:pt x="4795" y="2395"/>
                    <a:pt x="4795" y="3200"/>
                  </a:cubicBezTo>
                  <a:cubicBezTo>
                    <a:pt x="4795" y="4865"/>
                    <a:pt x="3447" y="6213"/>
                    <a:pt x="1782" y="6213"/>
                  </a:cubicBezTo>
                  <a:cubicBezTo>
                    <a:pt x="1484" y="6213"/>
                    <a:pt x="1190" y="6169"/>
                    <a:pt x="907" y="6083"/>
                  </a:cubicBezTo>
                  <a:cubicBezTo>
                    <a:pt x="858" y="6068"/>
                    <a:pt x="805" y="6096"/>
                    <a:pt x="790" y="6146"/>
                  </a:cubicBezTo>
                  <a:cubicBezTo>
                    <a:pt x="775" y="6195"/>
                    <a:pt x="803" y="6248"/>
                    <a:pt x="853" y="6263"/>
                  </a:cubicBezTo>
                  <a:cubicBezTo>
                    <a:pt x="1153" y="6354"/>
                    <a:pt x="1466" y="6400"/>
                    <a:pt x="1782" y="6400"/>
                  </a:cubicBezTo>
                  <a:cubicBezTo>
                    <a:pt x="3551" y="6400"/>
                    <a:pt x="4982" y="4969"/>
                    <a:pt x="4982" y="3200"/>
                  </a:cubicBezTo>
                  <a:cubicBezTo>
                    <a:pt x="4982" y="2345"/>
                    <a:pt x="4649" y="1542"/>
                    <a:pt x="4045" y="9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28"/>
            <p:cNvSpPr>
              <a:spLocks/>
            </p:cNvSpPr>
            <p:nvPr/>
          </p:nvSpPr>
          <p:spPr bwMode="auto">
            <a:xfrm>
              <a:off x="-363" y="4597"/>
              <a:ext cx="109" cy="289"/>
            </a:xfrm>
            <a:custGeom>
              <a:avLst/>
              <a:gdLst>
                <a:gd name="T0" fmla="*/ 1984 w 2053"/>
                <a:gd name="T1" fmla="*/ 5257 h 5437"/>
                <a:gd name="T2" fmla="*/ 188 w 2053"/>
                <a:gd name="T3" fmla="*/ 2500 h 5437"/>
                <a:gd name="T4" fmla="*/ 1282 w 2053"/>
                <a:gd name="T5" fmla="*/ 177 h 5437"/>
                <a:gd name="T6" fmla="*/ 1294 w 2053"/>
                <a:gd name="T7" fmla="*/ 45 h 5437"/>
                <a:gd name="T8" fmla="*/ 1162 w 2053"/>
                <a:gd name="T9" fmla="*/ 33 h 5437"/>
                <a:gd name="T10" fmla="*/ 0 w 2053"/>
                <a:gd name="T11" fmla="*/ 2500 h 5437"/>
                <a:gd name="T12" fmla="*/ 1909 w 2053"/>
                <a:gd name="T13" fmla="*/ 5429 h 5437"/>
                <a:gd name="T14" fmla="*/ 1947 w 2053"/>
                <a:gd name="T15" fmla="*/ 5437 h 5437"/>
                <a:gd name="T16" fmla="*/ 2032 w 2053"/>
                <a:gd name="T17" fmla="*/ 5381 h 5437"/>
                <a:gd name="T18" fmla="*/ 1984 w 2053"/>
                <a:gd name="T19" fmla="*/ 5257 h 5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53" h="5437">
                  <a:moveTo>
                    <a:pt x="1984" y="5257"/>
                  </a:moveTo>
                  <a:cubicBezTo>
                    <a:pt x="893" y="4775"/>
                    <a:pt x="188" y="3693"/>
                    <a:pt x="188" y="2500"/>
                  </a:cubicBezTo>
                  <a:cubicBezTo>
                    <a:pt x="188" y="1599"/>
                    <a:pt x="586" y="752"/>
                    <a:pt x="1282" y="177"/>
                  </a:cubicBezTo>
                  <a:cubicBezTo>
                    <a:pt x="1322" y="144"/>
                    <a:pt x="1327" y="85"/>
                    <a:pt x="1294" y="45"/>
                  </a:cubicBezTo>
                  <a:cubicBezTo>
                    <a:pt x="1261" y="5"/>
                    <a:pt x="1202" y="0"/>
                    <a:pt x="1162" y="33"/>
                  </a:cubicBezTo>
                  <a:cubicBezTo>
                    <a:pt x="424" y="643"/>
                    <a:pt x="0" y="1543"/>
                    <a:pt x="0" y="2500"/>
                  </a:cubicBezTo>
                  <a:cubicBezTo>
                    <a:pt x="0" y="3767"/>
                    <a:pt x="749" y="4917"/>
                    <a:pt x="1909" y="5429"/>
                  </a:cubicBezTo>
                  <a:cubicBezTo>
                    <a:pt x="1921" y="5434"/>
                    <a:pt x="1934" y="5437"/>
                    <a:pt x="1947" y="5437"/>
                  </a:cubicBezTo>
                  <a:cubicBezTo>
                    <a:pt x="1983" y="5437"/>
                    <a:pt x="2017" y="5416"/>
                    <a:pt x="2032" y="5381"/>
                  </a:cubicBezTo>
                  <a:cubicBezTo>
                    <a:pt x="2053" y="5333"/>
                    <a:pt x="2032" y="5278"/>
                    <a:pt x="1984" y="525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088889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536FF1B-9B8D-EE4F-A943-088AE3FAD535}"/>
              </a:ext>
            </a:extLst>
          </p:cNvPr>
          <p:cNvSpPr/>
          <p:nvPr/>
        </p:nvSpPr>
        <p:spPr>
          <a:xfrm>
            <a:off x="299244" y="106170"/>
            <a:ext cx="1159351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Manage you Company Inventory</a:t>
            </a:r>
          </a:p>
        </p:txBody>
      </p:sp>
      <p:sp>
        <p:nvSpPr>
          <p:cNvPr id="13" name="TextBox 2">
            <a:extLst>
              <a:ext uri="{FF2B5EF4-FFF2-40B4-BE49-F238E27FC236}">
                <a16:creationId xmlns:a16="http://schemas.microsoft.com/office/drawing/2014/main" id="{43C342B3-592E-EC45-9116-BAA5A8E6E414}"/>
              </a:ext>
            </a:extLst>
          </p:cNvPr>
          <p:cNvSpPr txBox="1"/>
          <p:nvPr/>
        </p:nvSpPr>
        <p:spPr>
          <a:xfrm>
            <a:off x="8928100" y="1120492"/>
            <a:ext cx="2793050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reate and manage company owned inventory items </a:t>
            </a:r>
          </a:p>
        </p:txBody>
      </p:sp>
      <p:sp>
        <p:nvSpPr>
          <p:cNvPr id="14" name="TextBox 2">
            <a:extLst>
              <a:ext uri="{FF2B5EF4-FFF2-40B4-BE49-F238E27FC236}">
                <a16:creationId xmlns:a16="http://schemas.microsoft.com/office/drawing/2014/main" id="{81464961-20D9-9F4F-91A5-2C7FDD93EC5D}"/>
              </a:ext>
            </a:extLst>
          </p:cNvPr>
          <p:cNvSpPr txBox="1"/>
          <p:nvPr/>
        </p:nvSpPr>
        <p:spPr>
          <a:xfrm>
            <a:off x="8928100" y="2038862"/>
            <a:ext cx="2793050" cy="738664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tore key documentation against the inventory item including manuals and drawings</a:t>
            </a:r>
          </a:p>
        </p:txBody>
      </p:sp>
      <p:sp>
        <p:nvSpPr>
          <p:cNvPr id="15" name="TextBox 2">
            <a:extLst>
              <a:ext uri="{FF2B5EF4-FFF2-40B4-BE49-F238E27FC236}">
                <a16:creationId xmlns:a16="http://schemas.microsoft.com/office/drawing/2014/main" id="{49772930-0396-D44B-A2D4-50D10F866D8F}"/>
              </a:ext>
            </a:extLst>
          </p:cNvPr>
          <p:cNvSpPr txBox="1"/>
          <p:nvPr/>
        </p:nvSpPr>
        <p:spPr>
          <a:xfrm>
            <a:off x="8928100" y="3064954"/>
            <a:ext cx="2793050" cy="738664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reate bespoke checklists for inspection and store completed copies against the item</a:t>
            </a:r>
          </a:p>
        </p:txBody>
      </p:sp>
      <p:sp>
        <p:nvSpPr>
          <p:cNvPr id="16" name="TextBox 2">
            <a:extLst>
              <a:ext uri="{FF2B5EF4-FFF2-40B4-BE49-F238E27FC236}">
                <a16:creationId xmlns:a16="http://schemas.microsoft.com/office/drawing/2014/main" id="{649B0765-5800-3048-A390-90023104A9A4}"/>
              </a:ext>
            </a:extLst>
          </p:cNvPr>
          <p:cNvSpPr txBox="1"/>
          <p:nvPr/>
        </p:nvSpPr>
        <p:spPr>
          <a:xfrm>
            <a:off x="8928100" y="3989643"/>
            <a:ext cx="2793050" cy="95410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tore HAVs data against hand held tools and utilise our HAVs calculator to keep your workforce safe from HAVS </a:t>
            </a:r>
          </a:p>
        </p:txBody>
      </p:sp>
      <p:sp>
        <p:nvSpPr>
          <p:cNvPr id="17" name="TextBox 2">
            <a:extLst>
              <a:ext uri="{FF2B5EF4-FFF2-40B4-BE49-F238E27FC236}">
                <a16:creationId xmlns:a16="http://schemas.microsoft.com/office/drawing/2014/main" id="{424E5309-A88F-C44E-BFFE-202C99E22708}"/>
              </a:ext>
            </a:extLst>
          </p:cNvPr>
          <p:cNvSpPr txBox="1"/>
          <p:nvPr/>
        </p:nvSpPr>
        <p:spPr>
          <a:xfrm>
            <a:off x="8928100" y="5224860"/>
            <a:ext cx="2793050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fine training requirements for equipment use</a:t>
            </a: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6299" y="983782"/>
            <a:ext cx="8578858" cy="4976949"/>
          </a:xfrm>
          <a:prstGeom prst="rect">
            <a:avLst/>
          </a:prstGeom>
        </p:spPr>
      </p:pic>
      <p:sp>
        <p:nvSpPr>
          <p:cNvPr id="19" name="Freeform 14">
            <a:extLst>
              <a:ext uri="{FF2B5EF4-FFF2-40B4-BE49-F238E27FC236}">
                <a16:creationId xmlns:a16="http://schemas.microsoft.com/office/drawing/2014/main" id="{21E75793-FCD7-E640-8EAC-91AB64E42A50}"/>
              </a:ext>
            </a:extLst>
          </p:cNvPr>
          <p:cNvSpPr>
            <a:spLocks/>
          </p:cNvSpPr>
          <p:nvPr/>
        </p:nvSpPr>
        <p:spPr bwMode="auto">
          <a:xfrm>
            <a:off x="8139750" y="1009140"/>
            <a:ext cx="592450" cy="74592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0" name="Freeform 14">
            <a:extLst>
              <a:ext uri="{FF2B5EF4-FFF2-40B4-BE49-F238E27FC236}">
                <a16:creationId xmlns:a16="http://schemas.microsoft.com/office/drawing/2014/main" id="{7FA54939-6B8E-1343-884C-0CE695DCF2BA}"/>
              </a:ext>
            </a:extLst>
          </p:cNvPr>
          <p:cNvSpPr>
            <a:spLocks/>
          </p:cNvSpPr>
          <p:nvPr/>
        </p:nvSpPr>
        <p:spPr bwMode="auto">
          <a:xfrm>
            <a:off x="8139750" y="4087416"/>
            <a:ext cx="592450" cy="74592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1" name="Freeform 14">
            <a:extLst>
              <a:ext uri="{FF2B5EF4-FFF2-40B4-BE49-F238E27FC236}">
                <a16:creationId xmlns:a16="http://schemas.microsoft.com/office/drawing/2014/main" id="{2DD74FE8-58A6-4F4B-8026-F603B01FC494}"/>
              </a:ext>
            </a:extLst>
          </p:cNvPr>
          <p:cNvSpPr>
            <a:spLocks/>
          </p:cNvSpPr>
          <p:nvPr/>
        </p:nvSpPr>
        <p:spPr bwMode="auto">
          <a:xfrm>
            <a:off x="8139750" y="5113508"/>
            <a:ext cx="592450" cy="74592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2" name="Freeform 14">
            <a:extLst>
              <a:ext uri="{FF2B5EF4-FFF2-40B4-BE49-F238E27FC236}">
                <a16:creationId xmlns:a16="http://schemas.microsoft.com/office/drawing/2014/main" id="{E1271759-F623-7F45-A57E-F75D5C5F1D5D}"/>
              </a:ext>
            </a:extLst>
          </p:cNvPr>
          <p:cNvSpPr>
            <a:spLocks/>
          </p:cNvSpPr>
          <p:nvPr/>
        </p:nvSpPr>
        <p:spPr bwMode="auto">
          <a:xfrm>
            <a:off x="8139750" y="2035232"/>
            <a:ext cx="592450" cy="74592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3" name="Freeform 14">
            <a:extLst>
              <a:ext uri="{FF2B5EF4-FFF2-40B4-BE49-F238E27FC236}">
                <a16:creationId xmlns:a16="http://schemas.microsoft.com/office/drawing/2014/main" id="{7D92FF7C-326D-1C49-A57F-2CE4C5F5B11B}"/>
              </a:ext>
            </a:extLst>
          </p:cNvPr>
          <p:cNvSpPr>
            <a:spLocks/>
          </p:cNvSpPr>
          <p:nvPr/>
        </p:nvSpPr>
        <p:spPr bwMode="auto">
          <a:xfrm>
            <a:off x="8139750" y="3061324"/>
            <a:ext cx="592450" cy="74592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4" name="Imag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982373"/>
            <a:ext cx="1174243" cy="542252"/>
          </a:xfrm>
          <a:prstGeom prst="rect">
            <a:avLst/>
          </a:prstGeom>
        </p:spPr>
      </p:pic>
      <p:sp>
        <p:nvSpPr>
          <p:cNvPr id="25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rgbClr val="A136A0"/>
                </a:solidFill>
                <a:latin typeface="Lato Medium"/>
                <a:ea typeface="Lato Medium"/>
                <a:cs typeface="Lato Medium"/>
              </a:rPr>
              <a:t>be-safetech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.c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</a:t>
            </a:r>
            <a:r>
              <a:rPr lang="en-US" b="1" dirty="0">
                <a:solidFill>
                  <a:srgbClr val="FEC232"/>
                </a:solidFill>
                <a:latin typeface="Montserrat"/>
              </a:rPr>
              <a:t>| </a:t>
            </a:r>
            <a:fld id="{DABD2AA5-CABB-4467-8A69-C511B00C377E}" type="slidenum">
              <a:rPr lang="en-US" b="1" dirty="0" smtClean="0">
                <a:solidFill>
                  <a:srgbClr val="A136A0"/>
                </a:solidFill>
                <a:latin typeface="Montserrat"/>
              </a:rPr>
              <a:pPr algn="l" rtl="1"/>
              <a:t>16</a:t>
            </a:fld>
            <a:endParaRPr lang="en-US" b="1" dirty="0">
              <a:solidFill>
                <a:srgbClr val="A136A0"/>
              </a:solidFill>
              <a:latin typeface="Montserrat"/>
            </a:endParaRPr>
          </a:p>
        </p:txBody>
      </p:sp>
      <p:grpSp>
        <p:nvGrpSpPr>
          <p:cNvPr id="59" name="Group 98"/>
          <p:cNvGrpSpPr>
            <a:grpSpLocks noChangeAspect="1"/>
          </p:cNvGrpSpPr>
          <p:nvPr/>
        </p:nvGrpSpPr>
        <p:grpSpPr bwMode="auto">
          <a:xfrm>
            <a:off x="8314016" y="3230262"/>
            <a:ext cx="241243" cy="385762"/>
            <a:chOff x="4261" y="-895"/>
            <a:chExt cx="212" cy="339"/>
          </a:xfrm>
          <a:solidFill>
            <a:srgbClr val="A136A0"/>
          </a:solidFill>
        </p:grpSpPr>
        <p:sp>
          <p:nvSpPr>
            <p:cNvPr id="60" name="Freeform 99"/>
            <p:cNvSpPr>
              <a:spLocks/>
            </p:cNvSpPr>
            <p:nvPr/>
          </p:nvSpPr>
          <p:spPr bwMode="auto">
            <a:xfrm>
              <a:off x="4300" y="-812"/>
              <a:ext cx="44" cy="33"/>
            </a:xfrm>
            <a:custGeom>
              <a:avLst/>
              <a:gdLst>
                <a:gd name="T0" fmla="*/ 788 w 837"/>
                <a:gd name="T1" fmla="*/ 49 h 637"/>
                <a:gd name="T2" fmla="*/ 611 w 837"/>
                <a:gd name="T3" fmla="*/ 49 h 637"/>
                <a:gd name="T4" fmla="*/ 325 w 837"/>
                <a:gd name="T5" fmla="*/ 335 h 637"/>
                <a:gd name="T6" fmla="*/ 225 w 837"/>
                <a:gd name="T7" fmla="*/ 236 h 637"/>
                <a:gd name="T8" fmla="*/ 49 w 837"/>
                <a:gd name="T9" fmla="*/ 236 h 637"/>
                <a:gd name="T10" fmla="*/ 49 w 837"/>
                <a:gd name="T11" fmla="*/ 413 h 637"/>
                <a:gd name="T12" fmla="*/ 236 w 837"/>
                <a:gd name="T13" fmla="*/ 600 h 637"/>
                <a:gd name="T14" fmla="*/ 324 w 837"/>
                <a:gd name="T15" fmla="*/ 637 h 637"/>
                <a:gd name="T16" fmla="*/ 413 w 837"/>
                <a:gd name="T17" fmla="*/ 600 h 637"/>
                <a:gd name="T18" fmla="*/ 788 w 837"/>
                <a:gd name="T19" fmla="*/ 225 h 637"/>
                <a:gd name="T20" fmla="*/ 788 w 837"/>
                <a:gd name="T21" fmla="*/ 4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7" h="637">
                  <a:moveTo>
                    <a:pt x="788" y="49"/>
                  </a:moveTo>
                  <a:cubicBezTo>
                    <a:pt x="739" y="0"/>
                    <a:pt x="660" y="0"/>
                    <a:pt x="611" y="49"/>
                  </a:cubicBezTo>
                  <a:lnTo>
                    <a:pt x="325" y="335"/>
                  </a:lnTo>
                  <a:lnTo>
                    <a:pt x="225" y="236"/>
                  </a:lnTo>
                  <a:cubicBezTo>
                    <a:pt x="177" y="187"/>
                    <a:pt x="97" y="187"/>
                    <a:pt x="49" y="236"/>
                  </a:cubicBezTo>
                  <a:cubicBezTo>
                    <a:pt x="0" y="285"/>
                    <a:pt x="0" y="364"/>
                    <a:pt x="49" y="413"/>
                  </a:cubicBezTo>
                  <a:lnTo>
                    <a:pt x="236" y="600"/>
                  </a:lnTo>
                  <a:cubicBezTo>
                    <a:pt x="261" y="625"/>
                    <a:pt x="293" y="637"/>
                    <a:pt x="324" y="637"/>
                  </a:cubicBezTo>
                  <a:cubicBezTo>
                    <a:pt x="356" y="637"/>
                    <a:pt x="388" y="625"/>
                    <a:pt x="413" y="600"/>
                  </a:cubicBezTo>
                  <a:lnTo>
                    <a:pt x="788" y="225"/>
                  </a:lnTo>
                  <a:cubicBezTo>
                    <a:pt x="837" y="177"/>
                    <a:pt x="837" y="97"/>
                    <a:pt x="788" y="4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00"/>
            <p:cNvSpPr>
              <a:spLocks/>
            </p:cNvSpPr>
            <p:nvPr/>
          </p:nvSpPr>
          <p:spPr bwMode="auto">
            <a:xfrm>
              <a:off x="4300" y="-753"/>
              <a:ext cx="44" cy="34"/>
            </a:xfrm>
            <a:custGeom>
              <a:avLst/>
              <a:gdLst>
                <a:gd name="T0" fmla="*/ 788 w 837"/>
                <a:gd name="T1" fmla="*/ 49 h 637"/>
                <a:gd name="T2" fmla="*/ 611 w 837"/>
                <a:gd name="T3" fmla="*/ 49 h 637"/>
                <a:gd name="T4" fmla="*/ 325 w 837"/>
                <a:gd name="T5" fmla="*/ 335 h 637"/>
                <a:gd name="T6" fmla="*/ 225 w 837"/>
                <a:gd name="T7" fmla="*/ 236 h 637"/>
                <a:gd name="T8" fmla="*/ 49 w 837"/>
                <a:gd name="T9" fmla="*/ 236 h 637"/>
                <a:gd name="T10" fmla="*/ 49 w 837"/>
                <a:gd name="T11" fmla="*/ 413 h 637"/>
                <a:gd name="T12" fmla="*/ 236 w 837"/>
                <a:gd name="T13" fmla="*/ 600 h 637"/>
                <a:gd name="T14" fmla="*/ 324 w 837"/>
                <a:gd name="T15" fmla="*/ 637 h 637"/>
                <a:gd name="T16" fmla="*/ 413 w 837"/>
                <a:gd name="T17" fmla="*/ 600 h 637"/>
                <a:gd name="T18" fmla="*/ 788 w 837"/>
                <a:gd name="T19" fmla="*/ 225 h 637"/>
                <a:gd name="T20" fmla="*/ 788 w 837"/>
                <a:gd name="T21" fmla="*/ 4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7" h="637">
                  <a:moveTo>
                    <a:pt x="788" y="49"/>
                  </a:moveTo>
                  <a:cubicBezTo>
                    <a:pt x="739" y="0"/>
                    <a:pt x="660" y="0"/>
                    <a:pt x="611" y="49"/>
                  </a:cubicBezTo>
                  <a:lnTo>
                    <a:pt x="325" y="335"/>
                  </a:lnTo>
                  <a:lnTo>
                    <a:pt x="225" y="236"/>
                  </a:lnTo>
                  <a:cubicBezTo>
                    <a:pt x="177" y="187"/>
                    <a:pt x="97" y="187"/>
                    <a:pt x="49" y="236"/>
                  </a:cubicBezTo>
                  <a:cubicBezTo>
                    <a:pt x="0" y="285"/>
                    <a:pt x="0" y="364"/>
                    <a:pt x="49" y="413"/>
                  </a:cubicBezTo>
                  <a:lnTo>
                    <a:pt x="236" y="600"/>
                  </a:lnTo>
                  <a:cubicBezTo>
                    <a:pt x="261" y="625"/>
                    <a:pt x="293" y="637"/>
                    <a:pt x="324" y="637"/>
                  </a:cubicBezTo>
                  <a:cubicBezTo>
                    <a:pt x="356" y="637"/>
                    <a:pt x="388" y="625"/>
                    <a:pt x="413" y="600"/>
                  </a:cubicBezTo>
                  <a:lnTo>
                    <a:pt x="788" y="225"/>
                  </a:lnTo>
                  <a:cubicBezTo>
                    <a:pt x="837" y="177"/>
                    <a:pt x="837" y="97"/>
                    <a:pt x="788" y="4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101"/>
            <p:cNvSpPr>
              <a:spLocks/>
            </p:cNvSpPr>
            <p:nvPr/>
          </p:nvSpPr>
          <p:spPr bwMode="auto">
            <a:xfrm>
              <a:off x="4300" y="-693"/>
              <a:ext cx="44" cy="33"/>
            </a:xfrm>
            <a:custGeom>
              <a:avLst/>
              <a:gdLst>
                <a:gd name="T0" fmla="*/ 611 w 837"/>
                <a:gd name="T1" fmla="*/ 49 h 637"/>
                <a:gd name="T2" fmla="*/ 325 w 837"/>
                <a:gd name="T3" fmla="*/ 335 h 637"/>
                <a:gd name="T4" fmla="*/ 225 w 837"/>
                <a:gd name="T5" fmla="*/ 236 h 637"/>
                <a:gd name="T6" fmla="*/ 49 w 837"/>
                <a:gd name="T7" fmla="*/ 236 h 637"/>
                <a:gd name="T8" fmla="*/ 49 w 837"/>
                <a:gd name="T9" fmla="*/ 413 h 637"/>
                <a:gd name="T10" fmla="*/ 236 w 837"/>
                <a:gd name="T11" fmla="*/ 600 h 637"/>
                <a:gd name="T12" fmla="*/ 324 w 837"/>
                <a:gd name="T13" fmla="*/ 637 h 637"/>
                <a:gd name="T14" fmla="*/ 413 w 837"/>
                <a:gd name="T15" fmla="*/ 600 h 637"/>
                <a:gd name="T16" fmla="*/ 788 w 837"/>
                <a:gd name="T17" fmla="*/ 225 h 637"/>
                <a:gd name="T18" fmla="*/ 788 w 837"/>
                <a:gd name="T19" fmla="*/ 49 h 637"/>
                <a:gd name="T20" fmla="*/ 611 w 837"/>
                <a:gd name="T21" fmla="*/ 4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7" h="637">
                  <a:moveTo>
                    <a:pt x="611" y="49"/>
                  </a:moveTo>
                  <a:lnTo>
                    <a:pt x="325" y="335"/>
                  </a:lnTo>
                  <a:lnTo>
                    <a:pt x="225" y="236"/>
                  </a:lnTo>
                  <a:cubicBezTo>
                    <a:pt x="177" y="187"/>
                    <a:pt x="97" y="187"/>
                    <a:pt x="49" y="236"/>
                  </a:cubicBezTo>
                  <a:cubicBezTo>
                    <a:pt x="0" y="285"/>
                    <a:pt x="0" y="364"/>
                    <a:pt x="49" y="413"/>
                  </a:cubicBezTo>
                  <a:lnTo>
                    <a:pt x="236" y="600"/>
                  </a:lnTo>
                  <a:cubicBezTo>
                    <a:pt x="261" y="625"/>
                    <a:pt x="293" y="637"/>
                    <a:pt x="324" y="637"/>
                  </a:cubicBezTo>
                  <a:cubicBezTo>
                    <a:pt x="356" y="637"/>
                    <a:pt x="388" y="625"/>
                    <a:pt x="413" y="600"/>
                  </a:cubicBezTo>
                  <a:lnTo>
                    <a:pt x="788" y="225"/>
                  </a:lnTo>
                  <a:cubicBezTo>
                    <a:pt x="837" y="177"/>
                    <a:pt x="837" y="97"/>
                    <a:pt x="788" y="49"/>
                  </a:cubicBezTo>
                  <a:cubicBezTo>
                    <a:pt x="739" y="0"/>
                    <a:pt x="660" y="0"/>
                    <a:pt x="611" y="4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102"/>
            <p:cNvSpPr>
              <a:spLocks/>
            </p:cNvSpPr>
            <p:nvPr/>
          </p:nvSpPr>
          <p:spPr bwMode="auto">
            <a:xfrm>
              <a:off x="4360" y="-792"/>
              <a:ext cx="73" cy="13"/>
            </a:xfrm>
            <a:custGeom>
              <a:avLst/>
              <a:gdLst>
                <a:gd name="T0" fmla="*/ 1250 w 1375"/>
                <a:gd name="T1" fmla="*/ 0 h 250"/>
                <a:gd name="T2" fmla="*/ 125 w 1375"/>
                <a:gd name="T3" fmla="*/ 0 h 250"/>
                <a:gd name="T4" fmla="*/ 0 w 1375"/>
                <a:gd name="T5" fmla="*/ 125 h 250"/>
                <a:gd name="T6" fmla="*/ 125 w 1375"/>
                <a:gd name="T7" fmla="*/ 250 h 250"/>
                <a:gd name="T8" fmla="*/ 1250 w 1375"/>
                <a:gd name="T9" fmla="*/ 250 h 250"/>
                <a:gd name="T10" fmla="*/ 1375 w 1375"/>
                <a:gd name="T11" fmla="*/ 125 h 250"/>
                <a:gd name="T12" fmla="*/ 1250 w 1375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5" h="250">
                  <a:moveTo>
                    <a:pt x="1250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250" y="250"/>
                  </a:lnTo>
                  <a:cubicBezTo>
                    <a:pt x="1319" y="250"/>
                    <a:pt x="1375" y="194"/>
                    <a:pt x="1375" y="125"/>
                  </a:cubicBezTo>
                  <a:cubicBezTo>
                    <a:pt x="1375" y="56"/>
                    <a:pt x="1319" y="0"/>
                    <a:pt x="125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103"/>
            <p:cNvSpPr>
              <a:spLocks/>
            </p:cNvSpPr>
            <p:nvPr/>
          </p:nvSpPr>
          <p:spPr bwMode="auto">
            <a:xfrm>
              <a:off x="4360" y="-732"/>
              <a:ext cx="73" cy="13"/>
            </a:xfrm>
            <a:custGeom>
              <a:avLst/>
              <a:gdLst>
                <a:gd name="T0" fmla="*/ 1250 w 1375"/>
                <a:gd name="T1" fmla="*/ 0 h 250"/>
                <a:gd name="T2" fmla="*/ 125 w 1375"/>
                <a:gd name="T3" fmla="*/ 0 h 250"/>
                <a:gd name="T4" fmla="*/ 0 w 1375"/>
                <a:gd name="T5" fmla="*/ 125 h 250"/>
                <a:gd name="T6" fmla="*/ 125 w 1375"/>
                <a:gd name="T7" fmla="*/ 250 h 250"/>
                <a:gd name="T8" fmla="*/ 1250 w 1375"/>
                <a:gd name="T9" fmla="*/ 250 h 250"/>
                <a:gd name="T10" fmla="*/ 1375 w 1375"/>
                <a:gd name="T11" fmla="*/ 125 h 250"/>
                <a:gd name="T12" fmla="*/ 1250 w 1375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5" h="250">
                  <a:moveTo>
                    <a:pt x="1250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250" y="250"/>
                  </a:lnTo>
                  <a:cubicBezTo>
                    <a:pt x="1319" y="250"/>
                    <a:pt x="1375" y="194"/>
                    <a:pt x="1375" y="125"/>
                  </a:cubicBezTo>
                  <a:cubicBezTo>
                    <a:pt x="1375" y="56"/>
                    <a:pt x="1319" y="0"/>
                    <a:pt x="125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04"/>
            <p:cNvSpPr>
              <a:spLocks/>
            </p:cNvSpPr>
            <p:nvPr/>
          </p:nvSpPr>
          <p:spPr bwMode="auto">
            <a:xfrm>
              <a:off x="4360" y="-673"/>
              <a:ext cx="73" cy="13"/>
            </a:xfrm>
            <a:custGeom>
              <a:avLst/>
              <a:gdLst>
                <a:gd name="T0" fmla="*/ 1375 w 1375"/>
                <a:gd name="T1" fmla="*/ 125 h 250"/>
                <a:gd name="T2" fmla="*/ 1250 w 1375"/>
                <a:gd name="T3" fmla="*/ 0 h 250"/>
                <a:gd name="T4" fmla="*/ 125 w 1375"/>
                <a:gd name="T5" fmla="*/ 0 h 250"/>
                <a:gd name="T6" fmla="*/ 0 w 1375"/>
                <a:gd name="T7" fmla="*/ 125 h 250"/>
                <a:gd name="T8" fmla="*/ 125 w 1375"/>
                <a:gd name="T9" fmla="*/ 250 h 250"/>
                <a:gd name="T10" fmla="*/ 1250 w 1375"/>
                <a:gd name="T11" fmla="*/ 250 h 250"/>
                <a:gd name="T12" fmla="*/ 1375 w 1375"/>
                <a:gd name="T13" fmla="*/ 125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5" h="250">
                  <a:moveTo>
                    <a:pt x="1375" y="125"/>
                  </a:moveTo>
                  <a:cubicBezTo>
                    <a:pt x="1375" y="56"/>
                    <a:pt x="1319" y="0"/>
                    <a:pt x="1250" y="0"/>
                  </a:cubicBez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250" y="250"/>
                  </a:lnTo>
                  <a:cubicBezTo>
                    <a:pt x="1319" y="250"/>
                    <a:pt x="1375" y="194"/>
                    <a:pt x="1375" y="1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105"/>
            <p:cNvSpPr>
              <a:spLocks/>
            </p:cNvSpPr>
            <p:nvPr/>
          </p:nvSpPr>
          <p:spPr bwMode="auto">
            <a:xfrm>
              <a:off x="4350" y="-855"/>
              <a:ext cx="33" cy="13"/>
            </a:xfrm>
            <a:custGeom>
              <a:avLst/>
              <a:gdLst>
                <a:gd name="T0" fmla="*/ 500 w 625"/>
                <a:gd name="T1" fmla="*/ 0 h 250"/>
                <a:gd name="T2" fmla="*/ 125 w 625"/>
                <a:gd name="T3" fmla="*/ 0 h 250"/>
                <a:gd name="T4" fmla="*/ 0 w 625"/>
                <a:gd name="T5" fmla="*/ 125 h 250"/>
                <a:gd name="T6" fmla="*/ 125 w 625"/>
                <a:gd name="T7" fmla="*/ 250 h 250"/>
                <a:gd name="T8" fmla="*/ 500 w 625"/>
                <a:gd name="T9" fmla="*/ 250 h 250"/>
                <a:gd name="T10" fmla="*/ 625 w 625"/>
                <a:gd name="T11" fmla="*/ 125 h 250"/>
                <a:gd name="T12" fmla="*/ 500 w 625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5" h="250">
                  <a:moveTo>
                    <a:pt x="500" y="0"/>
                  </a:moveTo>
                  <a:lnTo>
                    <a:pt x="125" y="0"/>
                  </a:lnTo>
                  <a:cubicBezTo>
                    <a:pt x="55" y="0"/>
                    <a:pt x="0" y="56"/>
                    <a:pt x="0" y="125"/>
                  </a:cubicBezTo>
                  <a:cubicBezTo>
                    <a:pt x="0" y="194"/>
                    <a:pt x="55" y="250"/>
                    <a:pt x="125" y="250"/>
                  </a:cubicBezTo>
                  <a:lnTo>
                    <a:pt x="500" y="250"/>
                  </a:lnTo>
                  <a:cubicBezTo>
                    <a:pt x="569" y="250"/>
                    <a:pt x="625" y="194"/>
                    <a:pt x="625" y="125"/>
                  </a:cubicBezTo>
                  <a:cubicBezTo>
                    <a:pt x="625" y="56"/>
                    <a:pt x="569" y="0"/>
                    <a:pt x="5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106"/>
            <p:cNvSpPr>
              <a:spLocks/>
            </p:cNvSpPr>
            <p:nvPr/>
          </p:nvSpPr>
          <p:spPr bwMode="auto">
            <a:xfrm>
              <a:off x="4350" y="-613"/>
              <a:ext cx="33" cy="13"/>
            </a:xfrm>
            <a:custGeom>
              <a:avLst/>
              <a:gdLst>
                <a:gd name="T0" fmla="*/ 625 w 625"/>
                <a:gd name="T1" fmla="*/ 125 h 250"/>
                <a:gd name="T2" fmla="*/ 500 w 625"/>
                <a:gd name="T3" fmla="*/ 0 h 250"/>
                <a:gd name="T4" fmla="*/ 125 w 625"/>
                <a:gd name="T5" fmla="*/ 0 h 250"/>
                <a:gd name="T6" fmla="*/ 0 w 625"/>
                <a:gd name="T7" fmla="*/ 125 h 250"/>
                <a:gd name="T8" fmla="*/ 125 w 625"/>
                <a:gd name="T9" fmla="*/ 250 h 250"/>
                <a:gd name="T10" fmla="*/ 500 w 625"/>
                <a:gd name="T11" fmla="*/ 250 h 250"/>
                <a:gd name="T12" fmla="*/ 625 w 625"/>
                <a:gd name="T13" fmla="*/ 125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5" h="250">
                  <a:moveTo>
                    <a:pt x="625" y="125"/>
                  </a:moveTo>
                  <a:cubicBezTo>
                    <a:pt x="625" y="56"/>
                    <a:pt x="569" y="0"/>
                    <a:pt x="500" y="0"/>
                  </a:cubicBezTo>
                  <a:lnTo>
                    <a:pt x="125" y="0"/>
                  </a:lnTo>
                  <a:cubicBezTo>
                    <a:pt x="55" y="0"/>
                    <a:pt x="0" y="56"/>
                    <a:pt x="0" y="125"/>
                  </a:cubicBezTo>
                  <a:cubicBezTo>
                    <a:pt x="0" y="194"/>
                    <a:pt x="55" y="250"/>
                    <a:pt x="125" y="250"/>
                  </a:cubicBezTo>
                  <a:lnTo>
                    <a:pt x="500" y="250"/>
                  </a:lnTo>
                  <a:cubicBezTo>
                    <a:pt x="569" y="250"/>
                    <a:pt x="625" y="194"/>
                    <a:pt x="625" y="1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07"/>
            <p:cNvSpPr>
              <a:spLocks/>
            </p:cNvSpPr>
            <p:nvPr/>
          </p:nvSpPr>
          <p:spPr bwMode="auto">
            <a:xfrm>
              <a:off x="4261" y="-895"/>
              <a:ext cx="212" cy="339"/>
            </a:xfrm>
            <a:custGeom>
              <a:avLst/>
              <a:gdLst>
                <a:gd name="T0" fmla="*/ 0 w 4000"/>
                <a:gd name="T1" fmla="*/ 500 h 6400"/>
                <a:gd name="T2" fmla="*/ 0 w 4000"/>
                <a:gd name="T3" fmla="*/ 5900 h 6400"/>
                <a:gd name="T4" fmla="*/ 500 w 4000"/>
                <a:gd name="T5" fmla="*/ 6400 h 6400"/>
                <a:gd name="T6" fmla="*/ 1438 w 4000"/>
                <a:gd name="T7" fmla="*/ 6400 h 6400"/>
                <a:gd name="T8" fmla="*/ 1563 w 4000"/>
                <a:gd name="T9" fmla="*/ 6275 h 6400"/>
                <a:gd name="T10" fmla="*/ 1438 w 4000"/>
                <a:gd name="T11" fmla="*/ 6150 h 6400"/>
                <a:gd name="T12" fmla="*/ 500 w 4000"/>
                <a:gd name="T13" fmla="*/ 6150 h 6400"/>
                <a:gd name="T14" fmla="*/ 250 w 4000"/>
                <a:gd name="T15" fmla="*/ 5900 h 6400"/>
                <a:gd name="T16" fmla="*/ 250 w 4000"/>
                <a:gd name="T17" fmla="*/ 500 h 6400"/>
                <a:gd name="T18" fmla="*/ 500 w 4000"/>
                <a:gd name="T19" fmla="*/ 250 h 6400"/>
                <a:gd name="T20" fmla="*/ 3500 w 4000"/>
                <a:gd name="T21" fmla="*/ 250 h 6400"/>
                <a:gd name="T22" fmla="*/ 3750 w 4000"/>
                <a:gd name="T23" fmla="*/ 500 h 6400"/>
                <a:gd name="T24" fmla="*/ 3750 w 4000"/>
                <a:gd name="T25" fmla="*/ 5900 h 6400"/>
                <a:gd name="T26" fmla="*/ 3500 w 4000"/>
                <a:gd name="T27" fmla="*/ 6150 h 6400"/>
                <a:gd name="T28" fmla="*/ 2563 w 4000"/>
                <a:gd name="T29" fmla="*/ 6150 h 6400"/>
                <a:gd name="T30" fmla="*/ 2438 w 4000"/>
                <a:gd name="T31" fmla="*/ 6275 h 6400"/>
                <a:gd name="T32" fmla="*/ 2563 w 4000"/>
                <a:gd name="T33" fmla="*/ 6400 h 6400"/>
                <a:gd name="T34" fmla="*/ 3500 w 4000"/>
                <a:gd name="T35" fmla="*/ 6400 h 6400"/>
                <a:gd name="T36" fmla="*/ 4000 w 4000"/>
                <a:gd name="T37" fmla="*/ 5900 h 6400"/>
                <a:gd name="T38" fmla="*/ 4000 w 4000"/>
                <a:gd name="T39" fmla="*/ 500 h 6400"/>
                <a:gd name="T40" fmla="*/ 3500 w 4000"/>
                <a:gd name="T41" fmla="*/ 0 h 6400"/>
                <a:gd name="T42" fmla="*/ 500 w 4000"/>
                <a:gd name="T43" fmla="*/ 0 h 6400"/>
                <a:gd name="T44" fmla="*/ 0 w 4000"/>
                <a:gd name="T45" fmla="*/ 500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00" h="6400">
                  <a:moveTo>
                    <a:pt x="0" y="500"/>
                  </a:moveTo>
                  <a:lnTo>
                    <a:pt x="0" y="5900"/>
                  </a:lnTo>
                  <a:cubicBezTo>
                    <a:pt x="0" y="6176"/>
                    <a:pt x="224" y="6400"/>
                    <a:pt x="500" y="6400"/>
                  </a:cubicBezTo>
                  <a:lnTo>
                    <a:pt x="1438" y="6400"/>
                  </a:lnTo>
                  <a:cubicBezTo>
                    <a:pt x="1507" y="6400"/>
                    <a:pt x="1563" y="6344"/>
                    <a:pt x="1563" y="6275"/>
                  </a:cubicBezTo>
                  <a:cubicBezTo>
                    <a:pt x="1563" y="6206"/>
                    <a:pt x="1507" y="6150"/>
                    <a:pt x="1438" y="6150"/>
                  </a:cubicBezTo>
                  <a:lnTo>
                    <a:pt x="500" y="6150"/>
                  </a:lnTo>
                  <a:cubicBezTo>
                    <a:pt x="362" y="6150"/>
                    <a:pt x="250" y="6038"/>
                    <a:pt x="250" y="5900"/>
                  </a:cubicBezTo>
                  <a:lnTo>
                    <a:pt x="250" y="500"/>
                  </a:lnTo>
                  <a:cubicBezTo>
                    <a:pt x="250" y="362"/>
                    <a:pt x="362" y="250"/>
                    <a:pt x="500" y="250"/>
                  </a:cubicBezTo>
                  <a:lnTo>
                    <a:pt x="3500" y="250"/>
                  </a:lnTo>
                  <a:cubicBezTo>
                    <a:pt x="3638" y="250"/>
                    <a:pt x="3750" y="362"/>
                    <a:pt x="3750" y="500"/>
                  </a:cubicBezTo>
                  <a:lnTo>
                    <a:pt x="3750" y="5900"/>
                  </a:lnTo>
                  <a:cubicBezTo>
                    <a:pt x="3750" y="6038"/>
                    <a:pt x="3638" y="6150"/>
                    <a:pt x="3500" y="6150"/>
                  </a:cubicBezTo>
                  <a:lnTo>
                    <a:pt x="2563" y="6150"/>
                  </a:lnTo>
                  <a:cubicBezTo>
                    <a:pt x="2493" y="6150"/>
                    <a:pt x="2438" y="6206"/>
                    <a:pt x="2438" y="6275"/>
                  </a:cubicBezTo>
                  <a:cubicBezTo>
                    <a:pt x="2438" y="6344"/>
                    <a:pt x="2493" y="6400"/>
                    <a:pt x="2563" y="6400"/>
                  </a:cubicBezTo>
                  <a:lnTo>
                    <a:pt x="3500" y="6400"/>
                  </a:lnTo>
                  <a:cubicBezTo>
                    <a:pt x="3776" y="6400"/>
                    <a:pt x="4000" y="6176"/>
                    <a:pt x="4000" y="5900"/>
                  </a:cubicBezTo>
                  <a:lnTo>
                    <a:pt x="4000" y="500"/>
                  </a:lnTo>
                  <a:cubicBezTo>
                    <a:pt x="4000" y="224"/>
                    <a:pt x="3776" y="0"/>
                    <a:pt x="3500" y="0"/>
                  </a:cubicBezTo>
                  <a:lnTo>
                    <a:pt x="500" y="0"/>
                  </a:lnTo>
                  <a:cubicBezTo>
                    <a:pt x="224" y="0"/>
                    <a:pt x="0" y="224"/>
                    <a:pt x="0" y="5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Oval 108"/>
            <p:cNvSpPr>
              <a:spLocks noChangeArrowheads="1"/>
            </p:cNvSpPr>
            <p:nvPr/>
          </p:nvSpPr>
          <p:spPr bwMode="auto">
            <a:xfrm>
              <a:off x="4360" y="-570"/>
              <a:ext cx="13" cy="14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8219350" y="2196262"/>
            <a:ext cx="429436" cy="423863"/>
            <a:chOff x="2288" y="633"/>
            <a:chExt cx="3082" cy="3042"/>
          </a:xfrm>
          <a:solidFill>
            <a:srgbClr val="A136A0"/>
          </a:solidFill>
        </p:grpSpPr>
        <p:sp>
          <p:nvSpPr>
            <p:cNvPr id="5" name="Freeform 5"/>
            <p:cNvSpPr>
              <a:spLocks noEditPoints="1"/>
            </p:cNvSpPr>
            <p:nvPr/>
          </p:nvSpPr>
          <p:spPr bwMode="auto">
            <a:xfrm>
              <a:off x="2288" y="633"/>
              <a:ext cx="3082" cy="3042"/>
            </a:xfrm>
            <a:custGeom>
              <a:avLst/>
              <a:gdLst>
                <a:gd name="T0" fmla="*/ 5612 w 6420"/>
                <a:gd name="T1" fmla="*/ 56 h 6338"/>
                <a:gd name="T2" fmla="*/ 2471 w 6420"/>
                <a:gd name="T3" fmla="*/ 0 h 6338"/>
                <a:gd name="T4" fmla="*/ 2311 w 6420"/>
                <a:gd name="T5" fmla="*/ 653 h 6338"/>
                <a:gd name="T6" fmla="*/ 1116 w 6420"/>
                <a:gd name="T7" fmla="*/ 1018 h 6338"/>
                <a:gd name="T8" fmla="*/ 124 w 6420"/>
                <a:gd name="T9" fmla="*/ 1694 h 6338"/>
                <a:gd name="T10" fmla="*/ 713 w 6420"/>
                <a:gd name="T11" fmla="*/ 3796 h 6338"/>
                <a:gd name="T12" fmla="*/ 833 w 6420"/>
                <a:gd name="T13" fmla="*/ 3852 h 6338"/>
                <a:gd name="T14" fmla="*/ 216 w 6420"/>
                <a:gd name="T15" fmla="*/ 1860 h 6338"/>
                <a:gd name="T16" fmla="*/ 1524 w 6420"/>
                <a:gd name="T17" fmla="*/ 3399 h 6338"/>
                <a:gd name="T18" fmla="*/ 2051 w 6420"/>
                <a:gd name="T19" fmla="*/ 5692 h 6338"/>
                <a:gd name="T20" fmla="*/ 3081 w 6420"/>
                <a:gd name="T21" fmla="*/ 5518 h 6338"/>
                <a:gd name="T22" fmla="*/ 2686 w 6420"/>
                <a:gd name="T23" fmla="*/ 5807 h 6338"/>
                <a:gd name="T24" fmla="*/ 1033 w 6420"/>
                <a:gd name="T25" fmla="*/ 4132 h 6338"/>
                <a:gd name="T26" fmla="*/ 856 w 6420"/>
                <a:gd name="T27" fmla="*/ 4195 h 6338"/>
                <a:gd name="T28" fmla="*/ 1738 w 6420"/>
                <a:gd name="T29" fmla="*/ 6338 h 6338"/>
                <a:gd name="T30" fmla="*/ 2749 w 6420"/>
                <a:gd name="T31" fmla="*/ 5984 h 6338"/>
                <a:gd name="T32" fmla="*/ 5341 w 6420"/>
                <a:gd name="T33" fmla="*/ 5130 h 6338"/>
                <a:gd name="T34" fmla="*/ 6420 w 6420"/>
                <a:gd name="T35" fmla="*/ 4970 h 6338"/>
                <a:gd name="T36" fmla="*/ 6367 w 6420"/>
                <a:gd name="T37" fmla="*/ 777 h 6338"/>
                <a:gd name="T38" fmla="*/ 5650 w 6420"/>
                <a:gd name="T39" fmla="*/ 799 h 6338"/>
                <a:gd name="T40" fmla="*/ 5550 w 6420"/>
                <a:gd name="T41" fmla="*/ 786 h 6338"/>
                <a:gd name="T42" fmla="*/ 5542 w 6420"/>
                <a:gd name="T43" fmla="*/ 249 h 6338"/>
                <a:gd name="T44" fmla="*/ 6233 w 6420"/>
                <a:gd name="T45" fmla="*/ 4943 h 6338"/>
                <a:gd name="T46" fmla="*/ 2498 w 6420"/>
                <a:gd name="T47" fmla="*/ 3116 h 6338"/>
                <a:gd name="T48" fmla="*/ 2311 w 6420"/>
                <a:gd name="T49" fmla="*/ 3116 h 6338"/>
                <a:gd name="T50" fmla="*/ 2471 w 6420"/>
                <a:gd name="T51" fmla="*/ 5130 h 6338"/>
                <a:gd name="T52" fmla="*/ 3050 w 6420"/>
                <a:gd name="T53" fmla="*/ 5333 h 6338"/>
                <a:gd name="T54" fmla="*/ 1709 w 6420"/>
                <a:gd name="T55" fmla="*/ 3367 h 6338"/>
                <a:gd name="T56" fmla="*/ 2311 w 6420"/>
                <a:gd name="T57" fmla="*/ 843 h 6338"/>
                <a:gd name="T58" fmla="*/ 2405 w 6420"/>
                <a:gd name="T59" fmla="*/ 2775 h 6338"/>
                <a:gd name="T60" fmla="*/ 2498 w 6420"/>
                <a:gd name="T61" fmla="*/ 188 h 6338"/>
                <a:gd name="T62" fmla="*/ 5356 w 6420"/>
                <a:gd name="T63" fmla="*/ 754 h 6338"/>
                <a:gd name="T64" fmla="*/ 5626 w 6420"/>
                <a:gd name="T65" fmla="*/ 987 h 6338"/>
                <a:gd name="T66" fmla="*/ 6233 w 6420"/>
                <a:gd name="T67" fmla="*/ 986 h 6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20" h="6338">
                  <a:moveTo>
                    <a:pt x="6367" y="777"/>
                  </a:moveTo>
                  <a:cubicBezTo>
                    <a:pt x="6364" y="773"/>
                    <a:pt x="5612" y="56"/>
                    <a:pt x="5612" y="56"/>
                  </a:cubicBezTo>
                  <a:cubicBezTo>
                    <a:pt x="5583" y="29"/>
                    <a:pt x="5553" y="0"/>
                    <a:pt x="5498" y="0"/>
                  </a:cubicBezTo>
                  <a:lnTo>
                    <a:pt x="2471" y="0"/>
                  </a:lnTo>
                  <a:cubicBezTo>
                    <a:pt x="2383" y="0"/>
                    <a:pt x="2311" y="72"/>
                    <a:pt x="2311" y="160"/>
                  </a:cubicBezTo>
                  <a:lnTo>
                    <a:pt x="2311" y="653"/>
                  </a:lnTo>
                  <a:lnTo>
                    <a:pt x="1244" y="836"/>
                  </a:lnTo>
                  <a:cubicBezTo>
                    <a:pt x="1159" y="851"/>
                    <a:pt x="1101" y="932"/>
                    <a:pt x="1116" y="1018"/>
                  </a:cubicBezTo>
                  <a:lnTo>
                    <a:pt x="1170" y="1334"/>
                  </a:lnTo>
                  <a:cubicBezTo>
                    <a:pt x="824" y="1450"/>
                    <a:pt x="468" y="1570"/>
                    <a:pt x="124" y="1694"/>
                  </a:cubicBezTo>
                  <a:cubicBezTo>
                    <a:pt x="43" y="1724"/>
                    <a:pt x="0" y="1814"/>
                    <a:pt x="29" y="1896"/>
                  </a:cubicBezTo>
                  <a:lnTo>
                    <a:pt x="713" y="3796"/>
                  </a:lnTo>
                  <a:cubicBezTo>
                    <a:pt x="726" y="3834"/>
                    <a:pt x="762" y="3858"/>
                    <a:pt x="801" y="3858"/>
                  </a:cubicBezTo>
                  <a:cubicBezTo>
                    <a:pt x="811" y="3858"/>
                    <a:pt x="822" y="3856"/>
                    <a:pt x="833" y="3852"/>
                  </a:cubicBezTo>
                  <a:cubicBezTo>
                    <a:pt x="881" y="3835"/>
                    <a:pt x="907" y="3781"/>
                    <a:pt x="889" y="3732"/>
                  </a:cubicBezTo>
                  <a:lnTo>
                    <a:pt x="216" y="1860"/>
                  </a:lnTo>
                  <a:cubicBezTo>
                    <a:pt x="539" y="1744"/>
                    <a:pt x="875" y="1631"/>
                    <a:pt x="1202" y="1521"/>
                  </a:cubicBezTo>
                  <a:lnTo>
                    <a:pt x="1524" y="3399"/>
                  </a:lnTo>
                  <a:lnTo>
                    <a:pt x="1895" y="5562"/>
                  </a:lnTo>
                  <a:cubicBezTo>
                    <a:pt x="1909" y="5638"/>
                    <a:pt x="1976" y="5692"/>
                    <a:pt x="2051" y="5692"/>
                  </a:cubicBezTo>
                  <a:cubicBezTo>
                    <a:pt x="2060" y="5692"/>
                    <a:pt x="2069" y="5691"/>
                    <a:pt x="2077" y="5690"/>
                  </a:cubicBezTo>
                  <a:lnTo>
                    <a:pt x="3081" y="5518"/>
                  </a:lnTo>
                  <a:lnTo>
                    <a:pt x="3866" y="5383"/>
                  </a:lnTo>
                  <a:lnTo>
                    <a:pt x="2686" y="5807"/>
                  </a:lnTo>
                  <a:lnTo>
                    <a:pt x="1756" y="6142"/>
                  </a:lnTo>
                  <a:lnTo>
                    <a:pt x="1033" y="4132"/>
                  </a:lnTo>
                  <a:cubicBezTo>
                    <a:pt x="1015" y="4083"/>
                    <a:pt x="962" y="4058"/>
                    <a:pt x="913" y="4076"/>
                  </a:cubicBezTo>
                  <a:cubicBezTo>
                    <a:pt x="864" y="4093"/>
                    <a:pt x="839" y="4147"/>
                    <a:pt x="856" y="4195"/>
                  </a:cubicBezTo>
                  <a:lnTo>
                    <a:pt x="1589" y="6234"/>
                  </a:lnTo>
                  <a:cubicBezTo>
                    <a:pt x="1613" y="6298"/>
                    <a:pt x="1673" y="6338"/>
                    <a:pt x="1738" y="6338"/>
                  </a:cubicBezTo>
                  <a:cubicBezTo>
                    <a:pt x="1755" y="6338"/>
                    <a:pt x="1773" y="6335"/>
                    <a:pt x="1791" y="6328"/>
                  </a:cubicBezTo>
                  <a:lnTo>
                    <a:pt x="2749" y="5984"/>
                  </a:lnTo>
                  <a:lnTo>
                    <a:pt x="4926" y="5202"/>
                  </a:lnTo>
                  <a:lnTo>
                    <a:pt x="5341" y="5130"/>
                  </a:lnTo>
                  <a:lnTo>
                    <a:pt x="6260" y="5130"/>
                  </a:lnTo>
                  <a:cubicBezTo>
                    <a:pt x="6348" y="5130"/>
                    <a:pt x="6420" y="5058"/>
                    <a:pt x="6420" y="4970"/>
                  </a:cubicBezTo>
                  <a:lnTo>
                    <a:pt x="6420" y="882"/>
                  </a:lnTo>
                  <a:cubicBezTo>
                    <a:pt x="6420" y="826"/>
                    <a:pt x="6390" y="798"/>
                    <a:pt x="6367" y="777"/>
                  </a:cubicBezTo>
                  <a:close/>
                  <a:moveTo>
                    <a:pt x="6119" y="799"/>
                  </a:moveTo>
                  <a:lnTo>
                    <a:pt x="5650" y="799"/>
                  </a:lnTo>
                  <a:lnTo>
                    <a:pt x="5638" y="799"/>
                  </a:lnTo>
                  <a:cubicBezTo>
                    <a:pt x="5616" y="799"/>
                    <a:pt x="5563" y="800"/>
                    <a:pt x="5550" y="786"/>
                  </a:cubicBezTo>
                  <a:cubicBezTo>
                    <a:pt x="5547" y="783"/>
                    <a:pt x="5543" y="773"/>
                    <a:pt x="5543" y="754"/>
                  </a:cubicBezTo>
                  <a:lnTo>
                    <a:pt x="5542" y="249"/>
                  </a:lnTo>
                  <a:lnTo>
                    <a:pt x="6119" y="799"/>
                  </a:lnTo>
                  <a:close/>
                  <a:moveTo>
                    <a:pt x="6233" y="4943"/>
                  </a:moveTo>
                  <a:lnTo>
                    <a:pt x="2498" y="4943"/>
                  </a:lnTo>
                  <a:lnTo>
                    <a:pt x="2498" y="3116"/>
                  </a:lnTo>
                  <a:cubicBezTo>
                    <a:pt x="2498" y="3064"/>
                    <a:pt x="2457" y="3022"/>
                    <a:pt x="2405" y="3022"/>
                  </a:cubicBezTo>
                  <a:cubicBezTo>
                    <a:pt x="2353" y="3022"/>
                    <a:pt x="2311" y="3064"/>
                    <a:pt x="2311" y="3116"/>
                  </a:cubicBezTo>
                  <a:lnTo>
                    <a:pt x="2311" y="4970"/>
                  </a:lnTo>
                  <a:cubicBezTo>
                    <a:pt x="2311" y="5058"/>
                    <a:pt x="2383" y="5130"/>
                    <a:pt x="2471" y="5130"/>
                  </a:cubicBezTo>
                  <a:lnTo>
                    <a:pt x="4231" y="5130"/>
                  </a:lnTo>
                  <a:lnTo>
                    <a:pt x="3050" y="5333"/>
                  </a:lnTo>
                  <a:lnTo>
                    <a:pt x="2075" y="5500"/>
                  </a:lnTo>
                  <a:lnTo>
                    <a:pt x="1709" y="3367"/>
                  </a:lnTo>
                  <a:lnTo>
                    <a:pt x="1306" y="1015"/>
                  </a:lnTo>
                  <a:lnTo>
                    <a:pt x="2311" y="843"/>
                  </a:lnTo>
                  <a:lnTo>
                    <a:pt x="2311" y="2681"/>
                  </a:lnTo>
                  <a:cubicBezTo>
                    <a:pt x="2311" y="2733"/>
                    <a:pt x="2353" y="2775"/>
                    <a:pt x="2405" y="2775"/>
                  </a:cubicBezTo>
                  <a:cubicBezTo>
                    <a:pt x="2456" y="2775"/>
                    <a:pt x="2498" y="2733"/>
                    <a:pt x="2498" y="2681"/>
                  </a:cubicBezTo>
                  <a:lnTo>
                    <a:pt x="2498" y="188"/>
                  </a:lnTo>
                  <a:lnTo>
                    <a:pt x="5354" y="188"/>
                  </a:lnTo>
                  <a:lnTo>
                    <a:pt x="5356" y="754"/>
                  </a:lnTo>
                  <a:cubicBezTo>
                    <a:pt x="5356" y="823"/>
                    <a:pt x="5377" y="878"/>
                    <a:pt x="5418" y="919"/>
                  </a:cubicBezTo>
                  <a:cubicBezTo>
                    <a:pt x="5481" y="982"/>
                    <a:pt x="5570" y="987"/>
                    <a:pt x="5626" y="987"/>
                  </a:cubicBezTo>
                  <a:cubicBezTo>
                    <a:pt x="5631" y="987"/>
                    <a:pt x="5635" y="987"/>
                    <a:pt x="5640" y="986"/>
                  </a:cubicBezTo>
                  <a:lnTo>
                    <a:pt x="6233" y="986"/>
                  </a:lnTo>
                  <a:lnTo>
                    <a:pt x="6233" y="49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1" name="Freeform 6"/>
            <p:cNvSpPr>
              <a:spLocks/>
            </p:cNvSpPr>
            <p:nvPr/>
          </p:nvSpPr>
          <p:spPr bwMode="auto">
            <a:xfrm>
              <a:off x="3704" y="1287"/>
              <a:ext cx="1377" cy="90"/>
            </a:xfrm>
            <a:custGeom>
              <a:avLst/>
              <a:gdLst>
                <a:gd name="T0" fmla="*/ 0 w 2868"/>
                <a:gd name="T1" fmla="*/ 94 h 188"/>
                <a:gd name="T2" fmla="*/ 94 w 2868"/>
                <a:gd name="T3" fmla="*/ 188 h 188"/>
                <a:gd name="T4" fmla="*/ 2775 w 2868"/>
                <a:gd name="T5" fmla="*/ 188 h 188"/>
                <a:gd name="T6" fmla="*/ 2868 w 2868"/>
                <a:gd name="T7" fmla="*/ 94 h 188"/>
                <a:gd name="T8" fmla="*/ 2775 w 2868"/>
                <a:gd name="T9" fmla="*/ 0 h 188"/>
                <a:gd name="T10" fmla="*/ 94 w 2868"/>
                <a:gd name="T11" fmla="*/ 0 h 188"/>
                <a:gd name="T12" fmla="*/ 0 w 2868"/>
                <a:gd name="T13" fmla="*/ 9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8" h="188">
                  <a:moveTo>
                    <a:pt x="0" y="94"/>
                  </a:moveTo>
                  <a:cubicBezTo>
                    <a:pt x="0" y="146"/>
                    <a:pt x="42" y="188"/>
                    <a:pt x="94" y="188"/>
                  </a:cubicBezTo>
                  <a:lnTo>
                    <a:pt x="2775" y="188"/>
                  </a:lnTo>
                  <a:cubicBezTo>
                    <a:pt x="2826" y="188"/>
                    <a:pt x="2868" y="146"/>
                    <a:pt x="2868" y="94"/>
                  </a:cubicBezTo>
                  <a:cubicBezTo>
                    <a:pt x="2868" y="42"/>
                    <a:pt x="2826" y="0"/>
                    <a:pt x="2775" y="0"/>
                  </a:cubicBezTo>
                  <a:lnTo>
                    <a:pt x="94" y="0"/>
                  </a:lnTo>
                  <a:cubicBezTo>
                    <a:pt x="42" y="0"/>
                    <a:pt x="0" y="42"/>
                    <a:pt x="0" y="9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" name="Freeform 7"/>
            <p:cNvSpPr>
              <a:spLocks/>
            </p:cNvSpPr>
            <p:nvPr/>
          </p:nvSpPr>
          <p:spPr bwMode="auto">
            <a:xfrm>
              <a:off x="3704" y="1606"/>
              <a:ext cx="1377" cy="91"/>
            </a:xfrm>
            <a:custGeom>
              <a:avLst/>
              <a:gdLst>
                <a:gd name="T0" fmla="*/ 2775 w 2868"/>
                <a:gd name="T1" fmla="*/ 0 h 188"/>
                <a:gd name="T2" fmla="*/ 94 w 2868"/>
                <a:gd name="T3" fmla="*/ 0 h 188"/>
                <a:gd name="T4" fmla="*/ 0 w 2868"/>
                <a:gd name="T5" fmla="*/ 94 h 188"/>
                <a:gd name="T6" fmla="*/ 94 w 2868"/>
                <a:gd name="T7" fmla="*/ 188 h 188"/>
                <a:gd name="T8" fmla="*/ 2775 w 2868"/>
                <a:gd name="T9" fmla="*/ 188 h 188"/>
                <a:gd name="T10" fmla="*/ 2868 w 2868"/>
                <a:gd name="T11" fmla="*/ 94 h 188"/>
                <a:gd name="T12" fmla="*/ 2775 w 2868"/>
                <a:gd name="T13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8" h="188">
                  <a:moveTo>
                    <a:pt x="2775" y="0"/>
                  </a:moveTo>
                  <a:lnTo>
                    <a:pt x="94" y="0"/>
                  </a:ln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lnTo>
                    <a:pt x="2775" y="188"/>
                  </a:lnTo>
                  <a:cubicBezTo>
                    <a:pt x="2826" y="188"/>
                    <a:pt x="2868" y="146"/>
                    <a:pt x="2868" y="94"/>
                  </a:cubicBezTo>
                  <a:cubicBezTo>
                    <a:pt x="2868" y="42"/>
                    <a:pt x="2826" y="0"/>
                    <a:pt x="277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3" name="Freeform 8"/>
            <p:cNvSpPr>
              <a:spLocks/>
            </p:cNvSpPr>
            <p:nvPr/>
          </p:nvSpPr>
          <p:spPr bwMode="auto">
            <a:xfrm>
              <a:off x="3704" y="1926"/>
              <a:ext cx="1377" cy="90"/>
            </a:xfrm>
            <a:custGeom>
              <a:avLst/>
              <a:gdLst>
                <a:gd name="T0" fmla="*/ 2775 w 2868"/>
                <a:gd name="T1" fmla="*/ 0 h 188"/>
                <a:gd name="T2" fmla="*/ 94 w 2868"/>
                <a:gd name="T3" fmla="*/ 0 h 188"/>
                <a:gd name="T4" fmla="*/ 0 w 2868"/>
                <a:gd name="T5" fmla="*/ 94 h 188"/>
                <a:gd name="T6" fmla="*/ 94 w 2868"/>
                <a:gd name="T7" fmla="*/ 188 h 188"/>
                <a:gd name="T8" fmla="*/ 2775 w 2868"/>
                <a:gd name="T9" fmla="*/ 188 h 188"/>
                <a:gd name="T10" fmla="*/ 2868 w 2868"/>
                <a:gd name="T11" fmla="*/ 94 h 188"/>
                <a:gd name="T12" fmla="*/ 2775 w 2868"/>
                <a:gd name="T13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8" h="188">
                  <a:moveTo>
                    <a:pt x="2775" y="0"/>
                  </a:moveTo>
                  <a:lnTo>
                    <a:pt x="94" y="0"/>
                  </a:ln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lnTo>
                    <a:pt x="2775" y="188"/>
                  </a:lnTo>
                  <a:cubicBezTo>
                    <a:pt x="2826" y="188"/>
                    <a:pt x="2868" y="146"/>
                    <a:pt x="2868" y="94"/>
                  </a:cubicBezTo>
                  <a:cubicBezTo>
                    <a:pt x="2868" y="42"/>
                    <a:pt x="2826" y="0"/>
                    <a:pt x="277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4" name="Freeform 9"/>
            <p:cNvSpPr>
              <a:spLocks/>
            </p:cNvSpPr>
            <p:nvPr/>
          </p:nvSpPr>
          <p:spPr bwMode="auto">
            <a:xfrm>
              <a:off x="3704" y="2246"/>
              <a:ext cx="1377" cy="90"/>
            </a:xfrm>
            <a:custGeom>
              <a:avLst/>
              <a:gdLst>
                <a:gd name="T0" fmla="*/ 2775 w 2868"/>
                <a:gd name="T1" fmla="*/ 0 h 188"/>
                <a:gd name="T2" fmla="*/ 94 w 2868"/>
                <a:gd name="T3" fmla="*/ 0 h 188"/>
                <a:gd name="T4" fmla="*/ 0 w 2868"/>
                <a:gd name="T5" fmla="*/ 94 h 188"/>
                <a:gd name="T6" fmla="*/ 94 w 2868"/>
                <a:gd name="T7" fmla="*/ 188 h 188"/>
                <a:gd name="T8" fmla="*/ 2775 w 2868"/>
                <a:gd name="T9" fmla="*/ 188 h 188"/>
                <a:gd name="T10" fmla="*/ 2868 w 2868"/>
                <a:gd name="T11" fmla="*/ 94 h 188"/>
                <a:gd name="T12" fmla="*/ 2775 w 2868"/>
                <a:gd name="T13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8" h="188">
                  <a:moveTo>
                    <a:pt x="2775" y="0"/>
                  </a:moveTo>
                  <a:lnTo>
                    <a:pt x="94" y="0"/>
                  </a:ln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lnTo>
                    <a:pt x="2775" y="188"/>
                  </a:lnTo>
                  <a:cubicBezTo>
                    <a:pt x="2826" y="188"/>
                    <a:pt x="2868" y="146"/>
                    <a:pt x="2868" y="94"/>
                  </a:cubicBezTo>
                  <a:cubicBezTo>
                    <a:pt x="2868" y="42"/>
                    <a:pt x="2826" y="0"/>
                    <a:pt x="277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5" name="Freeform 10"/>
            <p:cNvSpPr>
              <a:spLocks/>
            </p:cNvSpPr>
            <p:nvPr/>
          </p:nvSpPr>
          <p:spPr bwMode="auto">
            <a:xfrm>
              <a:off x="3704" y="2565"/>
              <a:ext cx="1377" cy="91"/>
            </a:xfrm>
            <a:custGeom>
              <a:avLst/>
              <a:gdLst>
                <a:gd name="T0" fmla="*/ 2775 w 2868"/>
                <a:gd name="T1" fmla="*/ 0 h 188"/>
                <a:gd name="T2" fmla="*/ 94 w 2868"/>
                <a:gd name="T3" fmla="*/ 0 h 188"/>
                <a:gd name="T4" fmla="*/ 0 w 2868"/>
                <a:gd name="T5" fmla="*/ 94 h 188"/>
                <a:gd name="T6" fmla="*/ 94 w 2868"/>
                <a:gd name="T7" fmla="*/ 188 h 188"/>
                <a:gd name="T8" fmla="*/ 2775 w 2868"/>
                <a:gd name="T9" fmla="*/ 188 h 188"/>
                <a:gd name="T10" fmla="*/ 2868 w 2868"/>
                <a:gd name="T11" fmla="*/ 94 h 188"/>
                <a:gd name="T12" fmla="*/ 2775 w 2868"/>
                <a:gd name="T13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8" h="188">
                  <a:moveTo>
                    <a:pt x="2775" y="0"/>
                  </a:moveTo>
                  <a:lnTo>
                    <a:pt x="94" y="0"/>
                  </a:ln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lnTo>
                    <a:pt x="2775" y="188"/>
                  </a:lnTo>
                  <a:cubicBezTo>
                    <a:pt x="2826" y="188"/>
                    <a:pt x="2868" y="146"/>
                    <a:pt x="2868" y="94"/>
                  </a:cubicBezTo>
                  <a:cubicBezTo>
                    <a:pt x="2868" y="42"/>
                    <a:pt x="2826" y="0"/>
                    <a:pt x="277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77" name="Group 13"/>
          <p:cNvGrpSpPr>
            <a:grpSpLocks noChangeAspect="1"/>
          </p:cNvGrpSpPr>
          <p:nvPr/>
        </p:nvGrpSpPr>
        <p:grpSpPr bwMode="auto">
          <a:xfrm>
            <a:off x="8210751" y="1109519"/>
            <a:ext cx="433387" cy="437578"/>
            <a:chOff x="2287" y="558"/>
            <a:chExt cx="3102" cy="3132"/>
          </a:xfrm>
          <a:solidFill>
            <a:srgbClr val="A136A0"/>
          </a:solidFill>
        </p:grpSpPr>
        <p:sp>
          <p:nvSpPr>
            <p:cNvPr id="79" name="Freeform 14"/>
            <p:cNvSpPr>
              <a:spLocks noEditPoints="1"/>
            </p:cNvSpPr>
            <p:nvPr/>
          </p:nvSpPr>
          <p:spPr bwMode="auto">
            <a:xfrm>
              <a:off x="2287" y="558"/>
              <a:ext cx="3102" cy="3132"/>
            </a:xfrm>
            <a:custGeom>
              <a:avLst/>
              <a:gdLst>
                <a:gd name="T0" fmla="*/ 6262 w 6461"/>
                <a:gd name="T1" fmla="*/ 1178 h 6525"/>
                <a:gd name="T2" fmla="*/ 6059 w 6461"/>
                <a:gd name="T3" fmla="*/ 1003 h 6525"/>
                <a:gd name="T4" fmla="*/ 5795 w 6461"/>
                <a:gd name="T5" fmla="*/ 1084 h 6525"/>
                <a:gd name="T6" fmla="*/ 5135 w 6461"/>
                <a:gd name="T7" fmla="*/ 1744 h 6525"/>
                <a:gd name="T8" fmla="*/ 4812 w 6461"/>
                <a:gd name="T9" fmla="*/ 1422 h 6525"/>
                <a:gd name="T10" fmla="*/ 5514 w 6461"/>
                <a:gd name="T11" fmla="*/ 720 h 6525"/>
                <a:gd name="T12" fmla="*/ 5598 w 6461"/>
                <a:gd name="T13" fmla="*/ 447 h 6525"/>
                <a:gd name="T14" fmla="*/ 5417 w 6461"/>
                <a:gd name="T15" fmla="*/ 238 h 6525"/>
                <a:gd name="T16" fmla="*/ 3644 w 6461"/>
                <a:gd name="T17" fmla="*/ 611 h 6525"/>
                <a:gd name="T18" fmla="*/ 3182 w 6461"/>
                <a:gd name="T19" fmla="*/ 1504 h 6525"/>
                <a:gd name="T20" fmla="*/ 3145 w 6461"/>
                <a:gd name="T21" fmla="*/ 1689 h 6525"/>
                <a:gd name="T22" fmla="*/ 2710 w 6461"/>
                <a:gd name="T23" fmla="*/ 2810 h 6525"/>
                <a:gd name="T24" fmla="*/ 298 w 6461"/>
                <a:gd name="T25" fmla="*/ 5221 h 6525"/>
                <a:gd name="T26" fmla="*/ 298 w 6461"/>
                <a:gd name="T27" fmla="*/ 6302 h 6525"/>
                <a:gd name="T28" fmla="*/ 838 w 6461"/>
                <a:gd name="T29" fmla="*/ 6525 h 6525"/>
                <a:gd name="T30" fmla="*/ 1378 w 6461"/>
                <a:gd name="T31" fmla="*/ 6302 h 6525"/>
                <a:gd name="T32" fmla="*/ 3790 w 6461"/>
                <a:gd name="T33" fmla="*/ 3890 h 6525"/>
                <a:gd name="T34" fmla="*/ 4911 w 6461"/>
                <a:gd name="T35" fmla="*/ 3455 h 6525"/>
                <a:gd name="T36" fmla="*/ 5095 w 6461"/>
                <a:gd name="T37" fmla="*/ 3418 h 6525"/>
                <a:gd name="T38" fmla="*/ 5989 w 6461"/>
                <a:gd name="T39" fmla="*/ 2956 h 6525"/>
                <a:gd name="T40" fmla="*/ 6052 w 6461"/>
                <a:gd name="T41" fmla="*/ 2698 h 6525"/>
                <a:gd name="T42" fmla="*/ 6262 w 6461"/>
                <a:gd name="T43" fmla="*/ 1178 h 6525"/>
                <a:gd name="T44" fmla="*/ 5972 w 6461"/>
                <a:gd name="T45" fmla="*/ 1261 h 6525"/>
                <a:gd name="T46" fmla="*/ 6007 w 6461"/>
                <a:gd name="T47" fmla="*/ 1247 h 6525"/>
                <a:gd name="T48" fmla="*/ 6029 w 6461"/>
                <a:gd name="T49" fmla="*/ 1269 h 6525"/>
                <a:gd name="T50" fmla="*/ 5888 w 6461"/>
                <a:gd name="T51" fmla="*/ 2498 h 6525"/>
                <a:gd name="T52" fmla="*/ 5311 w 6461"/>
                <a:gd name="T53" fmla="*/ 1921 h 6525"/>
                <a:gd name="T54" fmla="*/ 5972 w 6461"/>
                <a:gd name="T55" fmla="*/ 1261 h 6525"/>
                <a:gd name="T56" fmla="*/ 5812 w 6461"/>
                <a:gd name="T57" fmla="*/ 2779 h 6525"/>
                <a:gd name="T58" fmla="*/ 5051 w 6461"/>
                <a:gd name="T59" fmla="*/ 3172 h 6525"/>
                <a:gd name="T60" fmla="*/ 5045 w 6461"/>
                <a:gd name="T61" fmla="*/ 3173 h 6525"/>
                <a:gd name="T62" fmla="*/ 4863 w 6461"/>
                <a:gd name="T63" fmla="*/ 3209 h 6525"/>
                <a:gd name="T64" fmla="*/ 3613 w 6461"/>
                <a:gd name="T65" fmla="*/ 3713 h 6525"/>
                <a:gd name="T66" fmla="*/ 1201 w 6461"/>
                <a:gd name="T67" fmla="*/ 6125 h 6525"/>
                <a:gd name="T68" fmla="*/ 475 w 6461"/>
                <a:gd name="T69" fmla="*/ 6125 h 6525"/>
                <a:gd name="T70" fmla="*/ 475 w 6461"/>
                <a:gd name="T71" fmla="*/ 5398 h 6525"/>
                <a:gd name="T72" fmla="*/ 2886 w 6461"/>
                <a:gd name="T73" fmla="*/ 2986 h 6525"/>
                <a:gd name="T74" fmla="*/ 3390 w 6461"/>
                <a:gd name="T75" fmla="*/ 1736 h 6525"/>
                <a:gd name="T76" fmla="*/ 3427 w 6461"/>
                <a:gd name="T77" fmla="*/ 1554 h 6525"/>
                <a:gd name="T78" fmla="*/ 3428 w 6461"/>
                <a:gd name="T79" fmla="*/ 1549 h 6525"/>
                <a:gd name="T80" fmla="*/ 3820 w 6461"/>
                <a:gd name="T81" fmla="*/ 788 h 6525"/>
                <a:gd name="T82" fmla="*/ 4817 w 6461"/>
                <a:gd name="T83" fmla="*/ 375 h 6525"/>
                <a:gd name="T84" fmla="*/ 5327 w 6461"/>
                <a:gd name="T85" fmla="*/ 471 h 6525"/>
                <a:gd name="T86" fmla="*/ 5354 w 6461"/>
                <a:gd name="T87" fmla="*/ 499 h 6525"/>
                <a:gd name="T88" fmla="*/ 5338 w 6461"/>
                <a:gd name="T89" fmla="*/ 543 h 6525"/>
                <a:gd name="T90" fmla="*/ 4547 w 6461"/>
                <a:gd name="T91" fmla="*/ 1333 h 6525"/>
                <a:gd name="T92" fmla="*/ 4547 w 6461"/>
                <a:gd name="T93" fmla="*/ 1510 h 6525"/>
                <a:gd name="T94" fmla="*/ 5813 w 6461"/>
                <a:gd name="T95" fmla="*/ 2776 h 6525"/>
                <a:gd name="T96" fmla="*/ 5814 w 6461"/>
                <a:gd name="T97" fmla="*/ 2777 h 6525"/>
                <a:gd name="T98" fmla="*/ 5812 w 6461"/>
                <a:gd name="T99" fmla="*/ 2779 h 6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461" h="6525">
                  <a:moveTo>
                    <a:pt x="6262" y="1178"/>
                  </a:moveTo>
                  <a:cubicBezTo>
                    <a:pt x="6227" y="1088"/>
                    <a:pt x="6151" y="1022"/>
                    <a:pt x="6059" y="1003"/>
                  </a:cubicBezTo>
                  <a:cubicBezTo>
                    <a:pt x="5964" y="983"/>
                    <a:pt x="5866" y="1013"/>
                    <a:pt x="5795" y="1084"/>
                  </a:cubicBezTo>
                  <a:lnTo>
                    <a:pt x="5135" y="1744"/>
                  </a:lnTo>
                  <a:lnTo>
                    <a:pt x="4812" y="1422"/>
                  </a:lnTo>
                  <a:lnTo>
                    <a:pt x="5514" y="720"/>
                  </a:lnTo>
                  <a:cubicBezTo>
                    <a:pt x="5587" y="647"/>
                    <a:pt x="5619" y="545"/>
                    <a:pt x="5598" y="447"/>
                  </a:cubicBezTo>
                  <a:cubicBezTo>
                    <a:pt x="5578" y="352"/>
                    <a:pt x="5511" y="274"/>
                    <a:pt x="5417" y="238"/>
                  </a:cubicBezTo>
                  <a:cubicBezTo>
                    <a:pt x="4805" y="0"/>
                    <a:pt x="4108" y="146"/>
                    <a:pt x="3644" y="611"/>
                  </a:cubicBezTo>
                  <a:cubicBezTo>
                    <a:pt x="3399" y="855"/>
                    <a:pt x="3239" y="1164"/>
                    <a:pt x="3182" y="1504"/>
                  </a:cubicBezTo>
                  <a:cubicBezTo>
                    <a:pt x="3169" y="1562"/>
                    <a:pt x="3157" y="1624"/>
                    <a:pt x="3145" y="1689"/>
                  </a:cubicBezTo>
                  <a:cubicBezTo>
                    <a:pt x="3071" y="2068"/>
                    <a:pt x="2979" y="2540"/>
                    <a:pt x="2710" y="2810"/>
                  </a:cubicBezTo>
                  <a:lnTo>
                    <a:pt x="298" y="5221"/>
                  </a:lnTo>
                  <a:cubicBezTo>
                    <a:pt x="0" y="5519"/>
                    <a:pt x="0" y="6004"/>
                    <a:pt x="298" y="6302"/>
                  </a:cubicBezTo>
                  <a:cubicBezTo>
                    <a:pt x="447" y="6451"/>
                    <a:pt x="642" y="6525"/>
                    <a:pt x="838" y="6525"/>
                  </a:cubicBezTo>
                  <a:cubicBezTo>
                    <a:pt x="1033" y="6525"/>
                    <a:pt x="1229" y="6451"/>
                    <a:pt x="1378" y="6302"/>
                  </a:cubicBezTo>
                  <a:lnTo>
                    <a:pt x="3790" y="3890"/>
                  </a:lnTo>
                  <a:cubicBezTo>
                    <a:pt x="4059" y="3621"/>
                    <a:pt x="4531" y="3529"/>
                    <a:pt x="4911" y="3455"/>
                  </a:cubicBezTo>
                  <a:cubicBezTo>
                    <a:pt x="4976" y="3442"/>
                    <a:pt x="5037" y="3430"/>
                    <a:pt x="5095" y="3418"/>
                  </a:cubicBezTo>
                  <a:cubicBezTo>
                    <a:pt x="5435" y="3360"/>
                    <a:pt x="5744" y="3200"/>
                    <a:pt x="5989" y="2956"/>
                  </a:cubicBezTo>
                  <a:cubicBezTo>
                    <a:pt x="6061" y="2884"/>
                    <a:pt x="6082" y="2786"/>
                    <a:pt x="6052" y="2698"/>
                  </a:cubicBezTo>
                  <a:cubicBezTo>
                    <a:pt x="6380" y="2264"/>
                    <a:pt x="6461" y="1690"/>
                    <a:pt x="6262" y="1178"/>
                  </a:cubicBezTo>
                  <a:close/>
                  <a:moveTo>
                    <a:pt x="5972" y="1261"/>
                  </a:moveTo>
                  <a:cubicBezTo>
                    <a:pt x="5983" y="1250"/>
                    <a:pt x="5996" y="1245"/>
                    <a:pt x="6007" y="1247"/>
                  </a:cubicBezTo>
                  <a:cubicBezTo>
                    <a:pt x="6017" y="1249"/>
                    <a:pt x="6025" y="1257"/>
                    <a:pt x="6029" y="1269"/>
                  </a:cubicBezTo>
                  <a:cubicBezTo>
                    <a:pt x="6189" y="1680"/>
                    <a:pt x="6134" y="2139"/>
                    <a:pt x="5888" y="2498"/>
                  </a:cubicBezTo>
                  <a:lnTo>
                    <a:pt x="5311" y="1921"/>
                  </a:lnTo>
                  <a:lnTo>
                    <a:pt x="5972" y="1261"/>
                  </a:lnTo>
                  <a:close/>
                  <a:moveTo>
                    <a:pt x="5812" y="2779"/>
                  </a:moveTo>
                  <a:cubicBezTo>
                    <a:pt x="5604" y="2987"/>
                    <a:pt x="5340" y="3123"/>
                    <a:pt x="5051" y="3172"/>
                  </a:cubicBezTo>
                  <a:cubicBezTo>
                    <a:pt x="5049" y="3172"/>
                    <a:pt x="5047" y="3173"/>
                    <a:pt x="5045" y="3173"/>
                  </a:cubicBezTo>
                  <a:cubicBezTo>
                    <a:pt x="4989" y="3185"/>
                    <a:pt x="4928" y="3197"/>
                    <a:pt x="4863" y="3209"/>
                  </a:cubicBezTo>
                  <a:cubicBezTo>
                    <a:pt x="4450" y="3290"/>
                    <a:pt x="3936" y="3390"/>
                    <a:pt x="3613" y="3713"/>
                  </a:cubicBezTo>
                  <a:lnTo>
                    <a:pt x="1201" y="6125"/>
                  </a:lnTo>
                  <a:cubicBezTo>
                    <a:pt x="1001" y="6325"/>
                    <a:pt x="675" y="6325"/>
                    <a:pt x="475" y="6125"/>
                  </a:cubicBezTo>
                  <a:cubicBezTo>
                    <a:pt x="274" y="5925"/>
                    <a:pt x="274" y="5599"/>
                    <a:pt x="475" y="5398"/>
                  </a:cubicBezTo>
                  <a:lnTo>
                    <a:pt x="2886" y="2986"/>
                  </a:lnTo>
                  <a:cubicBezTo>
                    <a:pt x="3210" y="2663"/>
                    <a:pt x="3310" y="2149"/>
                    <a:pt x="3390" y="1736"/>
                  </a:cubicBezTo>
                  <a:cubicBezTo>
                    <a:pt x="3403" y="1672"/>
                    <a:pt x="3414" y="1610"/>
                    <a:pt x="3427" y="1554"/>
                  </a:cubicBezTo>
                  <a:cubicBezTo>
                    <a:pt x="3427" y="1552"/>
                    <a:pt x="3427" y="1550"/>
                    <a:pt x="3428" y="1549"/>
                  </a:cubicBezTo>
                  <a:cubicBezTo>
                    <a:pt x="3476" y="1259"/>
                    <a:pt x="3612" y="996"/>
                    <a:pt x="3820" y="788"/>
                  </a:cubicBezTo>
                  <a:cubicBezTo>
                    <a:pt x="4090" y="518"/>
                    <a:pt x="4450" y="375"/>
                    <a:pt x="4817" y="375"/>
                  </a:cubicBezTo>
                  <a:cubicBezTo>
                    <a:pt x="4988" y="375"/>
                    <a:pt x="5161" y="406"/>
                    <a:pt x="5327" y="471"/>
                  </a:cubicBezTo>
                  <a:cubicBezTo>
                    <a:pt x="5342" y="476"/>
                    <a:pt x="5351" y="486"/>
                    <a:pt x="5354" y="499"/>
                  </a:cubicBezTo>
                  <a:cubicBezTo>
                    <a:pt x="5357" y="514"/>
                    <a:pt x="5351" y="530"/>
                    <a:pt x="5338" y="543"/>
                  </a:cubicBezTo>
                  <a:lnTo>
                    <a:pt x="4547" y="1333"/>
                  </a:lnTo>
                  <a:cubicBezTo>
                    <a:pt x="4498" y="1382"/>
                    <a:pt x="4498" y="1461"/>
                    <a:pt x="4547" y="1510"/>
                  </a:cubicBezTo>
                  <a:lnTo>
                    <a:pt x="5813" y="2776"/>
                  </a:lnTo>
                  <a:cubicBezTo>
                    <a:pt x="5813" y="2776"/>
                    <a:pt x="5813" y="2777"/>
                    <a:pt x="5814" y="2777"/>
                  </a:cubicBezTo>
                  <a:cubicBezTo>
                    <a:pt x="5813" y="2778"/>
                    <a:pt x="5813" y="2778"/>
                    <a:pt x="5812" y="277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15"/>
            <p:cNvSpPr>
              <a:spLocks noEditPoints="1"/>
            </p:cNvSpPr>
            <p:nvPr/>
          </p:nvSpPr>
          <p:spPr bwMode="auto">
            <a:xfrm>
              <a:off x="4107" y="1350"/>
              <a:ext cx="541" cy="530"/>
            </a:xfrm>
            <a:custGeom>
              <a:avLst/>
              <a:gdLst>
                <a:gd name="T0" fmla="*/ 579 w 1127"/>
                <a:gd name="T1" fmla="*/ 37 h 1103"/>
                <a:gd name="T2" fmla="*/ 491 w 1127"/>
                <a:gd name="T3" fmla="*/ 0 h 1103"/>
                <a:gd name="T4" fmla="*/ 403 w 1127"/>
                <a:gd name="T5" fmla="*/ 37 h 1103"/>
                <a:gd name="T6" fmla="*/ 49 w 1127"/>
                <a:gd name="T7" fmla="*/ 391 h 1103"/>
                <a:gd name="T8" fmla="*/ 49 w 1127"/>
                <a:gd name="T9" fmla="*/ 567 h 1103"/>
                <a:gd name="T10" fmla="*/ 548 w 1127"/>
                <a:gd name="T11" fmla="*/ 1066 h 1103"/>
                <a:gd name="T12" fmla="*/ 637 w 1127"/>
                <a:gd name="T13" fmla="*/ 1103 h 1103"/>
                <a:gd name="T14" fmla="*/ 725 w 1127"/>
                <a:gd name="T15" fmla="*/ 1066 h 1103"/>
                <a:gd name="T16" fmla="*/ 1078 w 1127"/>
                <a:gd name="T17" fmla="*/ 713 h 1103"/>
                <a:gd name="T18" fmla="*/ 1078 w 1127"/>
                <a:gd name="T19" fmla="*/ 536 h 1103"/>
                <a:gd name="T20" fmla="*/ 579 w 1127"/>
                <a:gd name="T21" fmla="*/ 37 h 1103"/>
                <a:gd name="T22" fmla="*/ 637 w 1127"/>
                <a:gd name="T23" fmla="*/ 801 h 1103"/>
                <a:gd name="T24" fmla="*/ 314 w 1127"/>
                <a:gd name="T25" fmla="*/ 479 h 1103"/>
                <a:gd name="T26" fmla="*/ 491 w 1127"/>
                <a:gd name="T27" fmla="*/ 302 h 1103"/>
                <a:gd name="T28" fmla="*/ 813 w 1127"/>
                <a:gd name="T29" fmla="*/ 625 h 1103"/>
                <a:gd name="T30" fmla="*/ 637 w 1127"/>
                <a:gd name="T31" fmla="*/ 801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7" h="1103">
                  <a:moveTo>
                    <a:pt x="579" y="37"/>
                  </a:moveTo>
                  <a:cubicBezTo>
                    <a:pt x="556" y="14"/>
                    <a:pt x="524" y="0"/>
                    <a:pt x="491" y="0"/>
                  </a:cubicBezTo>
                  <a:cubicBezTo>
                    <a:pt x="458" y="0"/>
                    <a:pt x="426" y="14"/>
                    <a:pt x="403" y="37"/>
                  </a:cubicBezTo>
                  <a:lnTo>
                    <a:pt x="49" y="391"/>
                  </a:lnTo>
                  <a:cubicBezTo>
                    <a:pt x="0" y="439"/>
                    <a:pt x="0" y="519"/>
                    <a:pt x="49" y="567"/>
                  </a:cubicBezTo>
                  <a:lnTo>
                    <a:pt x="548" y="1066"/>
                  </a:lnTo>
                  <a:cubicBezTo>
                    <a:pt x="572" y="1090"/>
                    <a:pt x="603" y="1103"/>
                    <a:pt x="637" y="1103"/>
                  </a:cubicBezTo>
                  <a:cubicBezTo>
                    <a:pt x="670" y="1103"/>
                    <a:pt x="701" y="1090"/>
                    <a:pt x="725" y="1066"/>
                  </a:cubicBezTo>
                  <a:lnTo>
                    <a:pt x="1078" y="713"/>
                  </a:lnTo>
                  <a:cubicBezTo>
                    <a:pt x="1127" y="664"/>
                    <a:pt x="1127" y="585"/>
                    <a:pt x="1078" y="536"/>
                  </a:cubicBezTo>
                  <a:lnTo>
                    <a:pt x="579" y="37"/>
                  </a:lnTo>
                  <a:close/>
                  <a:moveTo>
                    <a:pt x="637" y="801"/>
                  </a:moveTo>
                  <a:lnTo>
                    <a:pt x="314" y="479"/>
                  </a:lnTo>
                  <a:lnTo>
                    <a:pt x="491" y="302"/>
                  </a:lnTo>
                  <a:lnTo>
                    <a:pt x="813" y="625"/>
                  </a:lnTo>
                  <a:lnTo>
                    <a:pt x="637" y="80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16"/>
            <p:cNvSpPr>
              <a:spLocks/>
            </p:cNvSpPr>
            <p:nvPr/>
          </p:nvSpPr>
          <p:spPr bwMode="auto">
            <a:xfrm>
              <a:off x="2624" y="3258"/>
              <a:ext cx="131" cy="126"/>
            </a:xfrm>
            <a:custGeom>
              <a:avLst/>
              <a:gdLst>
                <a:gd name="T0" fmla="*/ 225 w 274"/>
                <a:gd name="T1" fmla="*/ 49 h 263"/>
                <a:gd name="T2" fmla="*/ 49 w 274"/>
                <a:gd name="T3" fmla="*/ 49 h 263"/>
                <a:gd name="T4" fmla="*/ 49 w 274"/>
                <a:gd name="T5" fmla="*/ 226 h 263"/>
                <a:gd name="T6" fmla="*/ 137 w 274"/>
                <a:gd name="T7" fmla="*/ 263 h 263"/>
                <a:gd name="T8" fmla="*/ 225 w 274"/>
                <a:gd name="T9" fmla="*/ 226 h 263"/>
                <a:gd name="T10" fmla="*/ 225 w 274"/>
                <a:gd name="T11" fmla="*/ 49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4" h="263">
                  <a:moveTo>
                    <a:pt x="225" y="49"/>
                  </a:moveTo>
                  <a:cubicBezTo>
                    <a:pt x="176" y="0"/>
                    <a:pt x="97" y="0"/>
                    <a:pt x="49" y="49"/>
                  </a:cubicBezTo>
                  <a:cubicBezTo>
                    <a:pt x="0" y="98"/>
                    <a:pt x="0" y="177"/>
                    <a:pt x="49" y="226"/>
                  </a:cubicBezTo>
                  <a:cubicBezTo>
                    <a:pt x="73" y="250"/>
                    <a:pt x="105" y="263"/>
                    <a:pt x="137" y="263"/>
                  </a:cubicBezTo>
                  <a:cubicBezTo>
                    <a:pt x="169" y="263"/>
                    <a:pt x="201" y="250"/>
                    <a:pt x="225" y="226"/>
                  </a:cubicBezTo>
                  <a:cubicBezTo>
                    <a:pt x="274" y="177"/>
                    <a:pt x="274" y="98"/>
                    <a:pt x="225" y="4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" name="Freeform 17"/>
            <p:cNvSpPr>
              <a:spLocks/>
            </p:cNvSpPr>
            <p:nvPr/>
          </p:nvSpPr>
          <p:spPr bwMode="auto">
            <a:xfrm>
              <a:off x="2814" y="2100"/>
              <a:ext cx="1099" cy="1093"/>
            </a:xfrm>
            <a:custGeom>
              <a:avLst/>
              <a:gdLst>
                <a:gd name="T0" fmla="*/ 2063 w 2289"/>
                <a:gd name="T1" fmla="*/ 48 h 2276"/>
                <a:gd name="T2" fmla="*/ 49 w 2289"/>
                <a:gd name="T3" fmla="*/ 2062 h 2276"/>
                <a:gd name="T4" fmla="*/ 49 w 2289"/>
                <a:gd name="T5" fmla="*/ 2239 h 2276"/>
                <a:gd name="T6" fmla="*/ 138 w 2289"/>
                <a:gd name="T7" fmla="*/ 2276 h 2276"/>
                <a:gd name="T8" fmla="*/ 226 w 2289"/>
                <a:gd name="T9" fmla="*/ 2239 h 2276"/>
                <a:gd name="T10" fmla="*/ 2240 w 2289"/>
                <a:gd name="T11" fmla="*/ 225 h 2276"/>
                <a:gd name="T12" fmla="*/ 2240 w 2289"/>
                <a:gd name="T13" fmla="*/ 48 h 2276"/>
                <a:gd name="T14" fmla="*/ 2063 w 2289"/>
                <a:gd name="T15" fmla="*/ 48 h 2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89" h="2276">
                  <a:moveTo>
                    <a:pt x="2063" y="48"/>
                  </a:moveTo>
                  <a:lnTo>
                    <a:pt x="49" y="2062"/>
                  </a:lnTo>
                  <a:cubicBezTo>
                    <a:pt x="0" y="2111"/>
                    <a:pt x="0" y="2190"/>
                    <a:pt x="49" y="2239"/>
                  </a:cubicBezTo>
                  <a:cubicBezTo>
                    <a:pt x="74" y="2264"/>
                    <a:pt x="106" y="2276"/>
                    <a:pt x="138" y="2276"/>
                  </a:cubicBezTo>
                  <a:cubicBezTo>
                    <a:pt x="170" y="2276"/>
                    <a:pt x="202" y="2264"/>
                    <a:pt x="226" y="2239"/>
                  </a:cubicBezTo>
                  <a:lnTo>
                    <a:pt x="2240" y="225"/>
                  </a:lnTo>
                  <a:cubicBezTo>
                    <a:pt x="2289" y="176"/>
                    <a:pt x="2289" y="97"/>
                    <a:pt x="2240" y="48"/>
                  </a:cubicBezTo>
                  <a:cubicBezTo>
                    <a:pt x="2191" y="0"/>
                    <a:pt x="2112" y="0"/>
                    <a:pt x="2063" y="4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83" name="Group 34">
            <a:extLst>
              <a:ext uri="{FF2B5EF4-FFF2-40B4-BE49-F238E27FC236}">
                <a16:creationId xmlns:a16="http://schemas.microsoft.com/office/drawing/2014/main" id="{6045D7C2-50C2-2E45-8DF7-CBDC619F382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88395" y="4191345"/>
            <a:ext cx="503500" cy="489318"/>
            <a:chOff x="1169" y="873"/>
            <a:chExt cx="355" cy="345"/>
          </a:xfrm>
          <a:solidFill>
            <a:srgbClr val="A136A0"/>
          </a:solidFill>
        </p:grpSpPr>
        <p:sp>
          <p:nvSpPr>
            <p:cNvPr id="84" name="Freeform 35">
              <a:extLst>
                <a:ext uri="{FF2B5EF4-FFF2-40B4-BE49-F238E27FC236}">
                  <a16:creationId xmlns:a16="http://schemas.microsoft.com/office/drawing/2014/main" id="{E64AEED5-45BB-9B42-9700-16EF54E22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" y="873"/>
              <a:ext cx="278" cy="207"/>
            </a:xfrm>
            <a:custGeom>
              <a:avLst/>
              <a:gdLst>
                <a:gd name="T0" fmla="*/ 3838 w 5261"/>
                <a:gd name="T1" fmla="*/ 1327 h 3897"/>
                <a:gd name="T2" fmla="*/ 3612 w 5261"/>
                <a:gd name="T3" fmla="*/ 1347 h 3897"/>
                <a:gd name="T4" fmla="*/ 1564 w 5261"/>
                <a:gd name="T5" fmla="*/ 126 h 3897"/>
                <a:gd name="T6" fmla="*/ 0 w 5261"/>
                <a:gd name="T7" fmla="*/ 1527 h 3897"/>
                <a:gd name="T8" fmla="*/ 182 w 5261"/>
                <a:gd name="T9" fmla="*/ 1574 h 3897"/>
                <a:gd name="T10" fmla="*/ 1884 w 5261"/>
                <a:gd name="T11" fmla="*/ 295 h 3897"/>
                <a:gd name="T12" fmla="*/ 3487 w 5261"/>
                <a:gd name="T13" fmla="*/ 1569 h 3897"/>
                <a:gd name="T14" fmla="*/ 4528 w 5261"/>
                <a:gd name="T15" fmla="*/ 1761 h 3897"/>
                <a:gd name="T16" fmla="*/ 4927 w 5261"/>
                <a:gd name="T17" fmla="*/ 2735 h 3897"/>
                <a:gd name="T18" fmla="*/ 4280 w 5261"/>
                <a:gd name="T19" fmla="*/ 3614 h 3897"/>
                <a:gd name="T20" fmla="*/ 3634 w 5261"/>
                <a:gd name="T21" fmla="*/ 3698 h 3897"/>
                <a:gd name="T22" fmla="*/ 3634 w 5261"/>
                <a:gd name="T23" fmla="*/ 3886 h 3897"/>
                <a:gd name="T24" fmla="*/ 4290 w 5261"/>
                <a:gd name="T25" fmla="*/ 3814 h 3897"/>
                <a:gd name="T26" fmla="*/ 5094 w 5261"/>
                <a:gd name="T27" fmla="*/ 2880 h 3897"/>
                <a:gd name="T28" fmla="*/ 3838 w 5261"/>
                <a:gd name="T29" fmla="*/ 1327 h 3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61" h="3897">
                  <a:moveTo>
                    <a:pt x="3838" y="1327"/>
                  </a:moveTo>
                  <a:cubicBezTo>
                    <a:pt x="3763" y="1327"/>
                    <a:pt x="3687" y="1334"/>
                    <a:pt x="3612" y="1347"/>
                  </a:cubicBezTo>
                  <a:cubicBezTo>
                    <a:pt x="3308" y="517"/>
                    <a:pt x="2439" y="0"/>
                    <a:pt x="1564" y="126"/>
                  </a:cubicBezTo>
                  <a:cubicBezTo>
                    <a:pt x="816" y="234"/>
                    <a:pt x="189" y="794"/>
                    <a:pt x="0" y="1527"/>
                  </a:cubicBezTo>
                  <a:lnTo>
                    <a:pt x="182" y="1574"/>
                  </a:lnTo>
                  <a:cubicBezTo>
                    <a:pt x="379" y="811"/>
                    <a:pt x="1097" y="273"/>
                    <a:pt x="1884" y="295"/>
                  </a:cubicBezTo>
                  <a:cubicBezTo>
                    <a:pt x="2662" y="317"/>
                    <a:pt x="3259" y="848"/>
                    <a:pt x="3487" y="1569"/>
                  </a:cubicBezTo>
                  <a:cubicBezTo>
                    <a:pt x="3856" y="1478"/>
                    <a:pt x="4226" y="1515"/>
                    <a:pt x="4528" y="1761"/>
                  </a:cubicBezTo>
                  <a:cubicBezTo>
                    <a:pt x="4816" y="1994"/>
                    <a:pt x="4970" y="2366"/>
                    <a:pt x="4927" y="2735"/>
                  </a:cubicBezTo>
                  <a:cubicBezTo>
                    <a:pt x="4882" y="3119"/>
                    <a:pt x="4632" y="3455"/>
                    <a:pt x="4280" y="3614"/>
                  </a:cubicBezTo>
                  <a:cubicBezTo>
                    <a:pt x="4067" y="3710"/>
                    <a:pt x="3862" y="3698"/>
                    <a:pt x="3634" y="3698"/>
                  </a:cubicBezTo>
                  <a:lnTo>
                    <a:pt x="3634" y="3886"/>
                  </a:lnTo>
                  <a:cubicBezTo>
                    <a:pt x="3863" y="3886"/>
                    <a:pt x="4071" y="3897"/>
                    <a:pt x="4290" y="3814"/>
                  </a:cubicBezTo>
                  <a:cubicBezTo>
                    <a:pt x="4734" y="3646"/>
                    <a:pt x="5002" y="3309"/>
                    <a:pt x="5094" y="2880"/>
                  </a:cubicBezTo>
                  <a:cubicBezTo>
                    <a:pt x="5261" y="2093"/>
                    <a:pt x="4643" y="1327"/>
                    <a:pt x="3838" y="132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85" name="Freeform 36">
              <a:extLst>
                <a:ext uri="{FF2B5EF4-FFF2-40B4-BE49-F238E27FC236}">
                  <a16:creationId xmlns:a16="http://schemas.microsoft.com/office/drawing/2014/main" id="{A48C03F9-9154-9B4C-879D-FBF63B589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" y="958"/>
              <a:ext cx="111" cy="122"/>
            </a:xfrm>
            <a:custGeom>
              <a:avLst/>
              <a:gdLst>
                <a:gd name="T0" fmla="*/ 1103 w 2100"/>
                <a:gd name="T1" fmla="*/ 2089 h 2312"/>
                <a:gd name="T2" fmla="*/ 514 w 2100"/>
                <a:gd name="T3" fmla="*/ 758 h 2312"/>
                <a:gd name="T4" fmla="*/ 1963 w 2100"/>
                <a:gd name="T5" fmla="*/ 623 h 2312"/>
                <a:gd name="T6" fmla="*/ 2100 w 2100"/>
                <a:gd name="T7" fmla="*/ 494 h 2312"/>
                <a:gd name="T8" fmla="*/ 1507 w 2100"/>
                <a:gd name="T9" fmla="*/ 146 h 2312"/>
                <a:gd name="T10" fmla="*/ 1507 w 2100"/>
                <a:gd name="T11" fmla="*/ 147 h 2312"/>
                <a:gd name="T12" fmla="*/ 256 w 2100"/>
                <a:gd name="T13" fmla="*/ 1544 h 2312"/>
                <a:gd name="T14" fmla="*/ 1066 w 2100"/>
                <a:gd name="T15" fmla="*/ 2274 h 2312"/>
                <a:gd name="T16" fmla="*/ 1691 w 2100"/>
                <a:gd name="T17" fmla="*/ 2295 h 2312"/>
                <a:gd name="T18" fmla="*/ 1691 w 2100"/>
                <a:gd name="T19" fmla="*/ 2107 h 2312"/>
                <a:gd name="T20" fmla="*/ 1103 w 2100"/>
                <a:gd name="T21" fmla="*/ 2089 h 2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00" h="2312">
                  <a:moveTo>
                    <a:pt x="1103" y="2089"/>
                  </a:moveTo>
                  <a:cubicBezTo>
                    <a:pt x="515" y="1965"/>
                    <a:pt x="210" y="1276"/>
                    <a:pt x="514" y="758"/>
                  </a:cubicBezTo>
                  <a:cubicBezTo>
                    <a:pt x="828" y="223"/>
                    <a:pt x="1553" y="182"/>
                    <a:pt x="1963" y="623"/>
                  </a:cubicBezTo>
                  <a:lnTo>
                    <a:pt x="2100" y="494"/>
                  </a:lnTo>
                  <a:cubicBezTo>
                    <a:pt x="1939" y="321"/>
                    <a:pt x="1740" y="194"/>
                    <a:pt x="1507" y="146"/>
                  </a:cubicBezTo>
                  <a:lnTo>
                    <a:pt x="1507" y="147"/>
                  </a:lnTo>
                  <a:cubicBezTo>
                    <a:pt x="710" y="0"/>
                    <a:pt x="0" y="756"/>
                    <a:pt x="256" y="1544"/>
                  </a:cubicBezTo>
                  <a:cubicBezTo>
                    <a:pt x="374" y="1905"/>
                    <a:pt x="689" y="2202"/>
                    <a:pt x="1066" y="2274"/>
                  </a:cubicBezTo>
                  <a:cubicBezTo>
                    <a:pt x="1269" y="2312"/>
                    <a:pt x="1486" y="2295"/>
                    <a:pt x="1691" y="2295"/>
                  </a:cubicBezTo>
                  <a:lnTo>
                    <a:pt x="1691" y="2107"/>
                  </a:lnTo>
                  <a:cubicBezTo>
                    <a:pt x="1496" y="2107"/>
                    <a:pt x="1296" y="2119"/>
                    <a:pt x="1103" y="208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86" name="Rectangle 37">
              <a:extLst>
                <a:ext uri="{FF2B5EF4-FFF2-40B4-BE49-F238E27FC236}">
                  <a16:creationId xmlns:a16="http://schemas.microsoft.com/office/drawing/2014/main" id="{F62A33BB-53ED-574C-B07E-AFF2BA8DA9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9" y="1128"/>
              <a:ext cx="1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87" name="Rectangle 38">
              <a:extLst>
                <a:ext uri="{FF2B5EF4-FFF2-40B4-BE49-F238E27FC236}">
                  <a16:creationId xmlns:a16="http://schemas.microsoft.com/office/drawing/2014/main" id="{FF97F2FA-9BEA-E74B-9088-8F5668B810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9" y="1128"/>
              <a:ext cx="9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88" name="Rectangle 39">
              <a:extLst>
                <a:ext uri="{FF2B5EF4-FFF2-40B4-BE49-F238E27FC236}">
                  <a16:creationId xmlns:a16="http://schemas.microsoft.com/office/drawing/2014/main" id="{9BBD2563-71EA-5F47-A7E3-C7B4977EB7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" y="1128"/>
              <a:ext cx="4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89" name="Rectangle 40">
              <a:extLst>
                <a:ext uri="{FF2B5EF4-FFF2-40B4-BE49-F238E27FC236}">
                  <a16:creationId xmlns:a16="http://schemas.microsoft.com/office/drawing/2014/main" id="{A5BAD5C0-8F75-7940-9DAF-B04A8FB859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4" y="1168"/>
              <a:ext cx="1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90" name="Rectangle 41">
              <a:extLst>
                <a:ext uri="{FF2B5EF4-FFF2-40B4-BE49-F238E27FC236}">
                  <a16:creationId xmlns:a16="http://schemas.microsoft.com/office/drawing/2014/main" id="{94517C4B-382A-6B47-BD4A-185D4F22A9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9" y="1188"/>
              <a:ext cx="1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91" name="Rectangle 42">
              <a:extLst>
                <a:ext uri="{FF2B5EF4-FFF2-40B4-BE49-F238E27FC236}">
                  <a16:creationId xmlns:a16="http://schemas.microsoft.com/office/drawing/2014/main" id="{AB427481-F26F-6540-B843-471957668E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9" y="1188"/>
              <a:ext cx="9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92" name="Rectangle 43">
              <a:extLst>
                <a:ext uri="{FF2B5EF4-FFF2-40B4-BE49-F238E27FC236}">
                  <a16:creationId xmlns:a16="http://schemas.microsoft.com/office/drawing/2014/main" id="{CDC1D13A-6AB3-0046-808E-0F58FC1C92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" y="1188"/>
              <a:ext cx="4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93" name="Rectangle 44">
              <a:extLst>
                <a:ext uri="{FF2B5EF4-FFF2-40B4-BE49-F238E27FC236}">
                  <a16:creationId xmlns:a16="http://schemas.microsoft.com/office/drawing/2014/main" id="{C7A88DB0-A1F3-4C4A-BD27-B1CE9E246A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4" y="1089"/>
              <a:ext cx="1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94" name="Rectangle 45">
              <a:extLst>
                <a:ext uri="{FF2B5EF4-FFF2-40B4-BE49-F238E27FC236}">
                  <a16:creationId xmlns:a16="http://schemas.microsoft.com/office/drawing/2014/main" id="{9F17B88E-117F-E544-9F14-345D8C1E43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9" y="1069"/>
              <a:ext cx="1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95" name="Rectangle 46">
              <a:extLst>
                <a:ext uri="{FF2B5EF4-FFF2-40B4-BE49-F238E27FC236}">
                  <a16:creationId xmlns:a16="http://schemas.microsoft.com/office/drawing/2014/main" id="{97628E1B-B7C7-7945-A15B-47399968F7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9" y="1069"/>
              <a:ext cx="9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96" name="Rectangle 47">
              <a:extLst>
                <a:ext uri="{FF2B5EF4-FFF2-40B4-BE49-F238E27FC236}">
                  <a16:creationId xmlns:a16="http://schemas.microsoft.com/office/drawing/2014/main" id="{06571A0B-6AB8-5343-A453-87AD8EC045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" y="1069"/>
              <a:ext cx="4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97" name="Freeform 48">
              <a:extLst>
                <a:ext uri="{FF2B5EF4-FFF2-40B4-BE49-F238E27FC236}">
                  <a16:creationId xmlns:a16="http://schemas.microsoft.com/office/drawing/2014/main" id="{1F6D2B72-966B-A34A-AD32-3AB44B467E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69" y="909"/>
              <a:ext cx="159" cy="309"/>
            </a:xfrm>
            <a:custGeom>
              <a:avLst/>
              <a:gdLst>
                <a:gd name="T0" fmla="*/ 2453 w 3006"/>
                <a:gd name="T1" fmla="*/ 1888 h 5830"/>
                <a:gd name="T2" fmla="*/ 3003 w 3006"/>
                <a:gd name="T3" fmla="*/ 1789 h 5830"/>
                <a:gd name="T4" fmla="*/ 2450 w 3006"/>
                <a:gd name="T5" fmla="*/ 1700 h 5830"/>
                <a:gd name="T6" fmla="*/ 1973 w 3006"/>
                <a:gd name="T7" fmla="*/ 2640 h 5830"/>
                <a:gd name="T8" fmla="*/ 1785 w 3006"/>
                <a:gd name="T9" fmla="*/ 1256 h 5830"/>
                <a:gd name="T10" fmla="*/ 2122 w 3006"/>
                <a:gd name="T11" fmla="*/ 1082 h 5830"/>
                <a:gd name="T12" fmla="*/ 2122 w 3006"/>
                <a:gd name="T13" fmla="*/ 514 h 5830"/>
                <a:gd name="T14" fmla="*/ 1862 w 3006"/>
                <a:gd name="T15" fmla="*/ 913 h 5830"/>
                <a:gd name="T16" fmla="*/ 1597 w 3006"/>
                <a:gd name="T17" fmla="*/ 2640 h 5830"/>
                <a:gd name="T18" fmla="*/ 1409 w 3006"/>
                <a:gd name="T19" fmla="*/ 634 h 5830"/>
                <a:gd name="T20" fmla="*/ 1176 w 3006"/>
                <a:gd name="T21" fmla="*/ 284 h 5830"/>
                <a:gd name="T22" fmla="*/ 609 w 3006"/>
                <a:gd name="T23" fmla="*/ 284 h 5830"/>
                <a:gd name="T24" fmla="*/ 1036 w 3006"/>
                <a:gd name="T25" fmla="*/ 528 h 5830"/>
                <a:gd name="T26" fmla="*/ 1220 w 3006"/>
                <a:gd name="T27" fmla="*/ 2640 h 5830"/>
                <a:gd name="T28" fmla="*/ 1032 w 3006"/>
                <a:gd name="T29" fmla="*/ 1879 h 5830"/>
                <a:gd name="T30" fmla="*/ 289 w 3006"/>
                <a:gd name="T31" fmla="*/ 1695 h 5830"/>
                <a:gd name="T32" fmla="*/ 289 w 3006"/>
                <a:gd name="T33" fmla="*/ 2262 h 5830"/>
                <a:gd name="T34" fmla="*/ 844 w 3006"/>
                <a:gd name="T35" fmla="*/ 2068 h 5830"/>
                <a:gd name="T36" fmla="*/ 0 w 3006"/>
                <a:gd name="T37" fmla="*/ 2640 h 5830"/>
                <a:gd name="T38" fmla="*/ 192 w 3006"/>
                <a:gd name="T39" fmla="*/ 3581 h 5830"/>
                <a:gd name="T40" fmla="*/ 0 w 3006"/>
                <a:gd name="T41" fmla="*/ 3765 h 5830"/>
                <a:gd name="T42" fmla="*/ 192 w 3006"/>
                <a:gd name="T43" fmla="*/ 4705 h 5830"/>
                <a:gd name="T44" fmla="*/ 0 w 3006"/>
                <a:gd name="T45" fmla="*/ 4889 h 5830"/>
                <a:gd name="T46" fmla="*/ 3006 w 3006"/>
                <a:gd name="T47" fmla="*/ 5830 h 5830"/>
                <a:gd name="T48" fmla="*/ 2826 w 3006"/>
                <a:gd name="T49" fmla="*/ 4889 h 5830"/>
                <a:gd name="T50" fmla="*/ 3006 w 3006"/>
                <a:gd name="T51" fmla="*/ 4705 h 5830"/>
                <a:gd name="T52" fmla="*/ 2826 w 3006"/>
                <a:gd name="T53" fmla="*/ 3765 h 5830"/>
                <a:gd name="T54" fmla="*/ 3006 w 3006"/>
                <a:gd name="T55" fmla="*/ 3581 h 5830"/>
                <a:gd name="T56" fmla="*/ 2161 w 3006"/>
                <a:gd name="T57" fmla="*/ 2640 h 5830"/>
                <a:gd name="T58" fmla="*/ 2719 w 3006"/>
                <a:gd name="T59" fmla="*/ 1693 h 5830"/>
                <a:gd name="T60" fmla="*/ 2719 w 3006"/>
                <a:gd name="T61" fmla="*/ 1884 h 5830"/>
                <a:gd name="T62" fmla="*/ 2719 w 3006"/>
                <a:gd name="T63" fmla="*/ 1693 h 5830"/>
                <a:gd name="T64" fmla="*/ 2217 w 3006"/>
                <a:gd name="T65" fmla="*/ 798 h 5830"/>
                <a:gd name="T66" fmla="*/ 2026 w 3006"/>
                <a:gd name="T67" fmla="*/ 798 h 5830"/>
                <a:gd name="T68" fmla="*/ 797 w 3006"/>
                <a:gd name="T69" fmla="*/ 284 h 5830"/>
                <a:gd name="T70" fmla="*/ 988 w 3006"/>
                <a:gd name="T71" fmla="*/ 284 h 5830"/>
                <a:gd name="T72" fmla="*/ 797 w 3006"/>
                <a:gd name="T73" fmla="*/ 284 h 5830"/>
                <a:gd name="T74" fmla="*/ 193 w 3006"/>
                <a:gd name="T75" fmla="*/ 1979 h 5830"/>
                <a:gd name="T76" fmla="*/ 384 w 3006"/>
                <a:gd name="T77" fmla="*/ 1979 h 5830"/>
                <a:gd name="T78" fmla="*/ 188 w 3006"/>
                <a:gd name="T79" fmla="*/ 3953 h 5830"/>
                <a:gd name="T80" fmla="*/ 2818 w 3006"/>
                <a:gd name="T81" fmla="*/ 4517 h 5830"/>
                <a:gd name="T82" fmla="*/ 188 w 3006"/>
                <a:gd name="T83" fmla="*/ 3953 h 5830"/>
                <a:gd name="T84" fmla="*/ 1791 w 3006"/>
                <a:gd name="T85" fmla="*/ 4889 h 5830"/>
                <a:gd name="T86" fmla="*/ 2818 w 3006"/>
                <a:gd name="T87" fmla="*/ 5077 h 5830"/>
                <a:gd name="T88" fmla="*/ 188 w 3006"/>
                <a:gd name="T89" fmla="*/ 5642 h 5830"/>
                <a:gd name="T90" fmla="*/ 1227 w 3006"/>
                <a:gd name="T91" fmla="*/ 5077 h 5830"/>
                <a:gd name="T92" fmla="*/ 380 w 3006"/>
                <a:gd name="T93" fmla="*/ 4889 h 5830"/>
                <a:gd name="T94" fmla="*/ 2638 w 3006"/>
                <a:gd name="T95" fmla="*/ 4705 h 5830"/>
                <a:gd name="T96" fmla="*/ 2818 w 3006"/>
                <a:gd name="T97" fmla="*/ 3393 h 5830"/>
                <a:gd name="T98" fmla="*/ 1791 w 3006"/>
                <a:gd name="T99" fmla="*/ 3581 h 5830"/>
                <a:gd name="T100" fmla="*/ 2638 w 3006"/>
                <a:gd name="T101" fmla="*/ 3765 h 5830"/>
                <a:gd name="T102" fmla="*/ 380 w 3006"/>
                <a:gd name="T103" fmla="*/ 3581 h 5830"/>
                <a:gd name="T104" fmla="*/ 1227 w 3006"/>
                <a:gd name="T105" fmla="*/ 3393 h 5830"/>
                <a:gd name="T106" fmla="*/ 188 w 3006"/>
                <a:gd name="T107" fmla="*/ 2828 h 5830"/>
                <a:gd name="T108" fmla="*/ 2818 w 3006"/>
                <a:gd name="T109" fmla="*/ 3393 h 58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06" h="5830">
                  <a:moveTo>
                    <a:pt x="2161" y="1888"/>
                  </a:moveTo>
                  <a:lnTo>
                    <a:pt x="2453" y="1888"/>
                  </a:lnTo>
                  <a:cubicBezTo>
                    <a:pt x="2494" y="1996"/>
                    <a:pt x="2598" y="2073"/>
                    <a:pt x="2719" y="2073"/>
                  </a:cubicBezTo>
                  <a:cubicBezTo>
                    <a:pt x="2876" y="2073"/>
                    <a:pt x="3003" y="1945"/>
                    <a:pt x="3003" y="1789"/>
                  </a:cubicBezTo>
                  <a:cubicBezTo>
                    <a:pt x="3003" y="1633"/>
                    <a:pt x="2876" y="1505"/>
                    <a:pt x="2719" y="1505"/>
                  </a:cubicBezTo>
                  <a:cubicBezTo>
                    <a:pt x="2594" y="1505"/>
                    <a:pt x="2488" y="1587"/>
                    <a:pt x="2450" y="1700"/>
                  </a:cubicBezTo>
                  <a:lnTo>
                    <a:pt x="1973" y="1700"/>
                  </a:lnTo>
                  <a:lnTo>
                    <a:pt x="1973" y="2640"/>
                  </a:lnTo>
                  <a:lnTo>
                    <a:pt x="1785" y="2640"/>
                  </a:lnTo>
                  <a:lnTo>
                    <a:pt x="1785" y="1256"/>
                  </a:lnTo>
                  <a:lnTo>
                    <a:pt x="1991" y="1050"/>
                  </a:lnTo>
                  <a:cubicBezTo>
                    <a:pt x="2030" y="1070"/>
                    <a:pt x="2074" y="1082"/>
                    <a:pt x="2122" y="1082"/>
                  </a:cubicBezTo>
                  <a:cubicBezTo>
                    <a:pt x="2278" y="1082"/>
                    <a:pt x="2405" y="954"/>
                    <a:pt x="2405" y="798"/>
                  </a:cubicBezTo>
                  <a:cubicBezTo>
                    <a:pt x="2405" y="642"/>
                    <a:pt x="2278" y="514"/>
                    <a:pt x="2122" y="514"/>
                  </a:cubicBezTo>
                  <a:cubicBezTo>
                    <a:pt x="1965" y="514"/>
                    <a:pt x="1838" y="642"/>
                    <a:pt x="1838" y="798"/>
                  </a:cubicBezTo>
                  <a:cubicBezTo>
                    <a:pt x="1838" y="839"/>
                    <a:pt x="1847" y="877"/>
                    <a:pt x="1862" y="913"/>
                  </a:cubicBezTo>
                  <a:lnTo>
                    <a:pt x="1597" y="1178"/>
                  </a:lnTo>
                  <a:lnTo>
                    <a:pt x="1597" y="2640"/>
                  </a:lnTo>
                  <a:lnTo>
                    <a:pt x="1409" y="2640"/>
                  </a:lnTo>
                  <a:lnTo>
                    <a:pt x="1409" y="634"/>
                  </a:lnTo>
                  <a:lnTo>
                    <a:pt x="1158" y="384"/>
                  </a:lnTo>
                  <a:cubicBezTo>
                    <a:pt x="1170" y="353"/>
                    <a:pt x="1176" y="319"/>
                    <a:pt x="1176" y="284"/>
                  </a:cubicBezTo>
                  <a:cubicBezTo>
                    <a:pt x="1176" y="127"/>
                    <a:pt x="1049" y="0"/>
                    <a:pt x="893" y="0"/>
                  </a:cubicBezTo>
                  <a:cubicBezTo>
                    <a:pt x="736" y="0"/>
                    <a:pt x="609" y="127"/>
                    <a:pt x="609" y="284"/>
                  </a:cubicBezTo>
                  <a:cubicBezTo>
                    <a:pt x="609" y="440"/>
                    <a:pt x="736" y="567"/>
                    <a:pt x="893" y="567"/>
                  </a:cubicBezTo>
                  <a:cubicBezTo>
                    <a:pt x="945" y="567"/>
                    <a:pt x="994" y="553"/>
                    <a:pt x="1036" y="528"/>
                  </a:cubicBezTo>
                  <a:lnTo>
                    <a:pt x="1220" y="712"/>
                  </a:lnTo>
                  <a:lnTo>
                    <a:pt x="1220" y="2640"/>
                  </a:lnTo>
                  <a:lnTo>
                    <a:pt x="1032" y="2640"/>
                  </a:lnTo>
                  <a:lnTo>
                    <a:pt x="1032" y="1879"/>
                  </a:lnTo>
                  <a:lnTo>
                    <a:pt x="554" y="1879"/>
                  </a:lnTo>
                  <a:cubicBezTo>
                    <a:pt x="514" y="1772"/>
                    <a:pt x="410" y="1695"/>
                    <a:pt x="289" y="1695"/>
                  </a:cubicBezTo>
                  <a:cubicBezTo>
                    <a:pt x="132" y="1695"/>
                    <a:pt x="5" y="1822"/>
                    <a:pt x="5" y="1979"/>
                  </a:cubicBezTo>
                  <a:cubicBezTo>
                    <a:pt x="5" y="2135"/>
                    <a:pt x="132" y="2262"/>
                    <a:pt x="289" y="2262"/>
                  </a:cubicBezTo>
                  <a:cubicBezTo>
                    <a:pt x="414" y="2262"/>
                    <a:pt x="520" y="2181"/>
                    <a:pt x="558" y="2068"/>
                  </a:cubicBezTo>
                  <a:lnTo>
                    <a:pt x="844" y="2068"/>
                  </a:lnTo>
                  <a:lnTo>
                    <a:pt x="844" y="2640"/>
                  </a:lnTo>
                  <a:lnTo>
                    <a:pt x="0" y="2640"/>
                  </a:lnTo>
                  <a:lnTo>
                    <a:pt x="0" y="3581"/>
                  </a:lnTo>
                  <a:lnTo>
                    <a:pt x="192" y="3581"/>
                  </a:lnTo>
                  <a:lnTo>
                    <a:pt x="192" y="3765"/>
                  </a:lnTo>
                  <a:lnTo>
                    <a:pt x="0" y="3765"/>
                  </a:lnTo>
                  <a:lnTo>
                    <a:pt x="0" y="4705"/>
                  </a:lnTo>
                  <a:lnTo>
                    <a:pt x="192" y="4705"/>
                  </a:lnTo>
                  <a:lnTo>
                    <a:pt x="192" y="4889"/>
                  </a:lnTo>
                  <a:lnTo>
                    <a:pt x="0" y="4889"/>
                  </a:lnTo>
                  <a:lnTo>
                    <a:pt x="0" y="5830"/>
                  </a:lnTo>
                  <a:lnTo>
                    <a:pt x="3006" y="5830"/>
                  </a:lnTo>
                  <a:lnTo>
                    <a:pt x="3006" y="4889"/>
                  </a:lnTo>
                  <a:lnTo>
                    <a:pt x="2826" y="4889"/>
                  </a:lnTo>
                  <a:lnTo>
                    <a:pt x="2826" y="4705"/>
                  </a:lnTo>
                  <a:lnTo>
                    <a:pt x="3006" y="4705"/>
                  </a:lnTo>
                  <a:lnTo>
                    <a:pt x="3006" y="3765"/>
                  </a:lnTo>
                  <a:lnTo>
                    <a:pt x="2826" y="3765"/>
                  </a:lnTo>
                  <a:lnTo>
                    <a:pt x="2826" y="3581"/>
                  </a:lnTo>
                  <a:lnTo>
                    <a:pt x="3006" y="3581"/>
                  </a:lnTo>
                  <a:lnTo>
                    <a:pt x="3006" y="2640"/>
                  </a:lnTo>
                  <a:lnTo>
                    <a:pt x="2161" y="2640"/>
                  </a:lnTo>
                  <a:lnTo>
                    <a:pt x="2161" y="1888"/>
                  </a:lnTo>
                  <a:close/>
                  <a:moveTo>
                    <a:pt x="2719" y="1693"/>
                  </a:moveTo>
                  <a:cubicBezTo>
                    <a:pt x="2772" y="1693"/>
                    <a:pt x="2815" y="1736"/>
                    <a:pt x="2815" y="1789"/>
                  </a:cubicBezTo>
                  <a:cubicBezTo>
                    <a:pt x="2815" y="1842"/>
                    <a:pt x="2772" y="1884"/>
                    <a:pt x="2719" y="1884"/>
                  </a:cubicBezTo>
                  <a:cubicBezTo>
                    <a:pt x="2667" y="1884"/>
                    <a:pt x="2624" y="1842"/>
                    <a:pt x="2624" y="1789"/>
                  </a:cubicBezTo>
                  <a:cubicBezTo>
                    <a:pt x="2624" y="1736"/>
                    <a:pt x="2667" y="1693"/>
                    <a:pt x="2719" y="1693"/>
                  </a:cubicBezTo>
                  <a:close/>
                  <a:moveTo>
                    <a:pt x="2122" y="703"/>
                  </a:moveTo>
                  <a:cubicBezTo>
                    <a:pt x="2174" y="703"/>
                    <a:pt x="2217" y="745"/>
                    <a:pt x="2217" y="798"/>
                  </a:cubicBezTo>
                  <a:cubicBezTo>
                    <a:pt x="2217" y="851"/>
                    <a:pt x="2174" y="894"/>
                    <a:pt x="2122" y="894"/>
                  </a:cubicBezTo>
                  <a:cubicBezTo>
                    <a:pt x="2069" y="894"/>
                    <a:pt x="2026" y="851"/>
                    <a:pt x="2026" y="798"/>
                  </a:cubicBezTo>
                  <a:cubicBezTo>
                    <a:pt x="2026" y="745"/>
                    <a:pt x="2069" y="703"/>
                    <a:pt x="2122" y="703"/>
                  </a:cubicBezTo>
                  <a:close/>
                  <a:moveTo>
                    <a:pt x="797" y="284"/>
                  </a:moveTo>
                  <a:cubicBezTo>
                    <a:pt x="797" y="231"/>
                    <a:pt x="840" y="188"/>
                    <a:pt x="893" y="188"/>
                  </a:cubicBezTo>
                  <a:cubicBezTo>
                    <a:pt x="945" y="188"/>
                    <a:pt x="988" y="231"/>
                    <a:pt x="988" y="284"/>
                  </a:cubicBezTo>
                  <a:cubicBezTo>
                    <a:pt x="988" y="336"/>
                    <a:pt x="945" y="379"/>
                    <a:pt x="893" y="379"/>
                  </a:cubicBezTo>
                  <a:cubicBezTo>
                    <a:pt x="840" y="379"/>
                    <a:pt x="797" y="336"/>
                    <a:pt x="797" y="284"/>
                  </a:cubicBezTo>
                  <a:close/>
                  <a:moveTo>
                    <a:pt x="289" y="2074"/>
                  </a:moveTo>
                  <a:cubicBezTo>
                    <a:pt x="236" y="2074"/>
                    <a:pt x="193" y="2031"/>
                    <a:pt x="193" y="1979"/>
                  </a:cubicBezTo>
                  <a:cubicBezTo>
                    <a:pt x="193" y="1926"/>
                    <a:pt x="236" y="1883"/>
                    <a:pt x="289" y="1883"/>
                  </a:cubicBezTo>
                  <a:cubicBezTo>
                    <a:pt x="341" y="1883"/>
                    <a:pt x="384" y="1926"/>
                    <a:pt x="384" y="1979"/>
                  </a:cubicBezTo>
                  <a:cubicBezTo>
                    <a:pt x="384" y="2031"/>
                    <a:pt x="341" y="2074"/>
                    <a:pt x="289" y="2074"/>
                  </a:cubicBezTo>
                  <a:close/>
                  <a:moveTo>
                    <a:pt x="188" y="3953"/>
                  </a:moveTo>
                  <a:lnTo>
                    <a:pt x="2818" y="3953"/>
                  </a:lnTo>
                  <a:lnTo>
                    <a:pt x="2818" y="4517"/>
                  </a:lnTo>
                  <a:lnTo>
                    <a:pt x="188" y="4517"/>
                  </a:lnTo>
                  <a:lnTo>
                    <a:pt x="188" y="3953"/>
                  </a:lnTo>
                  <a:close/>
                  <a:moveTo>
                    <a:pt x="2638" y="4889"/>
                  </a:moveTo>
                  <a:lnTo>
                    <a:pt x="1791" y="4889"/>
                  </a:lnTo>
                  <a:lnTo>
                    <a:pt x="1791" y="5077"/>
                  </a:lnTo>
                  <a:lnTo>
                    <a:pt x="2818" y="5077"/>
                  </a:lnTo>
                  <a:lnTo>
                    <a:pt x="2818" y="5642"/>
                  </a:lnTo>
                  <a:lnTo>
                    <a:pt x="188" y="5642"/>
                  </a:lnTo>
                  <a:lnTo>
                    <a:pt x="188" y="5077"/>
                  </a:lnTo>
                  <a:lnTo>
                    <a:pt x="1227" y="5077"/>
                  </a:lnTo>
                  <a:lnTo>
                    <a:pt x="1227" y="4889"/>
                  </a:lnTo>
                  <a:lnTo>
                    <a:pt x="380" y="4889"/>
                  </a:lnTo>
                  <a:lnTo>
                    <a:pt x="380" y="4705"/>
                  </a:lnTo>
                  <a:lnTo>
                    <a:pt x="2638" y="4705"/>
                  </a:lnTo>
                  <a:lnTo>
                    <a:pt x="2638" y="4889"/>
                  </a:lnTo>
                  <a:close/>
                  <a:moveTo>
                    <a:pt x="2818" y="3393"/>
                  </a:moveTo>
                  <a:lnTo>
                    <a:pt x="1791" y="3393"/>
                  </a:lnTo>
                  <a:lnTo>
                    <a:pt x="1791" y="3581"/>
                  </a:lnTo>
                  <a:lnTo>
                    <a:pt x="2638" y="3581"/>
                  </a:lnTo>
                  <a:lnTo>
                    <a:pt x="2638" y="3765"/>
                  </a:lnTo>
                  <a:lnTo>
                    <a:pt x="380" y="3765"/>
                  </a:lnTo>
                  <a:lnTo>
                    <a:pt x="380" y="3581"/>
                  </a:lnTo>
                  <a:lnTo>
                    <a:pt x="1227" y="3581"/>
                  </a:lnTo>
                  <a:lnTo>
                    <a:pt x="1227" y="3393"/>
                  </a:lnTo>
                  <a:lnTo>
                    <a:pt x="188" y="3393"/>
                  </a:lnTo>
                  <a:lnTo>
                    <a:pt x="188" y="2828"/>
                  </a:lnTo>
                  <a:lnTo>
                    <a:pt x="2818" y="2828"/>
                  </a:lnTo>
                  <a:lnTo>
                    <a:pt x="2818" y="339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99" name="Group 20"/>
          <p:cNvGrpSpPr>
            <a:grpSpLocks noChangeAspect="1"/>
          </p:cNvGrpSpPr>
          <p:nvPr/>
        </p:nvGrpSpPr>
        <p:grpSpPr bwMode="auto">
          <a:xfrm>
            <a:off x="8222110" y="5250260"/>
            <a:ext cx="451739" cy="401742"/>
            <a:chOff x="2298" y="788"/>
            <a:chExt cx="3072" cy="2732"/>
          </a:xfrm>
          <a:solidFill>
            <a:srgbClr val="A136A0"/>
          </a:solidFill>
        </p:grpSpPr>
        <p:sp>
          <p:nvSpPr>
            <p:cNvPr id="101" name="Freeform 21"/>
            <p:cNvSpPr>
              <a:spLocks noEditPoints="1"/>
            </p:cNvSpPr>
            <p:nvPr/>
          </p:nvSpPr>
          <p:spPr bwMode="auto">
            <a:xfrm>
              <a:off x="3657" y="1507"/>
              <a:ext cx="438" cy="518"/>
            </a:xfrm>
            <a:custGeom>
              <a:avLst/>
              <a:gdLst>
                <a:gd name="T0" fmla="*/ 0 w 911"/>
                <a:gd name="T1" fmla="*/ 235 h 1079"/>
                <a:gd name="T2" fmla="*/ 0 w 911"/>
                <a:gd name="T3" fmla="*/ 845 h 1079"/>
                <a:gd name="T4" fmla="*/ 283 w 911"/>
                <a:gd name="T5" fmla="*/ 1005 h 1079"/>
                <a:gd name="T6" fmla="*/ 790 w 911"/>
                <a:gd name="T7" fmla="*/ 700 h 1079"/>
                <a:gd name="T8" fmla="*/ 790 w 911"/>
                <a:gd name="T9" fmla="*/ 380 h 1079"/>
                <a:gd name="T10" fmla="*/ 283 w 911"/>
                <a:gd name="T11" fmla="*/ 75 h 1079"/>
                <a:gd name="T12" fmla="*/ 0 w 911"/>
                <a:gd name="T13" fmla="*/ 235 h 1079"/>
                <a:gd name="T14" fmla="*/ 692 w 911"/>
                <a:gd name="T15" fmla="*/ 540 h 1079"/>
                <a:gd name="T16" fmla="*/ 187 w 911"/>
                <a:gd name="T17" fmla="*/ 844 h 1079"/>
                <a:gd name="T18" fmla="*/ 187 w 911"/>
                <a:gd name="T19" fmla="*/ 236 h 1079"/>
                <a:gd name="T20" fmla="*/ 692 w 911"/>
                <a:gd name="T21" fmla="*/ 540 h 1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1" h="1079">
                  <a:moveTo>
                    <a:pt x="0" y="235"/>
                  </a:moveTo>
                  <a:lnTo>
                    <a:pt x="0" y="845"/>
                  </a:lnTo>
                  <a:cubicBezTo>
                    <a:pt x="0" y="991"/>
                    <a:pt x="160" y="1079"/>
                    <a:pt x="283" y="1005"/>
                  </a:cubicBezTo>
                  <a:lnTo>
                    <a:pt x="790" y="700"/>
                  </a:lnTo>
                  <a:cubicBezTo>
                    <a:pt x="911" y="627"/>
                    <a:pt x="910" y="452"/>
                    <a:pt x="790" y="380"/>
                  </a:cubicBezTo>
                  <a:lnTo>
                    <a:pt x="283" y="75"/>
                  </a:lnTo>
                  <a:cubicBezTo>
                    <a:pt x="159" y="0"/>
                    <a:pt x="0" y="89"/>
                    <a:pt x="0" y="235"/>
                  </a:cubicBezTo>
                  <a:close/>
                  <a:moveTo>
                    <a:pt x="692" y="540"/>
                  </a:moveTo>
                  <a:lnTo>
                    <a:pt x="187" y="844"/>
                  </a:lnTo>
                  <a:lnTo>
                    <a:pt x="187" y="236"/>
                  </a:lnTo>
                  <a:lnTo>
                    <a:pt x="692" y="54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2" name="Freeform 22"/>
            <p:cNvSpPr>
              <a:spLocks/>
            </p:cNvSpPr>
            <p:nvPr/>
          </p:nvSpPr>
          <p:spPr bwMode="auto">
            <a:xfrm>
              <a:off x="3361" y="1301"/>
              <a:ext cx="946" cy="938"/>
            </a:xfrm>
            <a:custGeom>
              <a:avLst/>
              <a:gdLst>
                <a:gd name="T0" fmla="*/ 1227 w 1970"/>
                <a:gd name="T1" fmla="*/ 13 h 1953"/>
                <a:gd name="T2" fmla="*/ 1113 w 1970"/>
                <a:gd name="T3" fmla="*/ 81 h 1953"/>
                <a:gd name="T4" fmla="*/ 1181 w 1970"/>
                <a:gd name="T5" fmla="*/ 195 h 1953"/>
                <a:gd name="T6" fmla="*/ 1783 w 1970"/>
                <a:gd name="T7" fmla="*/ 968 h 1953"/>
                <a:gd name="T8" fmla="*/ 985 w 1970"/>
                <a:gd name="T9" fmla="*/ 1766 h 1953"/>
                <a:gd name="T10" fmla="*/ 187 w 1970"/>
                <a:gd name="T11" fmla="*/ 968 h 1953"/>
                <a:gd name="T12" fmla="*/ 789 w 1970"/>
                <a:gd name="T13" fmla="*/ 195 h 1953"/>
                <a:gd name="T14" fmla="*/ 857 w 1970"/>
                <a:gd name="T15" fmla="*/ 81 h 1953"/>
                <a:gd name="T16" fmla="*/ 743 w 1970"/>
                <a:gd name="T17" fmla="*/ 13 h 1953"/>
                <a:gd name="T18" fmla="*/ 0 w 1970"/>
                <a:gd name="T19" fmla="*/ 968 h 1953"/>
                <a:gd name="T20" fmla="*/ 985 w 1970"/>
                <a:gd name="T21" fmla="*/ 1953 h 1953"/>
                <a:gd name="T22" fmla="*/ 1970 w 1970"/>
                <a:gd name="T23" fmla="*/ 968 h 1953"/>
                <a:gd name="T24" fmla="*/ 1227 w 1970"/>
                <a:gd name="T25" fmla="*/ 13 h 19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70" h="1953">
                  <a:moveTo>
                    <a:pt x="1227" y="13"/>
                  </a:moveTo>
                  <a:cubicBezTo>
                    <a:pt x="1177" y="0"/>
                    <a:pt x="1126" y="30"/>
                    <a:pt x="1113" y="81"/>
                  </a:cubicBezTo>
                  <a:cubicBezTo>
                    <a:pt x="1100" y="131"/>
                    <a:pt x="1130" y="182"/>
                    <a:pt x="1181" y="195"/>
                  </a:cubicBezTo>
                  <a:cubicBezTo>
                    <a:pt x="1535" y="285"/>
                    <a:pt x="1783" y="603"/>
                    <a:pt x="1783" y="968"/>
                  </a:cubicBezTo>
                  <a:cubicBezTo>
                    <a:pt x="1783" y="1408"/>
                    <a:pt x="1425" y="1766"/>
                    <a:pt x="985" y="1766"/>
                  </a:cubicBezTo>
                  <a:cubicBezTo>
                    <a:pt x="545" y="1766"/>
                    <a:pt x="187" y="1408"/>
                    <a:pt x="187" y="968"/>
                  </a:cubicBezTo>
                  <a:cubicBezTo>
                    <a:pt x="187" y="603"/>
                    <a:pt x="435" y="285"/>
                    <a:pt x="789" y="195"/>
                  </a:cubicBezTo>
                  <a:cubicBezTo>
                    <a:pt x="840" y="182"/>
                    <a:pt x="870" y="131"/>
                    <a:pt x="857" y="81"/>
                  </a:cubicBezTo>
                  <a:cubicBezTo>
                    <a:pt x="844" y="30"/>
                    <a:pt x="793" y="0"/>
                    <a:pt x="743" y="13"/>
                  </a:cubicBezTo>
                  <a:cubicBezTo>
                    <a:pt x="305" y="124"/>
                    <a:pt x="0" y="517"/>
                    <a:pt x="0" y="968"/>
                  </a:cubicBezTo>
                  <a:cubicBezTo>
                    <a:pt x="0" y="1511"/>
                    <a:pt x="442" y="1953"/>
                    <a:pt x="985" y="1953"/>
                  </a:cubicBezTo>
                  <a:cubicBezTo>
                    <a:pt x="1528" y="1953"/>
                    <a:pt x="1970" y="1511"/>
                    <a:pt x="1970" y="968"/>
                  </a:cubicBezTo>
                  <a:cubicBezTo>
                    <a:pt x="1970" y="517"/>
                    <a:pt x="1665" y="124"/>
                    <a:pt x="1227" y="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3" name="Freeform 23"/>
            <p:cNvSpPr>
              <a:spLocks noEditPoints="1"/>
            </p:cNvSpPr>
            <p:nvPr/>
          </p:nvSpPr>
          <p:spPr bwMode="auto">
            <a:xfrm>
              <a:off x="2298" y="788"/>
              <a:ext cx="3072" cy="2732"/>
            </a:xfrm>
            <a:custGeom>
              <a:avLst/>
              <a:gdLst>
                <a:gd name="T0" fmla="*/ 429 w 6400"/>
                <a:gd name="T1" fmla="*/ 0 h 5692"/>
                <a:gd name="T2" fmla="*/ 0 w 6400"/>
                <a:gd name="T3" fmla="*/ 3645 h 5692"/>
                <a:gd name="T4" fmla="*/ 840 w 6400"/>
                <a:gd name="T5" fmla="*/ 4074 h 5692"/>
                <a:gd name="T6" fmla="*/ 996 w 6400"/>
                <a:gd name="T7" fmla="*/ 4520 h 5692"/>
                <a:gd name="T8" fmla="*/ 461 w 6400"/>
                <a:gd name="T9" fmla="*/ 5481 h 5692"/>
                <a:gd name="T10" fmla="*/ 2201 w 6400"/>
                <a:gd name="T11" fmla="*/ 5692 h 5692"/>
                <a:gd name="T12" fmla="*/ 2435 w 6400"/>
                <a:gd name="T13" fmla="*/ 5692 h 5692"/>
                <a:gd name="T14" fmla="*/ 4082 w 6400"/>
                <a:gd name="T15" fmla="*/ 5656 h 5692"/>
                <a:gd name="T16" fmla="*/ 5728 w 6400"/>
                <a:gd name="T17" fmla="*/ 5692 h 5692"/>
                <a:gd name="T18" fmla="*/ 5939 w 6400"/>
                <a:gd name="T19" fmla="*/ 5055 h 5692"/>
                <a:gd name="T20" fmla="*/ 5398 w 6400"/>
                <a:gd name="T21" fmla="*/ 4520 h 5692"/>
                <a:gd name="T22" fmla="*/ 5971 w 6400"/>
                <a:gd name="T23" fmla="*/ 4074 h 5692"/>
                <a:gd name="T24" fmla="*/ 6400 w 6400"/>
                <a:gd name="T25" fmla="*/ 2256 h 5692"/>
                <a:gd name="T26" fmla="*/ 6212 w 6400"/>
                <a:gd name="T27" fmla="*/ 2256 h 5692"/>
                <a:gd name="T28" fmla="*/ 5971 w 6400"/>
                <a:gd name="T29" fmla="*/ 3886 h 5692"/>
                <a:gd name="T30" fmla="*/ 5398 w 6400"/>
                <a:gd name="T31" fmla="*/ 3699 h 5692"/>
                <a:gd name="T32" fmla="*/ 6025 w 6400"/>
                <a:gd name="T33" fmla="*/ 3605 h 5692"/>
                <a:gd name="T34" fmla="*/ 5931 w 6400"/>
                <a:gd name="T35" fmla="*/ 375 h 5692"/>
                <a:gd name="T36" fmla="*/ 375 w 6400"/>
                <a:gd name="T37" fmla="*/ 469 h 5692"/>
                <a:gd name="T38" fmla="*/ 469 w 6400"/>
                <a:gd name="T39" fmla="*/ 3699 h 5692"/>
                <a:gd name="T40" fmla="*/ 882 w 6400"/>
                <a:gd name="T41" fmla="*/ 3886 h 5692"/>
                <a:gd name="T42" fmla="*/ 188 w 6400"/>
                <a:gd name="T43" fmla="*/ 3645 h 5692"/>
                <a:gd name="T44" fmla="*/ 429 w 6400"/>
                <a:gd name="T45" fmla="*/ 188 h 5692"/>
                <a:gd name="T46" fmla="*/ 6213 w 6400"/>
                <a:gd name="T47" fmla="*/ 429 h 5692"/>
                <a:gd name="T48" fmla="*/ 6306 w 6400"/>
                <a:gd name="T49" fmla="*/ 1912 h 5692"/>
                <a:gd name="T50" fmla="*/ 6400 w 6400"/>
                <a:gd name="T51" fmla="*/ 429 h 5692"/>
                <a:gd name="T52" fmla="*/ 2225 w 6400"/>
                <a:gd name="T53" fmla="*/ 5481 h 5692"/>
                <a:gd name="T54" fmla="*/ 672 w 6400"/>
                <a:gd name="T55" fmla="*/ 5504 h 5692"/>
                <a:gd name="T56" fmla="*/ 649 w 6400"/>
                <a:gd name="T57" fmla="*/ 5055 h 5692"/>
                <a:gd name="T58" fmla="*/ 1877 w 6400"/>
                <a:gd name="T59" fmla="*/ 4707 h 5692"/>
                <a:gd name="T60" fmla="*/ 2225 w 6400"/>
                <a:gd name="T61" fmla="*/ 5481 h 5692"/>
                <a:gd name="T62" fmla="*/ 1437 w 6400"/>
                <a:gd name="T63" fmla="*/ 3699 h 5692"/>
                <a:gd name="T64" fmla="*/ 1437 w 6400"/>
                <a:gd name="T65" fmla="*/ 4520 h 5692"/>
                <a:gd name="T66" fmla="*/ 2318 w 6400"/>
                <a:gd name="T67" fmla="*/ 4752 h 5692"/>
                <a:gd name="T68" fmla="*/ 1871 w 6400"/>
                <a:gd name="T69" fmla="*/ 4520 h 5692"/>
                <a:gd name="T70" fmla="*/ 2603 w 6400"/>
                <a:gd name="T71" fmla="*/ 4074 h 5692"/>
                <a:gd name="T72" fmla="*/ 2760 w 6400"/>
                <a:gd name="T73" fmla="*/ 4520 h 5692"/>
                <a:gd name="T74" fmla="*/ 1871 w 6400"/>
                <a:gd name="T75" fmla="*/ 3699 h 5692"/>
                <a:gd name="T76" fmla="*/ 2645 w 6400"/>
                <a:gd name="T77" fmla="*/ 3886 h 5692"/>
                <a:gd name="T78" fmla="*/ 1871 w 6400"/>
                <a:gd name="T79" fmla="*/ 3699 h 5692"/>
                <a:gd name="T80" fmla="*/ 3965 w 6400"/>
                <a:gd name="T81" fmla="*/ 5504 h 5692"/>
                <a:gd name="T82" fmla="*/ 2412 w 6400"/>
                <a:gd name="T83" fmla="*/ 5481 h 5692"/>
                <a:gd name="T84" fmla="*/ 2760 w 6400"/>
                <a:gd name="T85" fmla="*/ 4707 h 5692"/>
                <a:gd name="T86" fmla="*/ 3988 w 6400"/>
                <a:gd name="T87" fmla="*/ 5055 h 5692"/>
                <a:gd name="T88" fmla="*/ 2790 w 6400"/>
                <a:gd name="T89" fmla="*/ 4109 h 5692"/>
                <a:gd name="T90" fmla="*/ 3610 w 6400"/>
                <a:gd name="T91" fmla="*/ 4109 h 5692"/>
                <a:gd name="T92" fmla="*/ 2790 w 6400"/>
                <a:gd name="T93" fmla="*/ 4109 h 5692"/>
                <a:gd name="T94" fmla="*/ 3640 w 6400"/>
                <a:gd name="T95" fmla="*/ 4520 h 5692"/>
                <a:gd name="T96" fmla="*/ 3797 w 6400"/>
                <a:gd name="T97" fmla="*/ 4074 h 5692"/>
                <a:gd name="T98" fmla="*/ 4529 w 6400"/>
                <a:gd name="T99" fmla="*/ 4520 h 5692"/>
                <a:gd name="T100" fmla="*/ 4082 w 6400"/>
                <a:gd name="T101" fmla="*/ 4752 h 5692"/>
                <a:gd name="T102" fmla="*/ 4529 w 6400"/>
                <a:gd name="T103" fmla="*/ 3699 h 5692"/>
                <a:gd name="T104" fmla="*/ 3755 w 6400"/>
                <a:gd name="T105" fmla="*/ 3886 h 5692"/>
                <a:gd name="T106" fmla="*/ 5404 w 6400"/>
                <a:gd name="T107" fmla="*/ 4707 h 5692"/>
                <a:gd name="T108" fmla="*/ 5751 w 6400"/>
                <a:gd name="T109" fmla="*/ 5481 h 5692"/>
                <a:gd name="T110" fmla="*/ 4199 w 6400"/>
                <a:gd name="T111" fmla="*/ 5504 h 5692"/>
                <a:gd name="T112" fmla="*/ 4176 w 6400"/>
                <a:gd name="T113" fmla="*/ 5055 h 5692"/>
                <a:gd name="T114" fmla="*/ 5404 w 6400"/>
                <a:gd name="T115" fmla="*/ 4707 h 5692"/>
                <a:gd name="T116" fmla="*/ 4963 w 6400"/>
                <a:gd name="T117" fmla="*/ 3699 h 5692"/>
                <a:gd name="T118" fmla="*/ 4963 w 6400"/>
                <a:gd name="T119" fmla="*/ 4520 h 5692"/>
                <a:gd name="T120" fmla="*/ 563 w 6400"/>
                <a:gd name="T121" fmla="*/ 3511 h 5692"/>
                <a:gd name="T122" fmla="*/ 5837 w 6400"/>
                <a:gd name="T123" fmla="*/ 563 h 5692"/>
                <a:gd name="T124" fmla="*/ 563 w 6400"/>
                <a:gd name="T125" fmla="*/ 3511 h 5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00" h="5692">
                  <a:moveTo>
                    <a:pt x="5971" y="0"/>
                  </a:moveTo>
                  <a:lnTo>
                    <a:pt x="429" y="0"/>
                  </a:lnTo>
                  <a:cubicBezTo>
                    <a:pt x="192" y="0"/>
                    <a:pt x="0" y="192"/>
                    <a:pt x="0" y="429"/>
                  </a:cubicBezTo>
                  <a:lnTo>
                    <a:pt x="0" y="3645"/>
                  </a:lnTo>
                  <a:cubicBezTo>
                    <a:pt x="0" y="3881"/>
                    <a:pt x="192" y="4074"/>
                    <a:pt x="429" y="4074"/>
                  </a:cubicBezTo>
                  <a:lnTo>
                    <a:pt x="840" y="4074"/>
                  </a:lnTo>
                  <a:cubicBezTo>
                    <a:pt x="830" y="4245"/>
                    <a:pt x="892" y="4403"/>
                    <a:pt x="1002" y="4520"/>
                  </a:cubicBezTo>
                  <a:lnTo>
                    <a:pt x="996" y="4520"/>
                  </a:lnTo>
                  <a:cubicBezTo>
                    <a:pt x="701" y="4520"/>
                    <a:pt x="461" y="4760"/>
                    <a:pt x="461" y="5055"/>
                  </a:cubicBezTo>
                  <a:lnTo>
                    <a:pt x="461" y="5481"/>
                  </a:lnTo>
                  <a:cubicBezTo>
                    <a:pt x="461" y="5597"/>
                    <a:pt x="556" y="5692"/>
                    <a:pt x="672" y="5692"/>
                  </a:cubicBezTo>
                  <a:lnTo>
                    <a:pt x="2201" y="5692"/>
                  </a:lnTo>
                  <a:cubicBezTo>
                    <a:pt x="2245" y="5692"/>
                    <a:pt x="2285" y="5679"/>
                    <a:pt x="2318" y="5656"/>
                  </a:cubicBezTo>
                  <a:cubicBezTo>
                    <a:pt x="2352" y="5679"/>
                    <a:pt x="2392" y="5692"/>
                    <a:pt x="2435" y="5692"/>
                  </a:cubicBezTo>
                  <a:lnTo>
                    <a:pt x="3965" y="5692"/>
                  </a:lnTo>
                  <a:cubicBezTo>
                    <a:pt x="4008" y="5692"/>
                    <a:pt x="4048" y="5679"/>
                    <a:pt x="4082" y="5656"/>
                  </a:cubicBezTo>
                  <a:cubicBezTo>
                    <a:pt x="4115" y="5679"/>
                    <a:pt x="4155" y="5692"/>
                    <a:pt x="4199" y="5692"/>
                  </a:cubicBezTo>
                  <a:lnTo>
                    <a:pt x="5728" y="5692"/>
                  </a:lnTo>
                  <a:cubicBezTo>
                    <a:pt x="5844" y="5692"/>
                    <a:pt x="5939" y="5597"/>
                    <a:pt x="5939" y="5481"/>
                  </a:cubicBezTo>
                  <a:lnTo>
                    <a:pt x="5939" y="5055"/>
                  </a:lnTo>
                  <a:cubicBezTo>
                    <a:pt x="5939" y="4760"/>
                    <a:pt x="5699" y="4520"/>
                    <a:pt x="5404" y="4520"/>
                  </a:cubicBezTo>
                  <a:lnTo>
                    <a:pt x="5398" y="4520"/>
                  </a:lnTo>
                  <a:cubicBezTo>
                    <a:pt x="5507" y="4404"/>
                    <a:pt x="5570" y="4246"/>
                    <a:pt x="5560" y="4074"/>
                  </a:cubicBezTo>
                  <a:lnTo>
                    <a:pt x="5971" y="4074"/>
                  </a:lnTo>
                  <a:cubicBezTo>
                    <a:pt x="6208" y="4074"/>
                    <a:pt x="6400" y="3881"/>
                    <a:pt x="6400" y="3645"/>
                  </a:cubicBezTo>
                  <a:lnTo>
                    <a:pt x="6400" y="2256"/>
                  </a:lnTo>
                  <a:cubicBezTo>
                    <a:pt x="6400" y="2204"/>
                    <a:pt x="6358" y="2162"/>
                    <a:pt x="6306" y="2162"/>
                  </a:cubicBezTo>
                  <a:cubicBezTo>
                    <a:pt x="6254" y="2162"/>
                    <a:pt x="6212" y="2204"/>
                    <a:pt x="6212" y="2256"/>
                  </a:cubicBezTo>
                  <a:lnTo>
                    <a:pt x="6212" y="3645"/>
                  </a:lnTo>
                  <a:cubicBezTo>
                    <a:pt x="6212" y="3778"/>
                    <a:pt x="6104" y="3886"/>
                    <a:pt x="5971" y="3886"/>
                  </a:cubicBezTo>
                  <a:lnTo>
                    <a:pt x="5518" y="3886"/>
                  </a:lnTo>
                  <a:cubicBezTo>
                    <a:pt x="5491" y="3818"/>
                    <a:pt x="5450" y="3753"/>
                    <a:pt x="5398" y="3699"/>
                  </a:cubicBezTo>
                  <a:lnTo>
                    <a:pt x="5931" y="3699"/>
                  </a:lnTo>
                  <a:cubicBezTo>
                    <a:pt x="5983" y="3699"/>
                    <a:pt x="6025" y="3657"/>
                    <a:pt x="6025" y="3605"/>
                  </a:cubicBezTo>
                  <a:lnTo>
                    <a:pt x="6025" y="469"/>
                  </a:lnTo>
                  <a:cubicBezTo>
                    <a:pt x="6025" y="417"/>
                    <a:pt x="5983" y="375"/>
                    <a:pt x="5931" y="375"/>
                  </a:cubicBezTo>
                  <a:lnTo>
                    <a:pt x="469" y="375"/>
                  </a:lnTo>
                  <a:cubicBezTo>
                    <a:pt x="417" y="375"/>
                    <a:pt x="375" y="417"/>
                    <a:pt x="375" y="469"/>
                  </a:cubicBezTo>
                  <a:lnTo>
                    <a:pt x="375" y="3605"/>
                  </a:lnTo>
                  <a:cubicBezTo>
                    <a:pt x="375" y="3657"/>
                    <a:pt x="417" y="3699"/>
                    <a:pt x="469" y="3699"/>
                  </a:cubicBezTo>
                  <a:lnTo>
                    <a:pt x="1002" y="3699"/>
                  </a:lnTo>
                  <a:cubicBezTo>
                    <a:pt x="951" y="3752"/>
                    <a:pt x="910" y="3816"/>
                    <a:pt x="882" y="3886"/>
                  </a:cubicBezTo>
                  <a:lnTo>
                    <a:pt x="429" y="3886"/>
                  </a:lnTo>
                  <a:cubicBezTo>
                    <a:pt x="296" y="3886"/>
                    <a:pt x="188" y="3778"/>
                    <a:pt x="188" y="3645"/>
                  </a:cubicBezTo>
                  <a:lnTo>
                    <a:pt x="188" y="429"/>
                  </a:lnTo>
                  <a:cubicBezTo>
                    <a:pt x="188" y="296"/>
                    <a:pt x="296" y="188"/>
                    <a:pt x="429" y="188"/>
                  </a:cubicBezTo>
                  <a:lnTo>
                    <a:pt x="5971" y="188"/>
                  </a:lnTo>
                  <a:cubicBezTo>
                    <a:pt x="6104" y="188"/>
                    <a:pt x="6213" y="296"/>
                    <a:pt x="6213" y="429"/>
                  </a:cubicBezTo>
                  <a:lnTo>
                    <a:pt x="6213" y="1818"/>
                  </a:lnTo>
                  <a:cubicBezTo>
                    <a:pt x="6213" y="1870"/>
                    <a:pt x="6254" y="1912"/>
                    <a:pt x="6306" y="1912"/>
                  </a:cubicBezTo>
                  <a:cubicBezTo>
                    <a:pt x="6358" y="1912"/>
                    <a:pt x="6400" y="1870"/>
                    <a:pt x="6400" y="1818"/>
                  </a:cubicBezTo>
                  <a:lnTo>
                    <a:pt x="6400" y="429"/>
                  </a:lnTo>
                  <a:cubicBezTo>
                    <a:pt x="6400" y="192"/>
                    <a:pt x="6208" y="0"/>
                    <a:pt x="5971" y="0"/>
                  </a:cubicBezTo>
                  <a:close/>
                  <a:moveTo>
                    <a:pt x="2225" y="5481"/>
                  </a:moveTo>
                  <a:cubicBezTo>
                    <a:pt x="2225" y="5494"/>
                    <a:pt x="2214" y="5504"/>
                    <a:pt x="2201" y="5504"/>
                  </a:cubicBezTo>
                  <a:lnTo>
                    <a:pt x="672" y="5504"/>
                  </a:lnTo>
                  <a:cubicBezTo>
                    <a:pt x="659" y="5504"/>
                    <a:pt x="649" y="5494"/>
                    <a:pt x="649" y="5481"/>
                  </a:cubicBezTo>
                  <a:lnTo>
                    <a:pt x="649" y="5055"/>
                  </a:lnTo>
                  <a:cubicBezTo>
                    <a:pt x="649" y="4863"/>
                    <a:pt x="804" y="4707"/>
                    <a:pt x="996" y="4707"/>
                  </a:cubicBezTo>
                  <a:lnTo>
                    <a:pt x="1877" y="4707"/>
                  </a:lnTo>
                  <a:cubicBezTo>
                    <a:pt x="2069" y="4707"/>
                    <a:pt x="2225" y="4863"/>
                    <a:pt x="2225" y="5055"/>
                  </a:cubicBezTo>
                  <a:lnTo>
                    <a:pt x="2225" y="5481"/>
                  </a:lnTo>
                  <a:close/>
                  <a:moveTo>
                    <a:pt x="1026" y="4109"/>
                  </a:moveTo>
                  <a:cubicBezTo>
                    <a:pt x="1026" y="3884"/>
                    <a:pt x="1209" y="3699"/>
                    <a:pt x="1437" y="3699"/>
                  </a:cubicBezTo>
                  <a:cubicBezTo>
                    <a:pt x="1663" y="3699"/>
                    <a:pt x="1847" y="3883"/>
                    <a:pt x="1847" y="4109"/>
                  </a:cubicBezTo>
                  <a:cubicBezTo>
                    <a:pt x="1847" y="4335"/>
                    <a:pt x="1663" y="4520"/>
                    <a:pt x="1437" y="4520"/>
                  </a:cubicBezTo>
                  <a:cubicBezTo>
                    <a:pt x="1210" y="4520"/>
                    <a:pt x="1026" y="4335"/>
                    <a:pt x="1026" y="4109"/>
                  </a:cubicBezTo>
                  <a:close/>
                  <a:moveTo>
                    <a:pt x="2318" y="4752"/>
                  </a:moveTo>
                  <a:cubicBezTo>
                    <a:pt x="2222" y="4612"/>
                    <a:pt x="2060" y="4520"/>
                    <a:pt x="1877" y="4520"/>
                  </a:cubicBezTo>
                  <a:lnTo>
                    <a:pt x="1871" y="4520"/>
                  </a:lnTo>
                  <a:cubicBezTo>
                    <a:pt x="1980" y="4404"/>
                    <a:pt x="2043" y="4246"/>
                    <a:pt x="2033" y="4074"/>
                  </a:cubicBezTo>
                  <a:lnTo>
                    <a:pt x="2603" y="4074"/>
                  </a:lnTo>
                  <a:cubicBezTo>
                    <a:pt x="2593" y="4245"/>
                    <a:pt x="2656" y="4404"/>
                    <a:pt x="2766" y="4520"/>
                  </a:cubicBezTo>
                  <a:lnTo>
                    <a:pt x="2760" y="4520"/>
                  </a:lnTo>
                  <a:cubicBezTo>
                    <a:pt x="2577" y="4520"/>
                    <a:pt x="2415" y="4612"/>
                    <a:pt x="2318" y="4752"/>
                  </a:cubicBezTo>
                  <a:close/>
                  <a:moveTo>
                    <a:pt x="1871" y="3699"/>
                  </a:moveTo>
                  <a:lnTo>
                    <a:pt x="2765" y="3699"/>
                  </a:lnTo>
                  <a:cubicBezTo>
                    <a:pt x="2713" y="3753"/>
                    <a:pt x="2673" y="3818"/>
                    <a:pt x="2645" y="3886"/>
                  </a:cubicBezTo>
                  <a:lnTo>
                    <a:pt x="1991" y="3886"/>
                  </a:lnTo>
                  <a:cubicBezTo>
                    <a:pt x="1963" y="3816"/>
                    <a:pt x="1922" y="3752"/>
                    <a:pt x="1871" y="3699"/>
                  </a:cubicBezTo>
                  <a:close/>
                  <a:moveTo>
                    <a:pt x="3988" y="5481"/>
                  </a:moveTo>
                  <a:cubicBezTo>
                    <a:pt x="3988" y="5494"/>
                    <a:pt x="3978" y="5504"/>
                    <a:pt x="3965" y="5504"/>
                  </a:cubicBezTo>
                  <a:lnTo>
                    <a:pt x="2435" y="5504"/>
                  </a:lnTo>
                  <a:cubicBezTo>
                    <a:pt x="2422" y="5504"/>
                    <a:pt x="2412" y="5494"/>
                    <a:pt x="2412" y="5481"/>
                  </a:cubicBezTo>
                  <a:lnTo>
                    <a:pt x="2412" y="5055"/>
                  </a:lnTo>
                  <a:cubicBezTo>
                    <a:pt x="2412" y="4863"/>
                    <a:pt x="2568" y="4707"/>
                    <a:pt x="2760" y="4707"/>
                  </a:cubicBezTo>
                  <a:lnTo>
                    <a:pt x="3640" y="4707"/>
                  </a:lnTo>
                  <a:cubicBezTo>
                    <a:pt x="3832" y="4707"/>
                    <a:pt x="3988" y="4863"/>
                    <a:pt x="3988" y="5055"/>
                  </a:cubicBezTo>
                  <a:lnTo>
                    <a:pt x="3988" y="5481"/>
                  </a:lnTo>
                  <a:close/>
                  <a:moveTo>
                    <a:pt x="2790" y="4109"/>
                  </a:moveTo>
                  <a:cubicBezTo>
                    <a:pt x="2790" y="3882"/>
                    <a:pt x="2974" y="3699"/>
                    <a:pt x="3200" y="3699"/>
                  </a:cubicBezTo>
                  <a:cubicBezTo>
                    <a:pt x="3426" y="3699"/>
                    <a:pt x="3610" y="3882"/>
                    <a:pt x="3610" y="4109"/>
                  </a:cubicBezTo>
                  <a:cubicBezTo>
                    <a:pt x="3610" y="4335"/>
                    <a:pt x="3426" y="4520"/>
                    <a:pt x="3200" y="4520"/>
                  </a:cubicBezTo>
                  <a:cubicBezTo>
                    <a:pt x="2974" y="4520"/>
                    <a:pt x="2790" y="4335"/>
                    <a:pt x="2790" y="4109"/>
                  </a:cubicBezTo>
                  <a:close/>
                  <a:moveTo>
                    <a:pt x="4082" y="4752"/>
                  </a:moveTo>
                  <a:cubicBezTo>
                    <a:pt x="3985" y="4612"/>
                    <a:pt x="3823" y="4520"/>
                    <a:pt x="3640" y="4520"/>
                  </a:cubicBezTo>
                  <a:lnTo>
                    <a:pt x="3634" y="4520"/>
                  </a:lnTo>
                  <a:cubicBezTo>
                    <a:pt x="3744" y="4404"/>
                    <a:pt x="3807" y="4246"/>
                    <a:pt x="3797" y="4074"/>
                  </a:cubicBezTo>
                  <a:lnTo>
                    <a:pt x="4367" y="4074"/>
                  </a:lnTo>
                  <a:cubicBezTo>
                    <a:pt x="4357" y="4245"/>
                    <a:pt x="4420" y="4404"/>
                    <a:pt x="4529" y="4520"/>
                  </a:cubicBezTo>
                  <a:lnTo>
                    <a:pt x="4523" y="4520"/>
                  </a:lnTo>
                  <a:cubicBezTo>
                    <a:pt x="4340" y="4520"/>
                    <a:pt x="4178" y="4612"/>
                    <a:pt x="4082" y="4752"/>
                  </a:cubicBezTo>
                  <a:close/>
                  <a:moveTo>
                    <a:pt x="3635" y="3699"/>
                  </a:moveTo>
                  <a:lnTo>
                    <a:pt x="4529" y="3699"/>
                  </a:lnTo>
                  <a:cubicBezTo>
                    <a:pt x="4476" y="3754"/>
                    <a:pt x="4436" y="3819"/>
                    <a:pt x="4409" y="3886"/>
                  </a:cubicBezTo>
                  <a:lnTo>
                    <a:pt x="3755" y="3886"/>
                  </a:lnTo>
                  <a:cubicBezTo>
                    <a:pt x="3727" y="3816"/>
                    <a:pt x="3686" y="3752"/>
                    <a:pt x="3635" y="3699"/>
                  </a:cubicBezTo>
                  <a:close/>
                  <a:moveTo>
                    <a:pt x="5404" y="4707"/>
                  </a:moveTo>
                  <a:cubicBezTo>
                    <a:pt x="5596" y="4707"/>
                    <a:pt x="5751" y="4863"/>
                    <a:pt x="5751" y="5055"/>
                  </a:cubicBezTo>
                  <a:lnTo>
                    <a:pt x="5751" y="5481"/>
                  </a:lnTo>
                  <a:cubicBezTo>
                    <a:pt x="5751" y="5494"/>
                    <a:pt x="5741" y="5504"/>
                    <a:pt x="5728" y="5504"/>
                  </a:cubicBezTo>
                  <a:lnTo>
                    <a:pt x="4199" y="5504"/>
                  </a:lnTo>
                  <a:cubicBezTo>
                    <a:pt x="4186" y="5504"/>
                    <a:pt x="4176" y="5494"/>
                    <a:pt x="4176" y="5481"/>
                  </a:cubicBezTo>
                  <a:lnTo>
                    <a:pt x="4176" y="5055"/>
                  </a:lnTo>
                  <a:cubicBezTo>
                    <a:pt x="4176" y="4863"/>
                    <a:pt x="4331" y="4707"/>
                    <a:pt x="4523" y="4707"/>
                  </a:cubicBezTo>
                  <a:lnTo>
                    <a:pt x="5404" y="4707"/>
                  </a:lnTo>
                  <a:close/>
                  <a:moveTo>
                    <a:pt x="4553" y="4109"/>
                  </a:moveTo>
                  <a:cubicBezTo>
                    <a:pt x="4553" y="3883"/>
                    <a:pt x="4737" y="3699"/>
                    <a:pt x="4963" y="3699"/>
                  </a:cubicBezTo>
                  <a:cubicBezTo>
                    <a:pt x="5190" y="3699"/>
                    <a:pt x="5374" y="3883"/>
                    <a:pt x="5374" y="4109"/>
                  </a:cubicBezTo>
                  <a:cubicBezTo>
                    <a:pt x="5374" y="4335"/>
                    <a:pt x="5190" y="4520"/>
                    <a:pt x="4963" y="4520"/>
                  </a:cubicBezTo>
                  <a:cubicBezTo>
                    <a:pt x="4737" y="4520"/>
                    <a:pt x="4553" y="4335"/>
                    <a:pt x="4553" y="4109"/>
                  </a:cubicBezTo>
                  <a:close/>
                  <a:moveTo>
                    <a:pt x="563" y="3511"/>
                  </a:moveTo>
                  <a:lnTo>
                    <a:pt x="563" y="563"/>
                  </a:lnTo>
                  <a:lnTo>
                    <a:pt x="5837" y="563"/>
                  </a:lnTo>
                  <a:lnTo>
                    <a:pt x="5837" y="3511"/>
                  </a:lnTo>
                  <a:lnTo>
                    <a:pt x="563" y="351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4076411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536FF1B-9B8D-EE4F-A943-088AE3FAD535}"/>
              </a:ext>
            </a:extLst>
          </p:cNvPr>
          <p:cNvSpPr/>
          <p:nvPr/>
        </p:nvSpPr>
        <p:spPr>
          <a:xfrm>
            <a:off x="299244" y="106170"/>
            <a:ext cx="1159351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Document Management</a:t>
            </a: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43C342B3-592E-EC45-9116-BAA5A8E6E414}"/>
              </a:ext>
            </a:extLst>
          </p:cNvPr>
          <p:cNvSpPr txBox="1"/>
          <p:nvPr/>
        </p:nvSpPr>
        <p:spPr>
          <a:xfrm>
            <a:off x="100590" y="1009140"/>
            <a:ext cx="331279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obustly distribute documents to your remote workforce and capture proof of receipt</a:t>
            </a:r>
          </a:p>
        </p:txBody>
      </p:sp>
      <p:sp>
        <p:nvSpPr>
          <p:cNvPr id="8" name="TextBox 2">
            <a:extLst>
              <a:ext uri="{FF2B5EF4-FFF2-40B4-BE49-F238E27FC236}">
                <a16:creationId xmlns:a16="http://schemas.microsoft.com/office/drawing/2014/main" id="{81464961-20D9-9F4F-91A5-2C7FDD93EC5D}"/>
              </a:ext>
            </a:extLst>
          </p:cNvPr>
          <p:cNvSpPr txBox="1"/>
          <p:nvPr/>
        </p:nvSpPr>
        <p:spPr>
          <a:xfrm>
            <a:off x="100590" y="2063070"/>
            <a:ext cx="331279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uild robust processes to streamline document signoff and acknowledgement</a:t>
            </a:r>
          </a:p>
        </p:txBody>
      </p:sp>
      <p:sp>
        <p:nvSpPr>
          <p:cNvPr id="9" name="TextBox 2">
            <a:extLst>
              <a:ext uri="{FF2B5EF4-FFF2-40B4-BE49-F238E27FC236}">
                <a16:creationId xmlns:a16="http://schemas.microsoft.com/office/drawing/2014/main" id="{49772930-0396-D44B-A2D4-50D10F866D8F}"/>
              </a:ext>
            </a:extLst>
          </p:cNvPr>
          <p:cNvSpPr txBox="1"/>
          <p:nvPr/>
        </p:nvSpPr>
        <p:spPr>
          <a:xfrm>
            <a:off x="100590" y="3117000"/>
            <a:ext cx="331279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stribute document revisions seamlessly and automatically remove previous revisions from circulation</a:t>
            </a:r>
          </a:p>
        </p:txBody>
      </p:sp>
      <p:sp>
        <p:nvSpPr>
          <p:cNvPr id="11" name="TextBox 2">
            <a:extLst>
              <a:ext uri="{FF2B5EF4-FFF2-40B4-BE49-F238E27FC236}">
                <a16:creationId xmlns:a16="http://schemas.microsoft.com/office/drawing/2014/main" id="{649B0765-5800-3048-A390-90023104A9A4}"/>
              </a:ext>
            </a:extLst>
          </p:cNvPr>
          <p:cNvSpPr txBox="1"/>
          <p:nvPr/>
        </p:nvSpPr>
        <p:spPr>
          <a:xfrm>
            <a:off x="100590" y="4170930"/>
            <a:ext cx="3312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fine document owners and schedule document review intervals as required</a:t>
            </a:r>
          </a:p>
        </p:txBody>
      </p:sp>
      <p:sp>
        <p:nvSpPr>
          <p:cNvPr id="10" name="TextBox 2">
            <a:extLst>
              <a:ext uri="{FF2B5EF4-FFF2-40B4-BE49-F238E27FC236}">
                <a16:creationId xmlns:a16="http://schemas.microsoft.com/office/drawing/2014/main" id="{5C209CF5-16F9-F548-88C9-FFBD8540A276}"/>
              </a:ext>
            </a:extLst>
          </p:cNvPr>
          <p:cNvSpPr txBox="1"/>
          <p:nvPr/>
        </p:nvSpPr>
        <p:spPr>
          <a:xfrm>
            <a:off x="100590" y="5009416"/>
            <a:ext cx="331279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apture not only the digital ink signature but also the GPS co-ordinates and a photo of the recipient at the point of signature 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4069655" y="1031019"/>
            <a:ext cx="8590215" cy="4984114"/>
            <a:chOff x="-449942" y="-1987760"/>
            <a:chExt cx="12094224" cy="7017169"/>
          </a:xfrm>
        </p:grpSpPr>
        <p:pic>
          <p:nvPicPr>
            <p:cNvPr id="17" name="Picture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49942" y="-1987760"/>
              <a:ext cx="12094224" cy="7017169"/>
            </a:xfrm>
            <a:prstGeom prst="rect">
              <a:avLst/>
            </a:prstGeom>
          </p:spPr>
        </p:pic>
        <p:pic>
          <p:nvPicPr>
            <p:cNvPr id="18" name="Picture 2">
              <a:extLst>
                <a:ext uri="{FF2B5EF4-FFF2-40B4-BE49-F238E27FC236}">
                  <a16:creationId xmlns:a16="http://schemas.microsoft.com/office/drawing/2014/main" id="{2566B5AD-B586-BE44-AE7D-1F126736B33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7991" y="-1172903"/>
              <a:ext cx="7968583" cy="3652958"/>
            </a:xfrm>
            <a:prstGeom prst="rect">
              <a:avLst/>
            </a:prstGeom>
          </p:spPr>
        </p:pic>
        <p:sp>
          <p:nvSpPr>
            <p:cNvPr id="19" name="Rectangle 18"/>
            <p:cNvSpPr/>
            <p:nvPr/>
          </p:nvSpPr>
          <p:spPr>
            <a:xfrm>
              <a:off x="1397992" y="1944914"/>
              <a:ext cx="7968582" cy="1853549"/>
            </a:xfrm>
            <a:prstGeom prst="rect">
              <a:avLst/>
            </a:prstGeom>
            <a:solidFill>
              <a:srgbClr val="F6F9F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Freeform 14">
            <a:extLst>
              <a:ext uri="{FF2B5EF4-FFF2-40B4-BE49-F238E27FC236}">
                <a16:creationId xmlns:a16="http://schemas.microsoft.com/office/drawing/2014/main" id="{21E75793-FCD7-E640-8EAC-91AB64E42A50}"/>
              </a:ext>
            </a:extLst>
          </p:cNvPr>
          <p:cNvSpPr>
            <a:spLocks/>
          </p:cNvSpPr>
          <p:nvPr/>
        </p:nvSpPr>
        <p:spPr bwMode="auto">
          <a:xfrm>
            <a:off x="3629833" y="1009140"/>
            <a:ext cx="592450" cy="74592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1" name="Freeform 14">
            <a:extLst>
              <a:ext uri="{FF2B5EF4-FFF2-40B4-BE49-F238E27FC236}">
                <a16:creationId xmlns:a16="http://schemas.microsoft.com/office/drawing/2014/main" id="{7FA54939-6B8E-1343-884C-0CE695DCF2BA}"/>
              </a:ext>
            </a:extLst>
          </p:cNvPr>
          <p:cNvSpPr>
            <a:spLocks/>
          </p:cNvSpPr>
          <p:nvPr/>
        </p:nvSpPr>
        <p:spPr bwMode="auto">
          <a:xfrm>
            <a:off x="3629833" y="4087416"/>
            <a:ext cx="592450" cy="74592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2" name="Freeform 14">
            <a:extLst>
              <a:ext uri="{FF2B5EF4-FFF2-40B4-BE49-F238E27FC236}">
                <a16:creationId xmlns:a16="http://schemas.microsoft.com/office/drawing/2014/main" id="{2DD74FE8-58A6-4F4B-8026-F603B01FC494}"/>
              </a:ext>
            </a:extLst>
          </p:cNvPr>
          <p:cNvSpPr>
            <a:spLocks/>
          </p:cNvSpPr>
          <p:nvPr/>
        </p:nvSpPr>
        <p:spPr bwMode="auto">
          <a:xfrm>
            <a:off x="3629833" y="5113508"/>
            <a:ext cx="592450" cy="74592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3" name="Freeform 14">
            <a:extLst>
              <a:ext uri="{FF2B5EF4-FFF2-40B4-BE49-F238E27FC236}">
                <a16:creationId xmlns:a16="http://schemas.microsoft.com/office/drawing/2014/main" id="{E1271759-F623-7F45-A57E-F75D5C5F1D5D}"/>
              </a:ext>
            </a:extLst>
          </p:cNvPr>
          <p:cNvSpPr>
            <a:spLocks/>
          </p:cNvSpPr>
          <p:nvPr/>
        </p:nvSpPr>
        <p:spPr bwMode="auto">
          <a:xfrm>
            <a:off x="3629833" y="2035232"/>
            <a:ext cx="592450" cy="74592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4" name="Freeform 14">
            <a:extLst>
              <a:ext uri="{FF2B5EF4-FFF2-40B4-BE49-F238E27FC236}">
                <a16:creationId xmlns:a16="http://schemas.microsoft.com/office/drawing/2014/main" id="{7D92FF7C-326D-1C49-A57F-2CE4C5F5B11B}"/>
              </a:ext>
            </a:extLst>
          </p:cNvPr>
          <p:cNvSpPr>
            <a:spLocks/>
          </p:cNvSpPr>
          <p:nvPr/>
        </p:nvSpPr>
        <p:spPr bwMode="auto">
          <a:xfrm>
            <a:off x="3629833" y="3061324"/>
            <a:ext cx="592450" cy="74592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5" name="Image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982373"/>
            <a:ext cx="1174243" cy="542252"/>
          </a:xfrm>
          <a:prstGeom prst="rect">
            <a:avLst/>
          </a:prstGeom>
        </p:spPr>
      </p:pic>
      <p:sp>
        <p:nvSpPr>
          <p:cNvPr id="26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rgbClr val="A136A0"/>
                </a:solidFill>
                <a:latin typeface="Lato Medium"/>
                <a:ea typeface="Lato Medium"/>
                <a:cs typeface="Lato Medium"/>
              </a:rPr>
              <a:t>be-safetech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.c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</a:t>
            </a:r>
            <a:r>
              <a:rPr lang="en-US" b="1" dirty="0">
                <a:solidFill>
                  <a:srgbClr val="FEC232"/>
                </a:solidFill>
                <a:latin typeface="Montserrat"/>
              </a:rPr>
              <a:t>| </a:t>
            </a:r>
            <a:fld id="{DABD2AA5-CABB-4467-8A69-C511B00C377E}" type="slidenum">
              <a:rPr lang="en-US" b="1" dirty="0" smtClean="0">
                <a:solidFill>
                  <a:srgbClr val="A136A0"/>
                </a:solidFill>
                <a:latin typeface="Montserrat"/>
              </a:rPr>
              <a:pPr algn="l" rtl="1"/>
              <a:t>17</a:t>
            </a:fld>
            <a:endParaRPr lang="en-US" b="1" dirty="0">
              <a:solidFill>
                <a:srgbClr val="A136A0"/>
              </a:solidFill>
              <a:latin typeface="Montserrat"/>
            </a:endParaRPr>
          </a:p>
        </p:txBody>
      </p:sp>
      <p:grpSp>
        <p:nvGrpSpPr>
          <p:cNvPr id="4" name="Group 4"/>
          <p:cNvGrpSpPr>
            <a:grpSpLocks noChangeAspect="1"/>
          </p:cNvGrpSpPr>
          <p:nvPr/>
        </p:nvGrpSpPr>
        <p:grpSpPr bwMode="auto">
          <a:xfrm>
            <a:off x="3733916" y="1151951"/>
            <a:ext cx="384284" cy="371475"/>
            <a:chOff x="2394" y="810"/>
            <a:chExt cx="2880" cy="2784"/>
          </a:xfrm>
          <a:solidFill>
            <a:srgbClr val="A136A0"/>
          </a:solidFill>
        </p:grpSpPr>
        <p:sp>
          <p:nvSpPr>
            <p:cNvPr id="27" name="Freeform 5"/>
            <p:cNvSpPr>
              <a:spLocks/>
            </p:cNvSpPr>
            <p:nvPr/>
          </p:nvSpPr>
          <p:spPr bwMode="auto">
            <a:xfrm>
              <a:off x="3162" y="1578"/>
              <a:ext cx="960" cy="96"/>
            </a:xfrm>
            <a:custGeom>
              <a:avLst/>
              <a:gdLst>
                <a:gd name="T0" fmla="*/ 0 w 2000"/>
                <a:gd name="T1" fmla="*/ 100 h 200"/>
                <a:gd name="T2" fmla="*/ 100 w 2000"/>
                <a:gd name="T3" fmla="*/ 200 h 200"/>
                <a:gd name="T4" fmla="*/ 1900 w 2000"/>
                <a:gd name="T5" fmla="*/ 200 h 200"/>
                <a:gd name="T6" fmla="*/ 2000 w 2000"/>
                <a:gd name="T7" fmla="*/ 100 h 200"/>
                <a:gd name="T8" fmla="*/ 1900 w 2000"/>
                <a:gd name="T9" fmla="*/ 0 h 200"/>
                <a:gd name="T10" fmla="*/ 100 w 2000"/>
                <a:gd name="T11" fmla="*/ 0 h 200"/>
                <a:gd name="T12" fmla="*/ 0 w 2000"/>
                <a:gd name="T13" fmla="*/ 1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0" h="200">
                  <a:moveTo>
                    <a:pt x="0" y="100"/>
                  </a:moveTo>
                  <a:cubicBezTo>
                    <a:pt x="0" y="155"/>
                    <a:pt x="45" y="200"/>
                    <a:pt x="100" y="200"/>
                  </a:cubicBezTo>
                  <a:lnTo>
                    <a:pt x="1900" y="200"/>
                  </a:lnTo>
                  <a:cubicBezTo>
                    <a:pt x="1955" y="200"/>
                    <a:pt x="2000" y="155"/>
                    <a:pt x="2000" y="100"/>
                  </a:cubicBezTo>
                  <a:cubicBezTo>
                    <a:pt x="2000" y="45"/>
                    <a:pt x="1955" y="0"/>
                    <a:pt x="1900" y="0"/>
                  </a:cubicBez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6"/>
            <p:cNvSpPr>
              <a:spLocks/>
            </p:cNvSpPr>
            <p:nvPr/>
          </p:nvSpPr>
          <p:spPr bwMode="auto">
            <a:xfrm>
              <a:off x="2682" y="1866"/>
              <a:ext cx="864" cy="96"/>
            </a:xfrm>
            <a:custGeom>
              <a:avLst/>
              <a:gdLst>
                <a:gd name="T0" fmla="*/ 100 w 1800"/>
                <a:gd name="T1" fmla="*/ 200 h 200"/>
                <a:gd name="T2" fmla="*/ 1700 w 1800"/>
                <a:gd name="T3" fmla="*/ 200 h 200"/>
                <a:gd name="T4" fmla="*/ 1800 w 1800"/>
                <a:gd name="T5" fmla="*/ 100 h 200"/>
                <a:gd name="T6" fmla="*/ 1700 w 1800"/>
                <a:gd name="T7" fmla="*/ 0 h 200"/>
                <a:gd name="T8" fmla="*/ 100 w 1800"/>
                <a:gd name="T9" fmla="*/ 0 h 200"/>
                <a:gd name="T10" fmla="*/ 0 w 1800"/>
                <a:gd name="T11" fmla="*/ 100 h 200"/>
                <a:gd name="T12" fmla="*/ 100 w 1800"/>
                <a:gd name="T13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0" h="200">
                  <a:moveTo>
                    <a:pt x="100" y="200"/>
                  </a:moveTo>
                  <a:lnTo>
                    <a:pt x="1700" y="200"/>
                  </a:lnTo>
                  <a:cubicBezTo>
                    <a:pt x="1755" y="200"/>
                    <a:pt x="1800" y="155"/>
                    <a:pt x="1800" y="100"/>
                  </a:cubicBezTo>
                  <a:cubicBezTo>
                    <a:pt x="1800" y="45"/>
                    <a:pt x="1755" y="0"/>
                    <a:pt x="1700" y="0"/>
                  </a:cubicBez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7"/>
            <p:cNvSpPr>
              <a:spLocks/>
            </p:cNvSpPr>
            <p:nvPr/>
          </p:nvSpPr>
          <p:spPr bwMode="auto">
            <a:xfrm>
              <a:off x="3450" y="2154"/>
              <a:ext cx="384" cy="96"/>
            </a:xfrm>
            <a:custGeom>
              <a:avLst/>
              <a:gdLst>
                <a:gd name="T0" fmla="*/ 700 w 800"/>
                <a:gd name="T1" fmla="*/ 0 h 200"/>
                <a:gd name="T2" fmla="*/ 100 w 800"/>
                <a:gd name="T3" fmla="*/ 0 h 200"/>
                <a:gd name="T4" fmla="*/ 0 w 800"/>
                <a:gd name="T5" fmla="*/ 100 h 200"/>
                <a:gd name="T6" fmla="*/ 100 w 800"/>
                <a:gd name="T7" fmla="*/ 200 h 200"/>
                <a:gd name="T8" fmla="*/ 700 w 800"/>
                <a:gd name="T9" fmla="*/ 200 h 200"/>
                <a:gd name="T10" fmla="*/ 800 w 800"/>
                <a:gd name="T11" fmla="*/ 100 h 200"/>
                <a:gd name="T12" fmla="*/ 700 w 800"/>
                <a:gd name="T13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0" h="200">
                  <a:moveTo>
                    <a:pt x="700" y="0"/>
                  </a:move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lnTo>
                    <a:pt x="700" y="200"/>
                  </a:lnTo>
                  <a:cubicBezTo>
                    <a:pt x="755" y="200"/>
                    <a:pt x="800" y="155"/>
                    <a:pt x="800" y="100"/>
                  </a:cubicBezTo>
                  <a:cubicBezTo>
                    <a:pt x="800" y="45"/>
                    <a:pt x="755" y="0"/>
                    <a:pt x="7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8"/>
            <p:cNvSpPr>
              <a:spLocks/>
            </p:cNvSpPr>
            <p:nvPr/>
          </p:nvSpPr>
          <p:spPr bwMode="auto">
            <a:xfrm>
              <a:off x="2682" y="2442"/>
              <a:ext cx="672" cy="96"/>
            </a:xfrm>
            <a:custGeom>
              <a:avLst/>
              <a:gdLst>
                <a:gd name="T0" fmla="*/ 1300 w 1400"/>
                <a:gd name="T1" fmla="*/ 0 h 200"/>
                <a:gd name="T2" fmla="*/ 100 w 1400"/>
                <a:gd name="T3" fmla="*/ 0 h 200"/>
                <a:gd name="T4" fmla="*/ 0 w 1400"/>
                <a:gd name="T5" fmla="*/ 100 h 200"/>
                <a:gd name="T6" fmla="*/ 100 w 1400"/>
                <a:gd name="T7" fmla="*/ 200 h 200"/>
                <a:gd name="T8" fmla="*/ 1300 w 1400"/>
                <a:gd name="T9" fmla="*/ 200 h 200"/>
                <a:gd name="T10" fmla="*/ 1400 w 1400"/>
                <a:gd name="T11" fmla="*/ 100 h 200"/>
                <a:gd name="T12" fmla="*/ 1300 w 1400"/>
                <a:gd name="T13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0" h="200">
                  <a:moveTo>
                    <a:pt x="1300" y="0"/>
                  </a:move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lnTo>
                    <a:pt x="1300" y="200"/>
                  </a:lnTo>
                  <a:cubicBezTo>
                    <a:pt x="1355" y="200"/>
                    <a:pt x="1400" y="155"/>
                    <a:pt x="1400" y="100"/>
                  </a:cubicBezTo>
                  <a:cubicBezTo>
                    <a:pt x="1400" y="45"/>
                    <a:pt x="1355" y="0"/>
                    <a:pt x="13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9"/>
            <p:cNvSpPr>
              <a:spLocks/>
            </p:cNvSpPr>
            <p:nvPr/>
          </p:nvSpPr>
          <p:spPr bwMode="auto">
            <a:xfrm>
              <a:off x="2682" y="1578"/>
              <a:ext cx="384" cy="96"/>
            </a:xfrm>
            <a:custGeom>
              <a:avLst/>
              <a:gdLst>
                <a:gd name="T0" fmla="*/ 100 w 800"/>
                <a:gd name="T1" fmla="*/ 200 h 200"/>
                <a:gd name="T2" fmla="*/ 700 w 800"/>
                <a:gd name="T3" fmla="*/ 200 h 200"/>
                <a:gd name="T4" fmla="*/ 800 w 800"/>
                <a:gd name="T5" fmla="*/ 100 h 200"/>
                <a:gd name="T6" fmla="*/ 700 w 800"/>
                <a:gd name="T7" fmla="*/ 0 h 200"/>
                <a:gd name="T8" fmla="*/ 100 w 800"/>
                <a:gd name="T9" fmla="*/ 0 h 200"/>
                <a:gd name="T10" fmla="*/ 0 w 800"/>
                <a:gd name="T11" fmla="*/ 100 h 200"/>
                <a:gd name="T12" fmla="*/ 100 w 800"/>
                <a:gd name="T13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0" h="200">
                  <a:moveTo>
                    <a:pt x="100" y="200"/>
                  </a:moveTo>
                  <a:lnTo>
                    <a:pt x="700" y="200"/>
                  </a:lnTo>
                  <a:cubicBezTo>
                    <a:pt x="755" y="200"/>
                    <a:pt x="800" y="155"/>
                    <a:pt x="800" y="100"/>
                  </a:cubicBezTo>
                  <a:cubicBezTo>
                    <a:pt x="800" y="45"/>
                    <a:pt x="755" y="0"/>
                    <a:pt x="700" y="0"/>
                  </a:cubicBez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10"/>
            <p:cNvSpPr>
              <a:spLocks/>
            </p:cNvSpPr>
            <p:nvPr/>
          </p:nvSpPr>
          <p:spPr bwMode="auto">
            <a:xfrm>
              <a:off x="3642" y="1866"/>
              <a:ext cx="288" cy="96"/>
            </a:xfrm>
            <a:custGeom>
              <a:avLst/>
              <a:gdLst>
                <a:gd name="T0" fmla="*/ 500 w 600"/>
                <a:gd name="T1" fmla="*/ 0 h 200"/>
                <a:gd name="T2" fmla="*/ 100 w 600"/>
                <a:gd name="T3" fmla="*/ 0 h 200"/>
                <a:gd name="T4" fmla="*/ 0 w 600"/>
                <a:gd name="T5" fmla="*/ 100 h 200"/>
                <a:gd name="T6" fmla="*/ 100 w 600"/>
                <a:gd name="T7" fmla="*/ 200 h 200"/>
                <a:gd name="T8" fmla="*/ 500 w 600"/>
                <a:gd name="T9" fmla="*/ 200 h 200"/>
                <a:gd name="T10" fmla="*/ 600 w 600"/>
                <a:gd name="T11" fmla="*/ 100 h 200"/>
                <a:gd name="T12" fmla="*/ 500 w 600"/>
                <a:gd name="T13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0" h="200">
                  <a:moveTo>
                    <a:pt x="500" y="0"/>
                  </a:move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lnTo>
                    <a:pt x="500" y="200"/>
                  </a:lnTo>
                  <a:cubicBezTo>
                    <a:pt x="555" y="200"/>
                    <a:pt x="600" y="155"/>
                    <a:pt x="600" y="100"/>
                  </a:cubicBezTo>
                  <a:cubicBezTo>
                    <a:pt x="600" y="45"/>
                    <a:pt x="555" y="0"/>
                    <a:pt x="5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11"/>
            <p:cNvSpPr>
              <a:spLocks/>
            </p:cNvSpPr>
            <p:nvPr/>
          </p:nvSpPr>
          <p:spPr bwMode="auto">
            <a:xfrm>
              <a:off x="2682" y="2154"/>
              <a:ext cx="672" cy="96"/>
            </a:xfrm>
            <a:custGeom>
              <a:avLst/>
              <a:gdLst>
                <a:gd name="T0" fmla="*/ 1300 w 1400"/>
                <a:gd name="T1" fmla="*/ 0 h 200"/>
                <a:gd name="T2" fmla="*/ 100 w 1400"/>
                <a:gd name="T3" fmla="*/ 0 h 200"/>
                <a:gd name="T4" fmla="*/ 0 w 1400"/>
                <a:gd name="T5" fmla="*/ 100 h 200"/>
                <a:gd name="T6" fmla="*/ 100 w 1400"/>
                <a:gd name="T7" fmla="*/ 200 h 200"/>
                <a:gd name="T8" fmla="*/ 1300 w 1400"/>
                <a:gd name="T9" fmla="*/ 200 h 200"/>
                <a:gd name="T10" fmla="*/ 1400 w 1400"/>
                <a:gd name="T11" fmla="*/ 100 h 200"/>
                <a:gd name="T12" fmla="*/ 1300 w 1400"/>
                <a:gd name="T13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0" h="200">
                  <a:moveTo>
                    <a:pt x="1300" y="0"/>
                  </a:move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lnTo>
                    <a:pt x="1300" y="200"/>
                  </a:lnTo>
                  <a:cubicBezTo>
                    <a:pt x="1355" y="200"/>
                    <a:pt x="1400" y="155"/>
                    <a:pt x="1400" y="100"/>
                  </a:cubicBezTo>
                  <a:cubicBezTo>
                    <a:pt x="1400" y="45"/>
                    <a:pt x="1355" y="0"/>
                    <a:pt x="13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12"/>
            <p:cNvSpPr>
              <a:spLocks/>
            </p:cNvSpPr>
            <p:nvPr/>
          </p:nvSpPr>
          <p:spPr bwMode="auto">
            <a:xfrm>
              <a:off x="2682" y="2730"/>
              <a:ext cx="384" cy="96"/>
            </a:xfrm>
            <a:custGeom>
              <a:avLst/>
              <a:gdLst>
                <a:gd name="T0" fmla="*/ 700 w 800"/>
                <a:gd name="T1" fmla="*/ 0 h 200"/>
                <a:gd name="T2" fmla="*/ 100 w 800"/>
                <a:gd name="T3" fmla="*/ 0 h 200"/>
                <a:gd name="T4" fmla="*/ 0 w 800"/>
                <a:gd name="T5" fmla="*/ 100 h 200"/>
                <a:gd name="T6" fmla="*/ 100 w 800"/>
                <a:gd name="T7" fmla="*/ 200 h 200"/>
                <a:gd name="T8" fmla="*/ 700 w 800"/>
                <a:gd name="T9" fmla="*/ 200 h 200"/>
                <a:gd name="T10" fmla="*/ 800 w 800"/>
                <a:gd name="T11" fmla="*/ 100 h 200"/>
                <a:gd name="T12" fmla="*/ 700 w 800"/>
                <a:gd name="T13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0" h="200">
                  <a:moveTo>
                    <a:pt x="700" y="0"/>
                  </a:move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lnTo>
                    <a:pt x="700" y="200"/>
                  </a:lnTo>
                  <a:cubicBezTo>
                    <a:pt x="755" y="200"/>
                    <a:pt x="800" y="155"/>
                    <a:pt x="800" y="100"/>
                  </a:cubicBezTo>
                  <a:cubicBezTo>
                    <a:pt x="800" y="45"/>
                    <a:pt x="755" y="0"/>
                    <a:pt x="7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13"/>
            <p:cNvSpPr>
              <a:spLocks/>
            </p:cNvSpPr>
            <p:nvPr/>
          </p:nvSpPr>
          <p:spPr bwMode="auto">
            <a:xfrm>
              <a:off x="2682" y="1290"/>
              <a:ext cx="672" cy="96"/>
            </a:xfrm>
            <a:custGeom>
              <a:avLst/>
              <a:gdLst>
                <a:gd name="T0" fmla="*/ 100 w 1400"/>
                <a:gd name="T1" fmla="*/ 200 h 200"/>
                <a:gd name="T2" fmla="*/ 1300 w 1400"/>
                <a:gd name="T3" fmla="*/ 200 h 200"/>
                <a:gd name="T4" fmla="*/ 1400 w 1400"/>
                <a:gd name="T5" fmla="*/ 100 h 200"/>
                <a:gd name="T6" fmla="*/ 1300 w 1400"/>
                <a:gd name="T7" fmla="*/ 0 h 200"/>
                <a:gd name="T8" fmla="*/ 100 w 1400"/>
                <a:gd name="T9" fmla="*/ 0 h 200"/>
                <a:gd name="T10" fmla="*/ 0 w 1400"/>
                <a:gd name="T11" fmla="*/ 100 h 200"/>
                <a:gd name="T12" fmla="*/ 100 w 1400"/>
                <a:gd name="T13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0" h="200">
                  <a:moveTo>
                    <a:pt x="100" y="200"/>
                  </a:moveTo>
                  <a:lnTo>
                    <a:pt x="1300" y="200"/>
                  </a:lnTo>
                  <a:cubicBezTo>
                    <a:pt x="1355" y="200"/>
                    <a:pt x="1400" y="155"/>
                    <a:pt x="1400" y="100"/>
                  </a:cubicBezTo>
                  <a:cubicBezTo>
                    <a:pt x="1400" y="45"/>
                    <a:pt x="1355" y="0"/>
                    <a:pt x="1300" y="0"/>
                  </a:cubicBez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14"/>
            <p:cNvSpPr>
              <a:spLocks/>
            </p:cNvSpPr>
            <p:nvPr/>
          </p:nvSpPr>
          <p:spPr bwMode="auto">
            <a:xfrm>
              <a:off x="3162" y="2730"/>
              <a:ext cx="192" cy="96"/>
            </a:xfrm>
            <a:custGeom>
              <a:avLst/>
              <a:gdLst>
                <a:gd name="T0" fmla="*/ 300 w 400"/>
                <a:gd name="T1" fmla="*/ 0 h 200"/>
                <a:gd name="T2" fmla="*/ 100 w 400"/>
                <a:gd name="T3" fmla="*/ 0 h 200"/>
                <a:gd name="T4" fmla="*/ 0 w 400"/>
                <a:gd name="T5" fmla="*/ 100 h 200"/>
                <a:gd name="T6" fmla="*/ 100 w 400"/>
                <a:gd name="T7" fmla="*/ 200 h 200"/>
                <a:gd name="T8" fmla="*/ 300 w 400"/>
                <a:gd name="T9" fmla="*/ 200 h 200"/>
                <a:gd name="T10" fmla="*/ 400 w 400"/>
                <a:gd name="T11" fmla="*/ 100 h 200"/>
                <a:gd name="T12" fmla="*/ 300 w 400"/>
                <a:gd name="T13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0" h="200">
                  <a:moveTo>
                    <a:pt x="300" y="0"/>
                  </a:move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lnTo>
                    <a:pt x="300" y="200"/>
                  </a:lnTo>
                  <a:cubicBezTo>
                    <a:pt x="355" y="200"/>
                    <a:pt x="400" y="155"/>
                    <a:pt x="400" y="100"/>
                  </a:cubicBezTo>
                  <a:cubicBezTo>
                    <a:pt x="400" y="45"/>
                    <a:pt x="355" y="0"/>
                    <a:pt x="3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15"/>
            <p:cNvSpPr>
              <a:spLocks noEditPoints="1"/>
            </p:cNvSpPr>
            <p:nvPr/>
          </p:nvSpPr>
          <p:spPr bwMode="auto">
            <a:xfrm>
              <a:off x="2394" y="810"/>
              <a:ext cx="2880" cy="2784"/>
            </a:xfrm>
            <a:custGeom>
              <a:avLst/>
              <a:gdLst>
                <a:gd name="T0" fmla="*/ 4200 w 6000"/>
                <a:gd name="T1" fmla="*/ 3400 h 5800"/>
                <a:gd name="T2" fmla="*/ 4700 w 6000"/>
                <a:gd name="T3" fmla="*/ 2802 h 5800"/>
                <a:gd name="T4" fmla="*/ 4865 w 6000"/>
                <a:gd name="T5" fmla="*/ 3076 h 5800"/>
                <a:gd name="T6" fmla="*/ 5565 w 6000"/>
                <a:gd name="T7" fmla="*/ 2324 h 5800"/>
                <a:gd name="T8" fmla="*/ 4700 w 6000"/>
                <a:gd name="T9" fmla="*/ 1800 h 5800"/>
                <a:gd name="T10" fmla="*/ 4200 w 6000"/>
                <a:gd name="T11" fmla="*/ 2102 h 5800"/>
                <a:gd name="T12" fmla="*/ 4171 w 6000"/>
                <a:gd name="T13" fmla="*/ 1029 h 5800"/>
                <a:gd name="T14" fmla="*/ 3100 w 6000"/>
                <a:gd name="T15" fmla="*/ 0 h 5800"/>
                <a:gd name="T16" fmla="*/ 0 w 6000"/>
                <a:gd name="T17" fmla="*/ 500 h 5800"/>
                <a:gd name="T18" fmla="*/ 500 w 6000"/>
                <a:gd name="T19" fmla="*/ 5200 h 5800"/>
                <a:gd name="T20" fmla="*/ 2400 w 6000"/>
                <a:gd name="T21" fmla="*/ 5700 h 5800"/>
                <a:gd name="T22" fmla="*/ 5900 w 6000"/>
                <a:gd name="T23" fmla="*/ 5800 h 5800"/>
                <a:gd name="T24" fmla="*/ 6000 w 6000"/>
                <a:gd name="T25" fmla="*/ 3500 h 5800"/>
                <a:gd name="T26" fmla="*/ 5648 w 6000"/>
                <a:gd name="T27" fmla="*/ 3600 h 5800"/>
                <a:gd name="T28" fmla="*/ 2752 w 6000"/>
                <a:gd name="T29" fmla="*/ 3600 h 5800"/>
                <a:gd name="T30" fmla="*/ 4800 w 6000"/>
                <a:gd name="T31" fmla="*/ 2200 h 5800"/>
                <a:gd name="T32" fmla="*/ 4900 w 6000"/>
                <a:gd name="T33" fmla="*/ 2017 h 5800"/>
                <a:gd name="T34" fmla="*/ 4900 w 6000"/>
                <a:gd name="T35" fmla="*/ 2783 h 5800"/>
                <a:gd name="T36" fmla="*/ 4800 w 6000"/>
                <a:gd name="T37" fmla="*/ 2600 h 5800"/>
                <a:gd name="T38" fmla="*/ 4800 w 6000"/>
                <a:gd name="T39" fmla="*/ 2200 h 5800"/>
                <a:gd name="T40" fmla="*/ 3859 w 6000"/>
                <a:gd name="T41" fmla="*/ 1000 h 5800"/>
                <a:gd name="T42" fmla="*/ 3200 w 6000"/>
                <a:gd name="T43" fmla="*/ 700 h 5800"/>
                <a:gd name="T44" fmla="*/ 2400 w 6000"/>
                <a:gd name="T45" fmla="*/ 3500 h 5800"/>
                <a:gd name="T46" fmla="*/ 500 w 6000"/>
                <a:gd name="T47" fmla="*/ 5000 h 5800"/>
                <a:gd name="T48" fmla="*/ 200 w 6000"/>
                <a:gd name="T49" fmla="*/ 500 h 5800"/>
                <a:gd name="T50" fmla="*/ 3000 w 6000"/>
                <a:gd name="T51" fmla="*/ 200 h 5800"/>
                <a:gd name="T52" fmla="*/ 3500 w 6000"/>
                <a:gd name="T53" fmla="*/ 1200 h 5800"/>
                <a:gd name="T54" fmla="*/ 4000 w 6000"/>
                <a:gd name="T55" fmla="*/ 2183 h 5800"/>
                <a:gd name="T56" fmla="*/ 3400 w 6000"/>
                <a:gd name="T57" fmla="*/ 2900 h 5800"/>
                <a:gd name="T58" fmla="*/ 4000 w 6000"/>
                <a:gd name="T59" fmla="*/ 2887 h 5800"/>
                <a:gd name="T60" fmla="*/ 2500 w 6000"/>
                <a:gd name="T61" fmla="*/ 3400 h 5800"/>
                <a:gd name="T62" fmla="*/ 5800 w 6000"/>
                <a:gd name="T63" fmla="*/ 5600 h 5800"/>
                <a:gd name="T64" fmla="*/ 2600 w 6000"/>
                <a:gd name="T65" fmla="*/ 3731 h 5800"/>
                <a:gd name="T66" fmla="*/ 4269 w 6000"/>
                <a:gd name="T67" fmla="*/ 5173 h 5800"/>
                <a:gd name="T68" fmla="*/ 5800 w 6000"/>
                <a:gd name="T69" fmla="*/ 5600 h 5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00" h="5800">
                  <a:moveTo>
                    <a:pt x="5900" y="3400"/>
                  </a:moveTo>
                  <a:lnTo>
                    <a:pt x="4200" y="3400"/>
                  </a:lnTo>
                  <a:lnTo>
                    <a:pt x="4200" y="2853"/>
                  </a:lnTo>
                  <a:cubicBezTo>
                    <a:pt x="4366" y="2826"/>
                    <a:pt x="4532" y="2809"/>
                    <a:pt x="4700" y="2802"/>
                  </a:cubicBezTo>
                  <a:lnTo>
                    <a:pt x="4700" y="3000"/>
                  </a:lnTo>
                  <a:cubicBezTo>
                    <a:pt x="4700" y="3085"/>
                    <a:pt x="4800" y="3132"/>
                    <a:pt x="4865" y="3076"/>
                  </a:cubicBezTo>
                  <a:lnTo>
                    <a:pt x="5565" y="2476"/>
                  </a:lnTo>
                  <a:cubicBezTo>
                    <a:pt x="5612" y="2436"/>
                    <a:pt x="5612" y="2364"/>
                    <a:pt x="5565" y="2324"/>
                  </a:cubicBezTo>
                  <a:lnTo>
                    <a:pt x="4865" y="1724"/>
                  </a:lnTo>
                  <a:cubicBezTo>
                    <a:pt x="4800" y="1668"/>
                    <a:pt x="4700" y="1715"/>
                    <a:pt x="4700" y="1800"/>
                  </a:cubicBezTo>
                  <a:lnTo>
                    <a:pt x="4700" y="2003"/>
                  </a:lnTo>
                  <a:cubicBezTo>
                    <a:pt x="4530" y="2014"/>
                    <a:pt x="4362" y="2048"/>
                    <a:pt x="4200" y="2102"/>
                  </a:cubicBezTo>
                  <a:lnTo>
                    <a:pt x="4200" y="1100"/>
                  </a:lnTo>
                  <a:cubicBezTo>
                    <a:pt x="4200" y="1073"/>
                    <a:pt x="4189" y="1048"/>
                    <a:pt x="4171" y="1029"/>
                  </a:cubicBezTo>
                  <a:lnTo>
                    <a:pt x="3171" y="29"/>
                  </a:lnTo>
                  <a:cubicBezTo>
                    <a:pt x="3152" y="11"/>
                    <a:pt x="3127" y="0"/>
                    <a:pt x="3100" y="0"/>
                  </a:cubicBezTo>
                  <a:lnTo>
                    <a:pt x="500" y="0"/>
                  </a:lnTo>
                  <a:cubicBezTo>
                    <a:pt x="224" y="0"/>
                    <a:pt x="0" y="224"/>
                    <a:pt x="0" y="500"/>
                  </a:cubicBezTo>
                  <a:lnTo>
                    <a:pt x="0" y="4700"/>
                  </a:lnTo>
                  <a:cubicBezTo>
                    <a:pt x="0" y="4976"/>
                    <a:pt x="224" y="5200"/>
                    <a:pt x="500" y="5200"/>
                  </a:cubicBezTo>
                  <a:lnTo>
                    <a:pt x="2400" y="5200"/>
                  </a:lnTo>
                  <a:lnTo>
                    <a:pt x="2400" y="5700"/>
                  </a:lnTo>
                  <a:cubicBezTo>
                    <a:pt x="2400" y="5755"/>
                    <a:pt x="2445" y="5800"/>
                    <a:pt x="2500" y="5800"/>
                  </a:cubicBezTo>
                  <a:lnTo>
                    <a:pt x="5900" y="5800"/>
                  </a:lnTo>
                  <a:cubicBezTo>
                    <a:pt x="5955" y="5800"/>
                    <a:pt x="6000" y="5755"/>
                    <a:pt x="6000" y="5700"/>
                  </a:cubicBezTo>
                  <a:lnTo>
                    <a:pt x="6000" y="3500"/>
                  </a:lnTo>
                  <a:cubicBezTo>
                    <a:pt x="6000" y="3445"/>
                    <a:pt x="5955" y="3400"/>
                    <a:pt x="5900" y="3400"/>
                  </a:cubicBezTo>
                  <a:close/>
                  <a:moveTo>
                    <a:pt x="5648" y="3600"/>
                  </a:moveTo>
                  <a:lnTo>
                    <a:pt x="4200" y="4963"/>
                  </a:lnTo>
                  <a:lnTo>
                    <a:pt x="2752" y="3600"/>
                  </a:lnTo>
                  <a:lnTo>
                    <a:pt x="5648" y="3600"/>
                  </a:lnTo>
                  <a:close/>
                  <a:moveTo>
                    <a:pt x="4800" y="2200"/>
                  </a:moveTo>
                  <a:cubicBezTo>
                    <a:pt x="4855" y="2200"/>
                    <a:pt x="4900" y="2155"/>
                    <a:pt x="4900" y="2100"/>
                  </a:cubicBezTo>
                  <a:lnTo>
                    <a:pt x="4900" y="2017"/>
                  </a:lnTo>
                  <a:lnTo>
                    <a:pt x="5346" y="2400"/>
                  </a:lnTo>
                  <a:lnTo>
                    <a:pt x="4900" y="2783"/>
                  </a:lnTo>
                  <a:lnTo>
                    <a:pt x="4900" y="2700"/>
                  </a:lnTo>
                  <a:cubicBezTo>
                    <a:pt x="4900" y="2645"/>
                    <a:pt x="4855" y="2600"/>
                    <a:pt x="4800" y="2600"/>
                  </a:cubicBezTo>
                  <a:cubicBezTo>
                    <a:pt x="4358" y="2600"/>
                    <a:pt x="3872" y="2703"/>
                    <a:pt x="3629" y="2763"/>
                  </a:cubicBezTo>
                  <a:cubicBezTo>
                    <a:pt x="3761" y="2448"/>
                    <a:pt x="4327" y="2200"/>
                    <a:pt x="4800" y="2200"/>
                  </a:cubicBezTo>
                  <a:close/>
                  <a:moveTo>
                    <a:pt x="3200" y="341"/>
                  </a:moveTo>
                  <a:lnTo>
                    <a:pt x="3859" y="1000"/>
                  </a:lnTo>
                  <a:lnTo>
                    <a:pt x="3500" y="1000"/>
                  </a:lnTo>
                  <a:cubicBezTo>
                    <a:pt x="3334" y="1000"/>
                    <a:pt x="3200" y="866"/>
                    <a:pt x="3200" y="700"/>
                  </a:cubicBezTo>
                  <a:lnTo>
                    <a:pt x="3200" y="341"/>
                  </a:lnTo>
                  <a:close/>
                  <a:moveTo>
                    <a:pt x="2400" y="3500"/>
                  </a:moveTo>
                  <a:lnTo>
                    <a:pt x="2400" y="5000"/>
                  </a:lnTo>
                  <a:lnTo>
                    <a:pt x="500" y="5000"/>
                  </a:lnTo>
                  <a:cubicBezTo>
                    <a:pt x="334" y="5000"/>
                    <a:pt x="200" y="4866"/>
                    <a:pt x="200" y="4700"/>
                  </a:cubicBezTo>
                  <a:lnTo>
                    <a:pt x="200" y="500"/>
                  </a:lnTo>
                  <a:cubicBezTo>
                    <a:pt x="200" y="334"/>
                    <a:pt x="334" y="200"/>
                    <a:pt x="500" y="200"/>
                  </a:cubicBezTo>
                  <a:lnTo>
                    <a:pt x="3000" y="200"/>
                  </a:lnTo>
                  <a:lnTo>
                    <a:pt x="3000" y="700"/>
                  </a:lnTo>
                  <a:cubicBezTo>
                    <a:pt x="3000" y="976"/>
                    <a:pt x="3224" y="1200"/>
                    <a:pt x="3500" y="1200"/>
                  </a:cubicBezTo>
                  <a:lnTo>
                    <a:pt x="4000" y="1200"/>
                  </a:lnTo>
                  <a:lnTo>
                    <a:pt x="4000" y="2183"/>
                  </a:lnTo>
                  <a:cubicBezTo>
                    <a:pt x="3957" y="2203"/>
                    <a:pt x="3915" y="2225"/>
                    <a:pt x="3875" y="2248"/>
                  </a:cubicBezTo>
                  <a:cubicBezTo>
                    <a:pt x="3569" y="2425"/>
                    <a:pt x="3400" y="2657"/>
                    <a:pt x="3400" y="2900"/>
                  </a:cubicBezTo>
                  <a:cubicBezTo>
                    <a:pt x="3400" y="2966"/>
                    <a:pt x="3464" y="3014"/>
                    <a:pt x="3528" y="2996"/>
                  </a:cubicBezTo>
                  <a:cubicBezTo>
                    <a:pt x="3531" y="2995"/>
                    <a:pt x="3729" y="2939"/>
                    <a:pt x="4000" y="2887"/>
                  </a:cubicBezTo>
                  <a:lnTo>
                    <a:pt x="4000" y="3400"/>
                  </a:lnTo>
                  <a:lnTo>
                    <a:pt x="2500" y="3400"/>
                  </a:lnTo>
                  <a:cubicBezTo>
                    <a:pt x="2445" y="3400"/>
                    <a:pt x="2400" y="3445"/>
                    <a:pt x="2400" y="3500"/>
                  </a:cubicBezTo>
                  <a:close/>
                  <a:moveTo>
                    <a:pt x="5800" y="5600"/>
                  </a:moveTo>
                  <a:lnTo>
                    <a:pt x="2600" y="5600"/>
                  </a:lnTo>
                  <a:lnTo>
                    <a:pt x="2600" y="3731"/>
                  </a:lnTo>
                  <a:lnTo>
                    <a:pt x="4131" y="5173"/>
                  </a:lnTo>
                  <a:cubicBezTo>
                    <a:pt x="4170" y="5209"/>
                    <a:pt x="4230" y="5209"/>
                    <a:pt x="4269" y="5173"/>
                  </a:cubicBezTo>
                  <a:lnTo>
                    <a:pt x="5800" y="3731"/>
                  </a:lnTo>
                  <a:lnTo>
                    <a:pt x="5800" y="56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8" name="Group 22"/>
          <p:cNvGrpSpPr>
            <a:grpSpLocks noChangeAspect="1"/>
          </p:cNvGrpSpPr>
          <p:nvPr/>
        </p:nvGrpSpPr>
        <p:grpSpPr bwMode="auto">
          <a:xfrm>
            <a:off x="3705676" y="2205771"/>
            <a:ext cx="392219" cy="392219"/>
            <a:chOff x="2400" y="720"/>
            <a:chExt cx="2880" cy="2880"/>
          </a:xfrm>
          <a:solidFill>
            <a:srgbClr val="A136A0"/>
          </a:solidFill>
        </p:grpSpPr>
        <p:sp>
          <p:nvSpPr>
            <p:cNvPr id="39" name="Freeform 23"/>
            <p:cNvSpPr>
              <a:spLocks noEditPoints="1"/>
            </p:cNvSpPr>
            <p:nvPr/>
          </p:nvSpPr>
          <p:spPr bwMode="auto">
            <a:xfrm>
              <a:off x="2400" y="720"/>
              <a:ext cx="576" cy="576"/>
            </a:xfrm>
            <a:custGeom>
              <a:avLst/>
              <a:gdLst>
                <a:gd name="T0" fmla="*/ 600 w 1200"/>
                <a:gd name="T1" fmla="*/ 0 h 1200"/>
                <a:gd name="T2" fmla="*/ 0 w 1200"/>
                <a:gd name="T3" fmla="*/ 600 h 1200"/>
                <a:gd name="T4" fmla="*/ 600 w 1200"/>
                <a:gd name="T5" fmla="*/ 1200 h 1200"/>
                <a:gd name="T6" fmla="*/ 1200 w 1200"/>
                <a:gd name="T7" fmla="*/ 600 h 1200"/>
                <a:gd name="T8" fmla="*/ 600 w 1200"/>
                <a:gd name="T9" fmla="*/ 0 h 1200"/>
                <a:gd name="T10" fmla="*/ 600 w 1200"/>
                <a:gd name="T11" fmla="*/ 1000 h 1200"/>
                <a:gd name="T12" fmla="*/ 200 w 1200"/>
                <a:gd name="T13" fmla="*/ 600 h 1200"/>
                <a:gd name="T14" fmla="*/ 600 w 1200"/>
                <a:gd name="T15" fmla="*/ 200 h 1200"/>
                <a:gd name="T16" fmla="*/ 1000 w 1200"/>
                <a:gd name="T17" fmla="*/ 600 h 1200"/>
                <a:gd name="T18" fmla="*/ 600 w 1200"/>
                <a:gd name="T19" fmla="*/ 1000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0" h="1200">
                  <a:moveTo>
                    <a:pt x="600" y="0"/>
                  </a:moveTo>
                  <a:cubicBezTo>
                    <a:pt x="269" y="0"/>
                    <a:pt x="0" y="269"/>
                    <a:pt x="0" y="600"/>
                  </a:cubicBezTo>
                  <a:cubicBezTo>
                    <a:pt x="0" y="931"/>
                    <a:pt x="269" y="1200"/>
                    <a:pt x="600" y="1200"/>
                  </a:cubicBezTo>
                  <a:cubicBezTo>
                    <a:pt x="931" y="1200"/>
                    <a:pt x="1200" y="931"/>
                    <a:pt x="1200" y="600"/>
                  </a:cubicBezTo>
                  <a:cubicBezTo>
                    <a:pt x="1200" y="269"/>
                    <a:pt x="931" y="0"/>
                    <a:pt x="600" y="0"/>
                  </a:cubicBezTo>
                  <a:close/>
                  <a:moveTo>
                    <a:pt x="600" y="1000"/>
                  </a:moveTo>
                  <a:cubicBezTo>
                    <a:pt x="379" y="1000"/>
                    <a:pt x="200" y="821"/>
                    <a:pt x="200" y="600"/>
                  </a:cubicBezTo>
                  <a:cubicBezTo>
                    <a:pt x="200" y="379"/>
                    <a:pt x="379" y="200"/>
                    <a:pt x="600" y="200"/>
                  </a:cubicBezTo>
                  <a:cubicBezTo>
                    <a:pt x="821" y="200"/>
                    <a:pt x="1000" y="379"/>
                    <a:pt x="1000" y="600"/>
                  </a:cubicBezTo>
                  <a:cubicBezTo>
                    <a:pt x="1000" y="821"/>
                    <a:pt x="821" y="1000"/>
                    <a:pt x="600" y="10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4"/>
            <p:cNvSpPr>
              <a:spLocks noEditPoints="1"/>
            </p:cNvSpPr>
            <p:nvPr/>
          </p:nvSpPr>
          <p:spPr bwMode="auto">
            <a:xfrm>
              <a:off x="4704" y="2352"/>
              <a:ext cx="576" cy="576"/>
            </a:xfrm>
            <a:custGeom>
              <a:avLst/>
              <a:gdLst>
                <a:gd name="T0" fmla="*/ 600 w 1200"/>
                <a:gd name="T1" fmla="*/ 0 h 1200"/>
                <a:gd name="T2" fmla="*/ 0 w 1200"/>
                <a:gd name="T3" fmla="*/ 600 h 1200"/>
                <a:gd name="T4" fmla="*/ 600 w 1200"/>
                <a:gd name="T5" fmla="*/ 1200 h 1200"/>
                <a:gd name="T6" fmla="*/ 1200 w 1200"/>
                <a:gd name="T7" fmla="*/ 600 h 1200"/>
                <a:gd name="T8" fmla="*/ 600 w 1200"/>
                <a:gd name="T9" fmla="*/ 0 h 1200"/>
                <a:gd name="T10" fmla="*/ 600 w 1200"/>
                <a:gd name="T11" fmla="*/ 1000 h 1200"/>
                <a:gd name="T12" fmla="*/ 200 w 1200"/>
                <a:gd name="T13" fmla="*/ 600 h 1200"/>
                <a:gd name="T14" fmla="*/ 600 w 1200"/>
                <a:gd name="T15" fmla="*/ 200 h 1200"/>
                <a:gd name="T16" fmla="*/ 1000 w 1200"/>
                <a:gd name="T17" fmla="*/ 600 h 1200"/>
                <a:gd name="T18" fmla="*/ 600 w 1200"/>
                <a:gd name="T19" fmla="*/ 1000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0" h="1200">
                  <a:moveTo>
                    <a:pt x="600" y="0"/>
                  </a:moveTo>
                  <a:cubicBezTo>
                    <a:pt x="269" y="0"/>
                    <a:pt x="0" y="269"/>
                    <a:pt x="0" y="600"/>
                  </a:cubicBezTo>
                  <a:cubicBezTo>
                    <a:pt x="0" y="931"/>
                    <a:pt x="269" y="1200"/>
                    <a:pt x="600" y="1200"/>
                  </a:cubicBezTo>
                  <a:cubicBezTo>
                    <a:pt x="931" y="1200"/>
                    <a:pt x="1200" y="931"/>
                    <a:pt x="1200" y="600"/>
                  </a:cubicBezTo>
                  <a:cubicBezTo>
                    <a:pt x="1200" y="269"/>
                    <a:pt x="931" y="0"/>
                    <a:pt x="600" y="0"/>
                  </a:cubicBezTo>
                  <a:close/>
                  <a:moveTo>
                    <a:pt x="600" y="1000"/>
                  </a:moveTo>
                  <a:cubicBezTo>
                    <a:pt x="379" y="1000"/>
                    <a:pt x="200" y="821"/>
                    <a:pt x="200" y="600"/>
                  </a:cubicBezTo>
                  <a:cubicBezTo>
                    <a:pt x="200" y="379"/>
                    <a:pt x="379" y="200"/>
                    <a:pt x="600" y="200"/>
                  </a:cubicBezTo>
                  <a:cubicBezTo>
                    <a:pt x="821" y="200"/>
                    <a:pt x="1000" y="379"/>
                    <a:pt x="1000" y="600"/>
                  </a:cubicBezTo>
                  <a:cubicBezTo>
                    <a:pt x="1000" y="821"/>
                    <a:pt x="821" y="1000"/>
                    <a:pt x="600" y="10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5"/>
            <p:cNvSpPr>
              <a:spLocks noEditPoints="1"/>
            </p:cNvSpPr>
            <p:nvPr/>
          </p:nvSpPr>
          <p:spPr bwMode="auto">
            <a:xfrm>
              <a:off x="4704" y="3024"/>
              <a:ext cx="576" cy="576"/>
            </a:xfrm>
            <a:custGeom>
              <a:avLst/>
              <a:gdLst>
                <a:gd name="T0" fmla="*/ 600 w 1200"/>
                <a:gd name="T1" fmla="*/ 0 h 1200"/>
                <a:gd name="T2" fmla="*/ 0 w 1200"/>
                <a:gd name="T3" fmla="*/ 600 h 1200"/>
                <a:gd name="T4" fmla="*/ 600 w 1200"/>
                <a:gd name="T5" fmla="*/ 1200 h 1200"/>
                <a:gd name="T6" fmla="*/ 1200 w 1200"/>
                <a:gd name="T7" fmla="*/ 600 h 1200"/>
                <a:gd name="T8" fmla="*/ 600 w 1200"/>
                <a:gd name="T9" fmla="*/ 0 h 1200"/>
                <a:gd name="T10" fmla="*/ 600 w 1200"/>
                <a:gd name="T11" fmla="*/ 1000 h 1200"/>
                <a:gd name="T12" fmla="*/ 200 w 1200"/>
                <a:gd name="T13" fmla="*/ 600 h 1200"/>
                <a:gd name="T14" fmla="*/ 600 w 1200"/>
                <a:gd name="T15" fmla="*/ 200 h 1200"/>
                <a:gd name="T16" fmla="*/ 1000 w 1200"/>
                <a:gd name="T17" fmla="*/ 600 h 1200"/>
                <a:gd name="T18" fmla="*/ 600 w 1200"/>
                <a:gd name="T19" fmla="*/ 1000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0" h="1200">
                  <a:moveTo>
                    <a:pt x="600" y="0"/>
                  </a:moveTo>
                  <a:cubicBezTo>
                    <a:pt x="269" y="0"/>
                    <a:pt x="0" y="269"/>
                    <a:pt x="0" y="600"/>
                  </a:cubicBezTo>
                  <a:cubicBezTo>
                    <a:pt x="0" y="931"/>
                    <a:pt x="269" y="1200"/>
                    <a:pt x="600" y="1200"/>
                  </a:cubicBezTo>
                  <a:cubicBezTo>
                    <a:pt x="931" y="1200"/>
                    <a:pt x="1200" y="931"/>
                    <a:pt x="1200" y="600"/>
                  </a:cubicBezTo>
                  <a:cubicBezTo>
                    <a:pt x="1200" y="269"/>
                    <a:pt x="931" y="0"/>
                    <a:pt x="600" y="0"/>
                  </a:cubicBezTo>
                  <a:close/>
                  <a:moveTo>
                    <a:pt x="600" y="1000"/>
                  </a:moveTo>
                  <a:cubicBezTo>
                    <a:pt x="379" y="1000"/>
                    <a:pt x="200" y="821"/>
                    <a:pt x="200" y="600"/>
                  </a:cubicBezTo>
                  <a:cubicBezTo>
                    <a:pt x="200" y="379"/>
                    <a:pt x="379" y="200"/>
                    <a:pt x="600" y="200"/>
                  </a:cubicBezTo>
                  <a:cubicBezTo>
                    <a:pt x="821" y="200"/>
                    <a:pt x="1000" y="379"/>
                    <a:pt x="1000" y="600"/>
                  </a:cubicBezTo>
                  <a:cubicBezTo>
                    <a:pt x="1000" y="821"/>
                    <a:pt x="821" y="1000"/>
                    <a:pt x="600" y="10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6"/>
            <p:cNvSpPr>
              <a:spLocks/>
            </p:cNvSpPr>
            <p:nvPr/>
          </p:nvSpPr>
          <p:spPr bwMode="auto">
            <a:xfrm>
              <a:off x="3072" y="830"/>
              <a:ext cx="1013" cy="356"/>
            </a:xfrm>
            <a:custGeom>
              <a:avLst/>
              <a:gdLst>
                <a:gd name="T0" fmla="*/ 2071 w 2110"/>
                <a:gd name="T1" fmla="*/ 300 h 742"/>
                <a:gd name="T2" fmla="*/ 1771 w 2110"/>
                <a:gd name="T3" fmla="*/ 0 h 742"/>
                <a:gd name="T4" fmla="*/ 1629 w 2110"/>
                <a:gd name="T5" fmla="*/ 142 h 742"/>
                <a:gd name="T6" fmla="*/ 1759 w 2110"/>
                <a:gd name="T7" fmla="*/ 271 h 742"/>
                <a:gd name="T8" fmla="*/ 0 w 2110"/>
                <a:gd name="T9" fmla="*/ 271 h 742"/>
                <a:gd name="T10" fmla="*/ 0 w 2110"/>
                <a:gd name="T11" fmla="*/ 471 h 742"/>
                <a:gd name="T12" fmla="*/ 1759 w 2110"/>
                <a:gd name="T13" fmla="*/ 471 h 742"/>
                <a:gd name="T14" fmla="*/ 1629 w 2110"/>
                <a:gd name="T15" fmla="*/ 600 h 742"/>
                <a:gd name="T16" fmla="*/ 1771 w 2110"/>
                <a:gd name="T17" fmla="*/ 742 h 742"/>
                <a:gd name="T18" fmla="*/ 2071 w 2110"/>
                <a:gd name="T19" fmla="*/ 442 h 742"/>
                <a:gd name="T20" fmla="*/ 2071 w 2110"/>
                <a:gd name="T21" fmla="*/ 300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10" h="742">
                  <a:moveTo>
                    <a:pt x="2071" y="300"/>
                  </a:moveTo>
                  <a:lnTo>
                    <a:pt x="1771" y="0"/>
                  </a:lnTo>
                  <a:lnTo>
                    <a:pt x="1629" y="142"/>
                  </a:lnTo>
                  <a:lnTo>
                    <a:pt x="1759" y="271"/>
                  </a:lnTo>
                  <a:lnTo>
                    <a:pt x="0" y="271"/>
                  </a:lnTo>
                  <a:lnTo>
                    <a:pt x="0" y="471"/>
                  </a:lnTo>
                  <a:lnTo>
                    <a:pt x="1759" y="471"/>
                  </a:lnTo>
                  <a:lnTo>
                    <a:pt x="1629" y="600"/>
                  </a:lnTo>
                  <a:lnTo>
                    <a:pt x="1771" y="742"/>
                  </a:lnTo>
                  <a:lnTo>
                    <a:pt x="2071" y="442"/>
                  </a:lnTo>
                  <a:cubicBezTo>
                    <a:pt x="2110" y="403"/>
                    <a:pt x="2110" y="339"/>
                    <a:pt x="2071" y="3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7"/>
            <p:cNvSpPr>
              <a:spLocks/>
            </p:cNvSpPr>
            <p:nvPr/>
          </p:nvSpPr>
          <p:spPr bwMode="auto">
            <a:xfrm>
              <a:off x="3451" y="1646"/>
              <a:ext cx="1013" cy="356"/>
            </a:xfrm>
            <a:custGeom>
              <a:avLst/>
              <a:gdLst>
                <a:gd name="T0" fmla="*/ 2110 w 2110"/>
                <a:gd name="T1" fmla="*/ 271 h 742"/>
                <a:gd name="T2" fmla="*/ 351 w 2110"/>
                <a:gd name="T3" fmla="*/ 271 h 742"/>
                <a:gd name="T4" fmla="*/ 481 w 2110"/>
                <a:gd name="T5" fmla="*/ 142 h 742"/>
                <a:gd name="T6" fmla="*/ 339 w 2110"/>
                <a:gd name="T7" fmla="*/ 0 h 742"/>
                <a:gd name="T8" fmla="*/ 39 w 2110"/>
                <a:gd name="T9" fmla="*/ 300 h 742"/>
                <a:gd name="T10" fmla="*/ 39 w 2110"/>
                <a:gd name="T11" fmla="*/ 442 h 742"/>
                <a:gd name="T12" fmla="*/ 339 w 2110"/>
                <a:gd name="T13" fmla="*/ 742 h 742"/>
                <a:gd name="T14" fmla="*/ 481 w 2110"/>
                <a:gd name="T15" fmla="*/ 600 h 742"/>
                <a:gd name="T16" fmla="*/ 351 w 2110"/>
                <a:gd name="T17" fmla="*/ 471 h 742"/>
                <a:gd name="T18" fmla="*/ 2110 w 2110"/>
                <a:gd name="T19" fmla="*/ 471 h 742"/>
                <a:gd name="T20" fmla="*/ 2110 w 2110"/>
                <a:gd name="T21" fmla="*/ 271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10" h="742">
                  <a:moveTo>
                    <a:pt x="2110" y="271"/>
                  </a:moveTo>
                  <a:lnTo>
                    <a:pt x="351" y="271"/>
                  </a:lnTo>
                  <a:lnTo>
                    <a:pt x="481" y="142"/>
                  </a:lnTo>
                  <a:lnTo>
                    <a:pt x="339" y="0"/>
                  </a:lnTo>
                  <a:lnTo>
                    <a:pt x="39" y="300"/>
                  </a:lnTo>
                  <a:cubicBezTo>
                    <a:pt x="0" y="339"/>
                    <a:pt x="0" y="403"/>
                    <a:pt x="39" y="442"/>
                  </a:cubicBezTo>
                  <a:lnTo>
                    <a:pt x="339" y="742"/>
                  </a:lnTo>
                  <a:lnTo>
                    <a:pt x="481" y="600"/>
                  </a:lnTo>
                  <a:lnTo>
                    <a:pt x="351" y="471"/>
                  </a:lnTo>
                  <a:lnTo>
                    <a:pt x="2110" y="471"/>
                  </a:lnTo>
                  <a:lnTo>
                    <a:pt x="2110" y="27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8"/>
            <p:cNvSpPr>
              <a:spLocks/>
            </p:cNvSpPr>
            <p:nvPr/>
          </p:nvSpPr>
          <p:spPr bwMode="auto">
            <a:xfrm>
              <a:off x="4176" y="960"/>
              <a:ext cx="1104" cy="1042"/>
            </a:xfrm>
            <a:custGeom>
              <a:avLst/>
              <a:gdLst>
                <a:gd name="T0" fmla="*/ 1350 w 2300"/>
                <a:gd name="T1" fmla="*/ 0 h 2171"/>
                <a:gd name="T2" fmla="*/ 0 w 2300"/>
                <a:gd name="T3" fmla="*/ 0 h 2171"/>
                <a:gd name="T4" fmla="*/ 0 w 2300"/>
                <a:gd name="T5" fmla="*/ 200 h 2171"/>
                <a:gd name="T6" fmla="*/ 1350 w 2300"/>
                <a:gd name="T7" fmla="*/ 200 h 2171"/>
                <a:gd name="T8" fmla="*/ 2100 w 2300"/>
                <a:gd name="T9" fmla="*/ 950 h 2171"/>
                <a:gd name="T10" fmla="*/ 1350 w 2300"/>
                <a:gd name="T11" fmla="*/ 1700 h 2171"/>
                <a:gd name="T12" fmla="*/ 1141 w 2300"/>
                <a:gd name="T13" fmla="*/ 1700 h 2171"/>
                <a:gd name="T14" fmla="*/ 1271 w 2300"/>
                <a:gd name="T15" fmla="*/ 1571 h 2171"/>
                <a:gd name="T16" fmla="*/ 1129 w 2300"/>
                <a:gd name="T17" fmla="*/ 1429 h 2171"/>
                <a:gd name="T18" fmla="*/ 829 w 2300"/>
                <a:gd name="T19" fmla="*/ 1729 h 2171"/>
                <a:gd name="T20" fmla="*/ 829 w 2300"/>
                <a:gd name="T21" fmla="*/ 1871 h 2171"/>
                <a:gd name="T22" fmla="*/ 1129 w 2300"/>
                <a:gd name="T23" fmla="*/ 2171 h 2171"/>
                <a:gd name="T24" fmla="*/ 1271 w 2300"/>
                <a:gd name="T25" fmla="*/ 2029 h 2171"/>
                <a:gd name="T26" fmla="*/ 1141 w 2300"/>
                <a:gd name="T27" fmla="*/ 1900 h 2171"/>
                <a:gd name="T28" fmla="*/ 1350 w 2300"/>
                <a:gd name="T29" fmla="*/ 1900 h 2171"/>
                <a:gd name="T30" fmla="*/ 2300 w 2300"/>
                <a:gd name="T31" fmla="*/ 950 h 2171"/>
                <a:gd name="T32" fmla="*/ 1350 w 2300"/>
                <a:gd name="T33" fmla="*/ 0 h 2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00" h="2171">
                  <a:moveTo>
                    <a:pt x="1350" y="0"/>
                  </a:moveTo>
                  <a:lnTo>
                    <a:pt x="0" y="0"/>
                  </a:lnTo>
                  <a:lnTo>
                    <a:pt x="0" y="200"/>
                  </a:lnTo>
                  <a:lnTo>
                    <a:pt x="1350" y="200"/>
                  </a:lnTo>
                  <a:cubicBezTo>
                    <a:pt x="1764" y="200"/>
                    <a:pt x="2100" y="536"/>
                    <a:pt x="2100" y="950"/>
                  </a:cubicBezTo>
                  <a:cubicBezTo>
                    <a:pt x="2100" y="1364"/>
                    <a:pt x="1764" y="1700"/>
                    <a:pt x="1350" y="1700"/>
                  </a:cubicBezTo>
                  <a:lnTo>
                    <a:pt x="1141" y="1700"/>
                  </a:lnTo>
                  <a:lnTo>
                    <a:pt x="1271" y="1571"/>
                  </a:lnTo>
                  <a:lnTo>
                    <a:pt x="1129" y="1429"/>
                  </a:lnTo>
                  <a:lnTo>
                    <a:pt x="829" y="1729"/>
                  </a:lnTo>
                  <a:cubicBezTo>
                    <a:pt x="790" y="1768"/>
                    <a:pt x="790" y="1832"/>
                    <a:pt x="829" y="1871"/>
                  </a:cubicBezTo>
                  <a:lnTo>
                    <a:pt x="1129" y="2171"/>
                  </a:lnTo>
                  <a:lnTo>
                    <a:pt x="1271" y="2029"/>
                  </a:lnTo>
                  <a:lnTo>
                    <a:pt x="1141" y="1900"/>
                  </a:lnTo>
                  <a:lnTo>
                    <a:pt x="1350" y="1900"/>
                  </a:lnTo>
                  <a:cubicBezTo>
                    <a:pt x="1874" y="1900"/>
                    <a:pt x="2300" y="1474"/>
                    <a:pt x="2300" y="950"/>
                  </a:cubicBezTo>
                  <a:cubicBezTo>
                    <a:pt x="2300" y="426"/>
                    <a:pt x="1874" y="0"/>
                    <a:pt x="135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9"/>
            <p:cNvSpPr>
              <a:spLocks/>
            </p:cNvSpPr>
            <p:nvPr/>
          </p:nvSpPr>
          <p:spPr bwMode="auto">
            <a:xfrm>
              <a:off x="3840" y="2462"/>
              <a:ext cx="773" cy="356"/>
            </a:xfrm>
            <a:custGeom>
              <a:avLst/>
              <a:gdLst>
                <a:gd name="T0" fmla="*/ 1571 w 1610"/>
                <a:gd name="T1" fmla="*/ 300 h 742"/>
                <a:gd name="T2" fmla="*/ 1271 w 1610"/>
                <a:gd name="T3" fmla="*/ 0 h 742"/>
                <a:gd name="T4" fmla="*/ 1129 w 1610"/>
                <a:gd name="T5" fmla="*/ 142 h 742"/>
                <a:gd name="T6" fmla="*/ 1259 w 1610"/>
                <a:gd name="T7" fmla="*/ 271 h 742"/>
                <a:gd name="T8" fmla="*/ 0 w 1610"/>
                <a:gd name="T9" fmla="*/ 271 h 742"/>
                <a:gd name="T10" fmla="*/ 0 w 1610"/>
                <a:gd name="T11" fmla="*/ 471 h 742"/>
                <a:gd name="T12" fmla="*/ 1259 w 1610"/>
                <a:gd name="T13" fmla="*/ 471 h 742"/>
                <a:gd name="T14" fmla="*/ 1129 w 1610"/>
                <a:gd name="T15" fmla="*/ 600 h 742"/>
                <a:gd name="T16" fmla="*/ 1271 w 1610"/>
                <a:gd name="T17" fmla="*/ 742 h 742"/>
                <a:gd name="T18" fmla="*/ 1571 w 1610"/>
                <a:gd name="T19" fmla="*/ 442 h 742"/>
                <a:gd name="T20" fmla="*/ 1571 w 1610"/>
                <a:gd name="T21" fmla="*/ 300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10" h="742">
                  <a:moveTo>
                    <a:pt x="1571" y="300"/>
                  </a:moveTo>
                  <a:lnTo>
                    <a:pt x="1271" y="0"/>
                  </a:lnTo>
                  <a:lnTo>
                    <a:pt x="1129" y="142"/>
                  </a:lnTo>
                  <a:lnTo>
                    <a:pt x="1259" y="271"/>
                  </a:lnTo>
                  <a:lnTo>
                    <a:pt x="0" y="271"/>
                  </a:lnTo>
                  <a:lnTo>
                    <a:pt x="0" y="471"/>
                  </a:lnTo>
                  <a:lnTo>
                    <a:pt x="1259" y="471"/>
                  </a:lnTo>
                  <a:lnTo>
                    <a:pt x="1129" y="600"/>
                  </a:lnTo>
                  <a:lnTo>
                    <a:pt x="1271" y="742"/>
                  </a:lnTo>
                  <a:lnTo>
                    <a:pt x="1571" y="442"/>
                  </a:lnTo>
                  <a:cubicBezTo>
                    <a:pt x="1610" y="403"/>
                    <a:pt x="1610" y="339"/>
                    <a:pt x="1571" y="3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0"/>
            <p:cNvSpPr>
              <a:spLocks/>
            </p:cNvSpPr>
            <p:nvPr/>
          </p:nvSpPr>
          <p:spPr bwMode="auto">
            <a:xfrm>
              <a:off x="2400" y="1776"/>
              <a:ext cx="2213" cy="1714"/>
            </a:xfrm>
            <a:custGeom>
              <a:avLst/>
              <a:gdLst>
                <a:gd name="T0" fmla="*/ 4571 w 4610"/>
                <a:gd name="T1" fmla="*/ 3129 h 3571"/>
                <a:gd name="T2" fmla="*/ 4271 w 4610"/>
                <a:gd name="T3" fmla="*/ 2829 h 3571"/>
                <a:gd name="T4" fmla="*/ 4129 w 4610"/>
                <a:gd name="T5" fmla="*/ 2971 h 3571"/>
                <a:gd name="T6" fmla="*/ 4259 w 4610"/>
                <a:gd name="T7" fmla="*/ 3100 h 3571"/>
                <a:gd name="T8" fmla="*/ 2600 w 4610"/>
                <a:gd name="T9" fmla="*/ 3100 h 3571"/>
                <a:gd name="T10" fmla="*/ 2000 w 4610"/>
                <a:gd name="T11" fmla="*/ 2500 h 3571"/>
                <a:gd name="T12" fmla="*/ 1727 w 4610"/>
                <a:gd name="T13" fmla="*/ 1900 h 3571"/>
                <a:gd name="T14" fmla="*/ 2459 w 4610"/>
                <a:gd name="T15" fmla="*/ 1900 h 3571"/>
                <a:gd name="T16" fmla="*/ 2329 w 4610"/>
                <a:gd name="T17" fmla="*/ 2029 h 3571"/>
                <a:gd name="T18" fmla="*/ 2471 w 4610"/>
                <a:gd name="T19" fmla="*/ 2171 h 3571"/>
                <a:gd name="T20" fmla="*/ 2771 w 4610"/>
                <a:gd name="T21" fmla="*/ 1871 h 3571"/>
                <a:gd name="T22" fmla="*/ 2771 w 4610"/>
                <a:gd name="T23" fmla="*/ 1729 h 3571"/>
                <a:gd name="T24" fmla="*/ 2471 w 4610"/>
                <a:gd name="T25" fmla="*/ 1429 h 3571"/>
                <a:gd name="T26" fmla="*/ 2329 w 4610"/>
                <a:gd name="T27" fmla="*/ 1571 h 3571"/>
                <a:gd name="T28" fmla="*/ 2459 w 4610"/>
                <a:gd name="T29" fmla="*/ 1700 h 3571"/>
                <a:gd name="T30" fmla="*/ 1200 w 4610"/>
                <a:gd name="T31" fmla="*/ 1700 h 3571"/>
                <a:gd name="T32" fmla="*/ 1100 w 4610"/>
                <a:gd name="T33" fmla="*/ 1700 h 3571"/>
                <a:gd name="T34" fmla="*/ 950 w 4610"/>
                <a:gd name="T35" fmla="*/ 1700 h 3571"/>
                <a:gd name="T36" fmla="*/ 200 w 4610"/>
                <a:gd name="T37" fmla="*/ 950 h 3571"/>
                <a:gd name="T38" fmla="*/ 950 w 4610"/>
                <a:gd name="T39" fmla="*/ 200 h 3571"/>
                <a:gd name="T40" fmla="*/ 2000 w 4610"/>
                <a:gd name="T41" fmla="*/ 200 h 3571"/>
                <a:gd name="T42" fmla="*/ 2000 w 4610"/>
                <a:gd name="T43" fmla="*/ 0 h 3571"/>
                <a:gd name="T44" fmla="*/ 950 w 4610"/>
                <a:gd name="T45" fmla="*/ 0 h 3571"/>
                <a:gd name="T46" fmla="*/ 0 w 4610"/>
                <a:gd name="T47" fmla="*/ 950 h 3571"/>
                <a:gd name="T48" fmla="*/ 950 w 4610"/>
                <a:gd name="T49" fmla="*/ 1900 h 3571"/>
                <a:gd name="T50" fmla="*/ 1100 w 4610"/>
                <a:gd name="T51" fmla="*/ 1900 h 3571"/>
                <a:gd name="T52" fmla="*/ 1200 w 4610"/>
                <a:gd name="T53" fmla="*/ 1900 h 3571"/>
                <a:gd name="T54" fmla="*/ 1800 w 4610"/>
                <a:gd name="T55" fmla="*/ 2500 h 3571"/>
                <a:gd name="T56" fmla="*/ 2600 w 4610"/>
                <a:gd name="T57" fmla="*/ 3300 h 3571"/>
                <a:gd name="T58" fmla="*/ 4259 w 4610"/>
                <a:gd name="T59" fmla="*/ 3300 h 3571"/>
                <a:gd name="T60" fmla="*/ 4129 w 4610"/>
                <a:gd name="T61" fmla="*/ 3429 h 3571"/>
                <a:gd name="T62" fmla="*/ 4271 w 4610"/>
                <a:gd name="T63" fmla="*/ 3571 h 3571"/>
                <a:gd name="T64" fmla="*/ 4571 w 4610"/>
                <a:gd name="T65" fmla="*/ 3271 h 3571"/>
                <a:gd name="T66" fmla="*/ 4571 w 4610"/>
                <a:gd name="T67" fmla="*/ 3129 h 3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610" h="3571">
                  <a:moveTo>
                    <a:pt x="4571" y="3129"/>
                  </a:moveTo>
                  <a:lnTo>
                    <a:pt x="4271" y="2829"/>
                  </a:lnTo>
                  <a:lnTo>
                    <a:pt x="4129" y="2971"/>
                  </a:lnTo>
                  <a:lnTo>
                    <a:pt x="4259" y="3100"/>
                  </a:lnTo>
                  <a:lnTo>
                    <a:pt x="2600" y="3100"/>
                  </a:lnTo>
                  <a:cubicBezTo>
                    <a:pt x="2269" y="3100"/>
                    <a:pt x="2000" y="2831"/>
                    <a:pt x="2000" y="2500"/>
                  </a:cubicBezTo>
                  <a:cubicBezTo>
                    <a:pt x="2000" y="2261"/>
                    <a:pt x="1894" y="2047"/>
                    <a:pt x="1727" y="1900"/>
                  </a:cubicBezTo>
                  <a:lnTo>
                    <a:pt x="2459" y="1900"/>
                  </a:lnTo>
                  <a:lnTo>
                    <a:pt x="2329" y="2029"/>
                  </a:lnTo>
                  <a:lnTo>
                    <a:pt x="2471" y="2171"/>
                  </a:lnTo>
                  <a:lnTo>
                    <a:pt x="2771" y="1871"/>
                  </a:lnTo>
                  <a:cubicBezTo>
                    <a:pt x="2810" y="1832"/>
                    <a:pt x="2810" y="1768"/>
                    <a:pt x="2771" y="1729"/>
                  </a:cubicBezTo>
                  <a:lnTo>
                    <a:pt x="2471" y="1429"/>
                  </a:lnTo>
                  <a:lnTo>
                    <a:pt x="2329" y="1571"/>
                  </a:lnTo>
                  <a:lnTo>
                    <a:pt x="2459" y="1700"/>
                  </a:lnTo>
                  <a:lnTo>
                    <a:pt x="1200" y="1700"/>
                  </a:lnTo>
                  <a:lnTo>
                    <a:pt x="1100" y="1700"/>
                  </a:lnTo>
                  <a:lnTo>
                    <a:pt x="950" y="1700"/>
                  </a:lnTo>
                  <a:cubicBezTo>
                    <a:pt x="536" y="1700"/>
                    <a:pt x="200" y="1364"/>
                    <a:pt x="200" y="950"/>
                  </a:cubicBezTo>
                  <a:cubicBezTo>
                    <a:pt x="200" y="536"/>
                    <a:pt x="536" y="200"/>
                    <a:pt x="950" y="200"/>
                  </a:cubicBezTo>
                  <a:lnTo>
                    <a:pt x="2000" y="200"/>
                  </a:lnTo>
                  <a:lnTo>
                    <a:pt x="2000" y="0"/>
                  </a:lnTo>
                  <a:lnTo>
                    <a:pt x="950" y="0"/>
                  </a:lnTo>
                  <a:cubicBezTo>
                    <a:pt x="426" y="0"/>
                    <a:pt x="0" y="426"/>
                    <a:pt x="0" y="950"/>
                  </a:cubicBezTo>
                  <a:cubicBezTo>
                    <a:pt x="0" y="1474"/>
                    <a:pt x="426" y="1900"/>
                    <a:pt x="950" y="1900"/>
                  </a:cubicBezTo>
                  <a:lnTo>
                    <a:pt x="1100" y="1900"/>
                  </a:lnTo>
                  <a:lnTo>
                    <a:pt x="1200" y="1900"/>
                  </a:lnTo>
                  <a:cubicBezTo>
                    <a:pt x="1531" y="1900"/>
                    <a:pt x="1800" y="2169"/>
                    <a:pt x="1800" y="2500"/>
                  </a:cubicBezTo>
                  <a:cubicBezTo>
                    <a:pt x="1800" y="2941"/>
                    <a:pt x="2159" y="3300"/>
                    <a:pt x="2600" y="3300"/>
                  </a:cubicBezTo>
                  <a:lnTo>
                    <a:pt x="4259" y="3300"/>
                  </a:lnTo>
                  <a:lnTo>
                    <a:pt x="4129" y="3429"/>
                  </a:lnTo>
                  <a:lnTo>
                    <a:pt x="4271" y="3571"/>
                  </a:lnTo>
                  <a:lnTo>
                    <a:pt x="4571" y="3271"/>
                  </a:lnTo>
                  <a:cubicBezTo>
                    <a:pt x="4610" y="3232"/>
                    <a:pt x="4610" y="3168"/>
                    <a:pt x="4571" y="312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31"/>
            <p:cNvSpPr>
              <a:spLocks noChangeArrowheads="1"/>
            </p:cNvSpPr>
            <p:nvPr/>
          </p:nvSpPr>
          <p:spPr bwMode="auto">
            <a:xfrm>
              <a:off x="3024" y="3024"/>
              <a:ext cx="96" cy="9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Rectangle 32"/>
            <p:cNvSpPr>
              <a:spLocks noChangeArrowheads="1"/>
            </p:cNvSpPr>
            <p:nvPr/>
          </p:nvSpPr>
          <p:spPr bwMode="auto">
            <a:xfrm>
              <a:off x="2832" y="3024"/>
              <a:ext cx="96" cy="9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33"/>
            <p:cNvSpPr>
              <a:spLocks noChangeArrowheads="1"/>
            </p:cNvSpPr>
            <p:nvPr/>
          </p:nvSpPr>
          <p:spPr bwMode="auto">
            <a:xfrm>
              <a:off x="2640" y="3024"/>
              <a:ext cx="96" cy="9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" name="Group 18"/>
          <p:cNvGrpSpPr>
            <a:grpSpLocks noChangeAspect="1"/>
          </p:cNvGrpSpPr>
          <p:nvPr/>
        </p:nvGrpSpPr>
        <p:grpSpPr bwMode="auto">
          <a:xfrm>
            <a:off x="3727320" y="3200218"/>
            <a:ext cx="412750" cy="417335"/>
            <a:chOff x="1812" y="108"/>
            <a:chExt cx="4051" cy="4096"/>
          </a:xfrm>
          <a:solidFill>
            <a:srgbClr val="A136A0"/>
          </a:solidFill>
        </p:grpSpPr>
        <p:sp>
          <p:nvSpPr>
            <p:cNvPr id="53" name="Freeform 19"/>
            <p:cNvSpPr>
              <a:spLocks noEditPoints="1"/>
            </p:cNvSpPr>
            <p:nvPr/>
          </p:nvSpPr>
          <p:spPr bwMode="auto">
            <a:xfrm>
              <a:off x="1990" y="108"/>
              <a:ext cx="3873" cy="4096"/>
            </a:xfrm>
            <a:custGeom>
              <a:avLst/>
              <a:gdLst>
                <a:gd name="T0" fmla="*/ 8042 w 8070"/>
                <a:gd name="T1" fmla="*/ 4744 h 8533"/>
                <a:gd name="T2" fmla="*/ 8049 w 8070"/>
                <a:gd name="T3" fmla="*/ 4732 h 8533"/>
                <a:gd name="T4" fmla="*/ 8056 w 8070"/>
                <a:gd name="T5" fmla="*/ 4718 h 8533"/>
                <a:gd name="T6" fmla="*/ 8062 w 8070"/>
                <a:gd name="T7" fmla="*/ 4701 h 8533"/>
                <a:gd name="T8" fmla="*/ 8066 w 8070"/>
                <a:gd name="T9" fmla="*/ 4686 h 8533"/>
                <a:gd name="T10" fmla="*/ 8068 w 8070"/>
                <a:gd name="T11" fmla="*/ 4671 h 8533"/>
                <a:gd name="T12" fmla="*/ 8070 w 8070"/>
                <a:gd name="T13" fmla="*/ 4652 h 8533"/>
                <a:gd name="T14" fmla="*/ 8069 w 8070"/>
                <a:gd name="T15" fmla="*/ 2645 h 8533"/>
                <a:gd name="T16" fmla="*/ 8067 w 8070"/>
                <a:gd name="T17" fmla="*/ 2630 h 8533"/>
                <a:gd name="T18" fmla="*/ 8063 w 8070"/>
                <a:gd name="T19" fmla="*/ 2612 h 8533"/>
                <a:gd name="T20" fmla="*/ 8057 w 8070"/>
                <a:gd name="T21" fmla="*/ 2598 h 8533"/>
                <a:gd name="T22" fmla="*/ 8051 w 8070"/>
                <a:gd name="T23" fmla="*/ 2584 h 8533"/>
                <a:gd name="T24" fmla="*/ 8042 w 8070"/>
                <a:gd name="T25" fmla="*/ 2568 h 8533"/>
                <a:gd name="T26" fmla="*/ 8033 w 8070"/>
                <a:gd name="T27" fmla="*/ 2556 h 8533"/>
                <a:gd name="T28" fmla="*/ 8023 w 8070"/>
                <a:gd name="T29" fmla="*/ 2544 h 8533"/>
                <a:gd name="T30" fmla="*/ 5527 w 8070"/>
                <a:gd name="T31" fmla="*/ 49 h 8533"/>
                <a:gd name="T32" fmla="*/ 5292 w 8070"/>
                <a:gd name="T33" fmla="*/ 49 h 8533"/>
                <a:gd name="T34" fmla="*/ 1355 w 8070"/>
                <a:gd name="T35" fmla="*/ 2973 h 8533"/>
                <a:gd name="T36" fmla="*/ 1355 w 8070"/>
                <a:gd name="T37" fmla="*/ 3307 h 8533"/>
                <a:gd name="T38" fmla="*/ 1113 w 8070"/>
                <a:gd name="T39" fmla="*/ 4228 h 8533"/>
                <a:gd name="T40" fmla="*/ 0 w 8070"/>
                <a:gd name="T41" fmla="*/ 4394 h 8533"/>
                <a:gd name="T42" fmla="*/ 779 w 8070"/>
                <a:gd name="T43" fmla="*/ 4561 h 8533"/>
                <a:gd name="T44" fmla="*/ 581 w 8070"/>
                <a:gd name="T45" fmla="*/ 4995 h 8533"/>
                <a:gd name="T46" fmla="*/ 462 w 8070"/>
                <a:gd name="T47" fmla="*/ 5482 h 8533"/>
                <a:gd name="T48" fmla="*/ 462 w 8070"/>
                <a:gd name="T49" fmla="*/ 5816 h 8533"/>
                <a:gd name="T50" fmla="*/ 2323 w 8070"/>
                <a:gd name="T51" fmla="*/ 6737 h 8533"/>
                <a:gd name="T52" fmla="*/ 1189 w 8070"/>
                <a:gd name="T53" fmla="*/ 6903 h 8533"/>
                <a:gd name="T54" fmla="*/ 2656 w 8070"/>
                <a:gd name="T55" fmla="*/ 7070 h 8533"/>
                <a:gd name="T56" fmla="*/ 4188 w 8070"/>
                <a:gd name="T57" fmla="*/ 8533 h 8533"/>
                <a:gd name="T58" fmla="*/ 8021 w 8070"/>
                <a:gd name="T59" fmla="*/ 4770 h 8533"/>
                <a:gd name="T60" fmla="*/ 8030 w 8070"/>
                <a:gd name="T61" fmla="*/ 4760 h 8533"/>
                <a:gd name="T62" fmla="*/ 7143 w 8070"/>
                <a:gd name="T63" fmla="*/ 3656 h 8533"/>
                <a:gd name="T64" fmla="*/ 7736 w 8070"/>
                <a:gd name="T65" fmla="*/ 4250 h 8533"/>
                <a:gd name="T66" fmla="*/ 4188 w 8070"/>
                <a:gd name="T67" fmla="*/ 8131 h 8533"/>
                <a:gd name="T68" fmla="*/ 3634 w 8070"/>
                <a:gd name="T69" fmla="*/ 7070 h 8533"/>
                <a:gd name="T70" fmla="*/ 3634 w 8070"/>
                <a:gd name="T71" fmla="*/ 6737 h 8533"/>
                <a:gd name="T72" fmla="*/ 1873 w 8070"/>
                <a:gd name="T73" fmla="*/ 5816 h 8533"/>
                <a:gd name="T74" fmla="*/ 2463 w 8070"/>
                <a:gd name="T75" fmla="*/ 5649 h 8533"/>
                <a:gd name="T76" fmla="*/ 1539 w 8070"/>
                <a:gd name="T77" fmla="*/ 5482 h 8533"/>
                <a:gd name="T78" fmla="*/ 1251 w 8070"/>
                <a:gd name="T79" fmla="*/ 4561 h 8533"/>
                <a:gd name="T80" fmla="*/ 3206 w 8070"/>
                <a:gd name="T81" fmla="*/ 4394 h 8533"/>
                <a:gd name="T82" fmla="*/ 1584 w 8070"/>
                <a:gd name="T83" fmla="*/ 4228 h 8533"/>
                <a:gd name="T84" fmla="*/ 4500 w 8070"/>
                <a:gd name="T85" fmla="*/ 3307 h 8533"/>
                <a:gd name="T86" fmla="*/ 4500 w 8070"/>
                <a:gd name="T87" fmla="*/ 2973 h 8533"/>
                <a:gd name="T88" fmla="*/ 5410 w 8070"/>
                <a:gd name="T89" fmla="*/ 402 h 8533"/>
                <a:gd name="T90" fmla="*/ 6789 w 8070"/>
                <a:gd name="T91" fmla="*/ 3538 h 8533"/>
                <a:gd name="T92" fmla="*/ 7667 w 8070"/>
                <a:gd name="T93" fmla="*/ 4652 h 8533"/>
                <a:gd name="T94" fmla="*/ 4188 w 8070"/>
                <a:gd name="T95" fmla="*/ 8131 h 8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070" h="8533">
                  <a:moveTo>
                    <a:pt x="8033" y="4756"/>
                  </a:moveTo>
                  <a:cubicBezTo>
                    <a:pt x="8036" y="4752"/>
                    <a:pt x="8039" y="4749"/>
                    <a:pt x="8042" y="4744"/>
                  </a:cubicBezTo>
                  <a:cubicBezTo>
                    <a:pt x="8042" y="4744"/>
                    <a:pt x="8042" y="4744"/>
                    <a:pt x="8042" y="4744"/>
                  </a:cubicBezTo>
                  <a:cubicBezTo>
                    <a:pt x="8044" y="4740"/>
                    <a:pt x="8047" y="4736"/>
                    <a:pt x="8049" y="4732"/>
                  </a:cubicBezTo>
                  <a:cubicBezTo>
                    <a:pt x="8050" y="4731"/>
                    <a:pt x="8050" y="4729"/>
                    <a:pt x="8051" y="4728"/>
                  </a:cubicBezTo>
                  <a:cubicBezTo>
                    <a:pt x="8053" y="4725"/>
                    <a:pt x="8054" y="4721"/>
                    <a:pt x="8056" y="4718"/>
                  </a:cubicBezTo>
                  <a:cubicBezTo>
                    <a:pt x="8056" y="4717"/>
                    <a:pt x="8057" y="4716"/>
                    <a:pt x="8057" y="4714"/>
                  </a:cubicBezTo>
                  <a:cubicBezTo>
                    <a:pt x="8059" y="4710"/>
                    <a:pt x="8061" y="4705"/>
                    <a:pt x="8062" y="4701"/>
                  </a:cubicBezTo>
                  <a:cubicBezTo>
                    <a:pt x="8062" y="4700"/>
                    <a:pt x="8062" y="4700"/>
                    <a:pt x="8063" y="4700"/>
                  </a:cubicBezTo>
                  <a:cubicBezTo>
                    <a:pt x="8064" y="4695"/>
                    <a:pt x="8065" y="4691"/>
                    <a:pt x="8066" y="4686"/>
                  </a:cubicBezTo>
                  <a:cubicBezTo>
                    <a:pt x="8066" y="4685"/>
                    <a:pt x="8067" y="4683"/>
                    <a:pt x="8067" y="4682"/>
                  </a:cubicBezTo>
                  <a:cubicBezTo>
                    <a:pt x="8067" y="4678"/>
                    <a:pt x="8068" y="4675"/>
                    <a:pt x="8068" y="4671"/>
                  </a:cubicBezTo>
                  <a:cubicBezTo>
                    <a:pt x="8069" y="4670"/>
                    <a:pt x="8069" y="4668"/>
                    <a:pt x="8069" y="4667"/>
                  </a:cubicBezTo>
                  <a:cubicBezTo>
                    <a:pt x="8069" y="4662"/>
                    <a:pt x="8070" y="4657"/>
                    <a:pt x="8070" y="4652"/>
                  </a:cubicBezTo>
                  <a:lnTo>
                    <a:pt x="8070" y="2660"/>
                  </a:lnTo>
                  <a:cubicBezTo>
                    <a:pt x="8070" y="2655"/>
                    <a:pt x="8069" y="2650"/>
                    <a:pt x="8069" y="2645"/>
                  </a:cubicBezTo>
                  <a:cubicBezTo>
                    <a:pt x="8069" y="2644"/>
                    <a:pt x="8069" y="2642"/>
                    <a:pt x="8068" y="2641"/>
                  </a:cubicBezTo>
                  <a:cubicBezTo>
                    <a:pt x="8068" y="2637"/>
                    <a:pt x="8067" y="2634"/>
                    <a:pt x="8067" y="2630"/>
                  </a:cubicBezTo>
                  <a:cubicBezTo>
                    <a:pt x="8067" y="2629"/>
                    <a:pt x="8066" y="2627"/>
                    <a:pt x="8066" y="2626"/>
                  </a:cubicBezTo>
                  <a:cubicBezTo>
                    <a:pt x="8065" y="2621"/>
                    <a:pt x="8064" y="2617"/>
                    <a:pt x="8063" y="2612"/>
                  </a:cubicBezTo>
                  <a:cubicBezTo>
                    <a:pt x="8062" y="2612"/>
                    <a:pt x="8062" y="2612"/>
                    <a:pt x="8062" y="2612"/>
                  </a:cubicBezTo>
                  <a:cubicBezTo>
                    <a:pt x="8061" y="2607"/>
                    <a:pt x="8059" y="2602"/>
                    <a:pt x="8057" y="2598"/>
                  </a:cubicBezTo>
                  <a:cubicBezTo>
                    <a:pt x="8057" y="2596"/>
                    <a:pt x="8056" y="2595"/>
                    <a:pt x="8056" y="2594"/>
                  </a:cubicBezTo>
                  <a:cubicBezTo>
                    <a:pt x="8054" y="2591"/>
                    <a:pt x="8053" y="2587"/>
                    <a:pt x="8051" y="2584"/>
                  </a:cubicBezTo>
                  <a:cubicBezTo>
                    <a:pt x="8050" y="2583"/>
                    <a:pt x="8050" y="2581"/>
                    <a:pt x="8049" y="2580"/>
                  </a:cubicBezTo>
                  <a:cubicBezTo>
                    <a:pt x="8047" y="2576"/>
                    <a:pt x="8044" y="2572"/>
                    <a:pt x="8042" y="2568"/>
                  </a:cubicBezTo>
                  <a:cubicBezTo>
                    <a:pt x="8042" y="2568"/>
                    <a:pt x="8042" y="2568"/>
                    <a:pt x="8042" y="2568"/>
                  </a:cubicBezTo>
                  <a:cubicBezTo>
                    <a:pt x="8039" y="2563"/>
                    <a:pt x="8036" y="2560"/>
                    <a:pt x="8033" y="2556"/>
                  </a:cubicBezTo>
                  <a:cubicBezTo>
                    <a:pt x="8032" y="2555"/>
                    <a:pt x="8031" y="2554"/>
                    <a:pt x="8030" y="2552"/>
                  </a:cubicBezTo>
                  <a:cubicBezTo>
                    <a:pt x="8028" y="2550"/>
                    <a:pt x="8025" y="2547"/>
                    <a:pt x="8023" y="2544"/>
                  </a:cubicBezTo>
                  <a:cubicBezTo>
                    <a:pt x="8022" y="2544"/>
                    <a:pt x="8021" y="2543"/>
                    <a:pt x="8021" y="2542"/>
                  </a:cubicBezTo>
                  <a:lnTo>
                    <a:pt x="5527" y="49"/>
                  </a:lnTo>
                  <a:cubicBezTo>
                    <a:pt x="5496" y="18"/>
                    <a:pt x="5454" y="0"/>
                    <a:pt x="5409" y="0"/>
                  </a:cubicBezTo>
                  <a:cubicBezTo>
                    <a:pt x="5365" y="0"/>
                    <a:pt x="5323" y="18"/>
                    <a:pt x="5292" y="49"/>
                  </a:cubicBezTo>
                  <a:lnTo>
                    <a:pt x="2367" y="2973"/>
                  </a:lnTo>
                  <a:lnTo>
                    <a:pt x="1355" y="2973"/>
                  </a:lnTo>
                  <a:cubicBezTo>
                    <a:pt x="1263" y="2973"/>
                    <a:pt x="1189" y="3048"/>
                    <a:pt x="1189" y="3140"/>
                  </a:cubicBezTo>
                  <a:cubicBezTo>
                    <a:pt x="1189" y="3232"/>
                    <a:pt x="1263" y="3307"/>
                    <a:pt x="1355" y="3307"/>
                  </a:cubicBezTo>
                  <a:lnTo>
                    <a:pt x="2034" y="3307"/>
                  </a:lnTo>
                  <a:lnTo>
                    <a:pt x="1113" y="4228"/>
                  </a:lnTo>
                  <a:lnTo>
                    <a:pt x="167" y="4228"/>
                  </a:lnTo>
                  <a:cubicBezTo>
                    <a:pt x="75" y="4228"/>
                    <a:pt x="0" y="4302"/>
                    <a:pt x="0" y="4394"/>
                  </a:cubicBezTo>
                  <a:cubicBezTo>
                    <a:pt x="0" y="4487"/>
                    <a:pt x="75" y="4561"/>
                    <a:pt x="167" y="4561"/>
                  </a:cubicBezTo>
                  <a:lnTo>
                    <a:pt x="779" y="4561"/>
                  </a:lnTo>
                  <a:lnTo>
                    <a:pt x="581" y="4759"/>
                  </a:lnTo>
                  <a:cubicBezTo>
                    <a:pt x="516" y="4825"/>
                    <a:pt x="516" y="4930"/>
                    <a:pt x="581" y="4995"/>
                  </a:cubicBezTo>
                  <a:lnTo>
                    <a:pt x="1068" y="5482"/>
                  </a:lnTo>
                  <a:lnTo>
                    <a:pt x="462" y="5482"/>
                  </a:lnTo>
                  <a:cubicBezTo>
                    <a:pt x="370" y="5482"/>
                    <a:pt x="296" y="5557"/>
                    <a:pt x="296" y="5649"/>
                  </a:cubicBezTo>
                  <a:cubicBezTo>
                    <a:pt x="296" y="5741"/>
                    <a:pt x="370" y="5816"/>
                    <a:pt x="462" y="5816"/>
                  </a:cubicBezTo>
                  <a:lnTo>
                    <a:pt x="1401" y="5816"/>
                  </a:lnTo>
                  <a:lnTo>
                    <a:pt x="2323" y="6737"/>
                  </a:lnTo>
                  <a:lnTo>
                    <a:pt x="1355" y="6737"/>
                  </a:lnTo>
                  <a:cubicBezTo>
                    <a:pt x="1263" y="6737"/>
                    <a:pt x="1189" y="6811"/>
                    <a:pt x="1189" y="6903"/>
                  </a:cubicBezTo>
                  <a:cubicBezTo>
                    <a:pt x="1189" y="6995"/>
                    <a:pt x="1263" y="7070"/>
                    <a:pt x="1355" y="7070"/>
                  </a:cubicBezTo>
                  <a:lnTo>
                    <a:pt x="2656" y="7070"/>
                  </a:lnTo>
                  <a:lnTo>
                    <a:pt x="4070" y="8485"/>
                  </a:lnTo>
                  <a:cubicBezTo>
                    <a:pt x="4102" y="8516"/>
                    <a:pt x="4144" y="8533"/>
                    <a:pt x="4188" y="8533"/>
                  </a:cubicBezTo>
                  <a:cubicBezTo>
                    <a:pt x="4232" y="8533"/>
                    <a:pt x="4275" y="8516"/>
                    <a:pt x="4306" y="8485"/>
                  </a:cubicBezTo>
                  <a:lnTo>
                    <a:pt x="8021" y="4770"/>
                  </a:lnTo>
                  <a:cubicBezTo>
                    <a:pt x="8021" y="4769"/>
                    <a:pt x="8022" y="4769"/>
                    <a:pt x="8022" y="4768"/>
                  </a:cubicBezTo>
                  <a:cubicBezTo>
                    <a:pt x="8025" y="4765"/>
                    <a:pt x="8028" y="4762"/>
                    <a:pt x="8030" y="4760"/>
                  </a:cubicBezTo>
                  <a:cubicBezTo>
                    <a:pt x="8031" y="4758"/>
                    <a:pt x="8032" y="4757"/>
                    <a:pt x="8033" y="4756"/>
                  </a:cubicBezTo>
                  <a:close/>
                  <a:moveTo>
                    <a:pt x="7143" y="3656"/>
                  </a:moveTo>
                  <a:lnTo>
                    <a:pt x="7736" y="3063"/>
                  </a:lnTo>
                  <a:lnTo>
                    <a:pt x="7736" y="4250"/>
                  </a:lnTo>
                  <a:lnTo>
                    <a:pt x="7143" y="3656"/>
                  </a:lnTo>
                  <a:close/>
                  <a:moveTo>
                    <a:pt x="4188" y="8131"/>
                  </a:moveTo>
                  <a:lnTo>
                    <a:pt x="3127" y="7070"/>
                  </a:lnTo>
                  <a:lnTo>
                    <a:pt x="3634" y="7070"/>
                  </a:lnTo>
                  <a:cubicBezTo>
                    <a:pt x="3727" y="7070"/>
                    <a:pt x="3801" y="6995"/>
                    <a:pt x="3801" y="6903"/>
                  </a:cubicBezTo>
                  <a:cubicBezTo>
                    <a:pt x="3801" y="6811"/>
                    <a:pt x="3727" y="6737"/>
                    <a:pt x="3634" y="6737"/>
                  </a:cubicBezTo>
                  <a:lnTo>
                    <a:pt x="2794" y="6737"/>
                  </a:lnTo>
                  <a:lnTo>
                    <a:pt x="1873" y="5816"/>
                  </a:lnTo>
                  <a:lnTo>
                    <a:pt x="2296" y="5816"/>
                  </a:lnTo>
                  <a:cubicBezTo>
                    <a:pt x="2388" y="5816"/>
                    <a:pt x="2463" y="5741"/>
                    <a:pt x="2463" y="5649"/>
                  </a:cubicBezTo>
                  <a:cubicBezTo>
                    <a:pt x="2463" y="5557"/>
                    <a:pt x="2388" y="5482"/>
                    <a:pt x="2296" y="5482"/>
                  </a:cubicBezTo>
                  <a:lnTo>
                    <a:pt x="1539" y="5482"/>
                  </a:lnTo>
                  <a:lnTo>
                    <a:pt x="935" y="4877"/>
                  </a:lnTo>
                  <a:lnTo>
                    <a:pt x="1251" y="4561"/>
                  </a:lnTo>
                  <a:lnTo>
                    <a:pt x="3039" y="4561"/>
                  </a:lnTo>
                  <a:cubicBezTo>
                    <a:pt x="3131" y="4561"/>
                    <a:pt x="3206" y="4487"/>
                    <a:pt x="3206" y="4394"/>
                  </a:cubicBezTo>
                  <a:cubicBezTo>
                    <a:pt x="3206" y="4302"/>
                    <a:pt x="3131" y="4228"/>
                    <a:pt x="3039" y="4228"/>
                  </a:cubicBezTo>
                  <a:lnTo>
                    <a:pt x="1584" y="4228"/>
                  </a:lnTo>
                  <a:lnTo>
                    <a:pt x="2505" y="3307"/>
                  </a:lnTo>
                  <a:lnTo>
                    <a:pt x="4500" y="3307"/>
                  </a:lnTo>
                  <a:cubicBezTo>
                    <a:pt x="4592" y="3307"/>
                    <a:pt x="4666" y="3232"/>
                    <a:pt x="4666" y="3140"/>
                  </a:cubicBezTo>
                  <a:cubicBezTo>
                    <a:pt x="4666" y="3048"/>
                    <a:pt x="4592" y="2973"/>
                    <a:pt x="4500" y="2973"/>
                  </a:cubicBezTo>
                  <a:lnTo>
                    <a:pt x="2839" y="2973"/>
                  </a:lnTo>
                  <a:lnTo>
                    <a:pt x="5410" y="402"/>
                  </a:lnTo>
                  <a:lnTo>
                    <a:pt x="7667" y="2660"/>
                  </a:lnTo>
                  <a:lnTo>
                    <a:pt x="6789" y="3538"/>
                  </a:lnTo>
                  <a:cubicBezTo>
                    <a:pt x="6724" y="3603"/>
                    <a:pt x="6724" y="3709"/>
                    <a:pt x="6789" y="3774"/>
                  </a:cubicBezTo>
                  <a:lnTo>
                    <a:pt x="7667" y="4652"/>
                  </a:lnTo>
                  <a:lnTo>
                    <a:pt x="4188" y="8131"/>
                  </a:lnTo>
                  <a:close/>
                  <a:moveTo>
                    <a:pt x="4188" y="813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20"/>
            <p:cNvSpPr>
              <a:spLocks noEditPoints="1"/>
            </p:cNvSpPr>
            <p:nvPr/>
          </p:nvSpPr>
          <p:spPr bwMode="auto">
            <a:xfrm>
              <a:off x="2876" y="933"/>
              <a:ext cx="551" cy="160"/>
            </a:xfrm>
            <a:custGeom>
              <a:avLst/>
              <a:gdLst>
                <a:gd name="T0" fmla="*/ 166 w 1150"/>
                <a:gd name="T1" fmla="*/ 333 h 333"/>
                <a:gd name="T2" fmla="*/ 983 w 1150"/>
                <a:gd name="T3" fmla="*/ 333 h 333"/>
                <a:gd name="T4" fmla="*/ 1150 w 1150"/>
                <a:gd name="T5" fmla="*/ 167 h 333"/>
                <a:gd name="T6" fmla="*/ 983 w 1150"/>
                <a:gd name="T7" fmla="*/ 0 h 333"/>
                <a:gd name="T8" fmla="*/ 166 w 1150"/>
                <a:gd name="T9" fmla="*/ 0 h 333"/>
                <a:gd name="T10" fmla="*/ 0 w 1150"/>
                <a:gd name="T11" fmla="*/ 167 h 333"/>
                <a:gd name="T12" fmla="*/ 166 w 1150"/>
                <a:gd name="T13" fmla="*/ 333 h 333"/>
                <a:gd name="T14" fmla="*/ 166 w 1150"/>
                <a:gd name="T15" fmla="*/ 333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0" h="333">
                  <a:moveTo>
                    <a:pt x="166" y="333"/>
                  </a:moveTo>
                  <a:lnTo>
                    <a:pt x="983" y="333"/>
                  </a:lnTo>
                  <a:cubicBezTo>
                    <a:pt x="1075" y="333"/>
                    <a:pt x="1150" y="259"/>
                    <a:pt x="1150" y="167"/>
                  </a:cubicBezTo>
                  <a:cubicBezTo>
                    <a:pt x="1150" y="75"/>
                    <a:pt x="1075" y="0"/>
                    <a:pt x="983" y="0"/>
                  </a:cubicBezTo>
                  <a:lnTo>
                    <a:pt x="166" y="0"/>
                  </a:lnTo>
                  <a:cubicBezTo>
                    <a:pt x="74" y="0"/>
                    <a:pt x="0" y="75"/>
                    <a:pt x="0" y="167"/>
                  </a:cubicBezTo>
                  <a:cubicBezTo>
                    <a:pt x="0" y="259"/>
                    <a:pt x="74" y="333"/>
                    <a:pt x="166" y="333"/>
                  </a:cubicBezTo>
                  <a:close/>
                  <a:moveTo>
                    <a:pt x="166" y="33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21"/>
            <p:cNvSpPr>
              <a:spLocks noEditPoints="1"/>
            </p:cNvSpPr>
            <p:nvPr/>
          </p:nvSpPr>
          <p:spPr bwMode="auto">
            <a:xfrm>
              <a:off x="2241" y="1535"/>
              <a:ext cx="159" cy="160"/>
            </a:xfrm>
            <a:custGeom>
              <a:avLst/>
              <a:gdLst>
                <a:gd name="T0" fmla="*/ 167 w 333"/>
                <a:gd name="T1" fmla="*/ 334 h 334"/>
                <a:gd name="T2" fmla="*/ 333 w 333"/>
                <a:gd name="T3" fmla="*/ 167 h 334"/>
                <a:gd name="T4" fmla="*/ 167 w 333"/>
                <a:gd name="T5" fmla="*/ 0 h 334"/>
                <a:gd name="T6" fmla="*/ 0 w 333"/>
                <a:gd name="T7" fmla="*/ 167 h 334"/>
                <a:gd name="T8" fmla="*/ 167 w 333"/>
                <a:gd name="T9" fmla="*/ 334 h 334"/>
                <a:gd name="T10" fmla="*/ 167 w 333"/>
                <a:gd name="T11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3" h="334">
                  <a:moveTo>
                    <a:pt x="167" y="334"/>
                  </a:moveTo>
                  <a:cubicBezTo>
                    <a:pt x="258" y="334"/>
                    <a:pt x="333" y="259"/>
                    <a:pt x="333" y="167"/>
                  </a:cubicBezTo>
                  <a:cubicBezTo>
                    <a:pt x="333" y="75"/>
                    <a:pt x="258" y="0"/>
                    <a:pt x="167" y="0"/>
                  </a:cubicBezTo>
                  <a:cubicBezTo>
                    <a:pt x="75" y="0"/>
                    <a:pt x="0" y="75"/>
                    <a:pt x="0" y="167"/>
                  </a:cubicBezTo>
                  <a:cubicBezTo>
                    <a:pt x="0" y="259"/>
                    <a:pt x="75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" name="Freeform 22"/>
            <p:cNvSpPr>
              <a:spLocks noEditPoints="1"/>
            </p:cNvSpPr>
            <p:nvPr/>
          </p:nvSpPr>
          <p:spPr bwMode="auto">
            <a:xfrm>
              <a:off x="1812" y="2739"/>
              <a:ext cx="160" cy="160"/>
            </a:xfrm>
            <a:custGeom>
              <a:avLst/>
              <a:gdLst>
                <a:gd name="T0" fmla="*/ 167 w 333"/>
                <a:gd name="T1" fmla="*/ 0 h 334"/>
                <a:gd name="T2" fmla="*/ 0 w 333"/>
                <a:gd name="T3" fmla="*/ 167 h 334"/>
                <a:gd name="T4" fmla="*/ 167 w 333"/>
                <a:gd name="T5" fmla="*/ 334 h 334"/>
                <a:gd name="T6" fmla="*/ 333 w 333"/>
                <a:gd name="T7" fmla="*/ 167 h 334"/>
                <a:gd name="T8" fmla="*/ 167 w 333"/>
                <a:gd name="T9" fmla="*/ 0 h 334"/>
                <a:gd name="T10" fmla="*/ 167 w 333"/>
                <a:gd name="T11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3" h="334">
                  <a:moveTo>
                    <a:pt x="167" y="0"/>
                  </a:moveTo>
                  <a:cubicBezTo>
                    <a:pt x="75" y="0"/>
                    <a:pt x="0" y="75"/>
                    <a:pt x="0" y="167"/>
                  </a:cubicBezTo>
                  <a:cubicBezTo>
                    <a:pt x="0" y="259"/>
                    <a:pt x="75" y="334"/>
                    <a:pt x="167" y="334"/>
                  </a:cubicBezTo>
                  <a:cubicBezTo>
                    <a:pt x="258" y="334"/>
                    <a:pt x="333" y="259"/>
                    <a:pt x="333" y="167"/>
                  </a:cubicBezTo>
                  <a:cubicBezTo>
                    <a:pt x="333" y="75"/>
                    <a:pt x="258" y="0"/>
                    <a:pt x="167" y="0"/>
                  </a:cubicBezTo>
                  <a:close/>
                  <a:moveTo>
                    <a:pt x="167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57" name="Group 15"/>
          <p:cNvGrpSpPr>
            <a:grpSpLocks noChangeAspect="1"/>
          </p:cNvGrpSpPr>
          <p:nvPr/>
        </p:nvGrpSpPr>
        <p:grpSpPr bwMode="auto">
          <a:xfrm>
            <a:off x="3689318" y="4216398"/>
            <a:ext cx="432000" cy="432000"/>
            <a:chOff x="4666" y="1088"/>
            <a:chExt cx="328" cy="328"/>
          </a:xfrm>
          <a:solidFill>
            <a:srgbClr val="A136A0"/>
          </a:solidFill>
        </p:grpSpPr>
        <p:sp>
          <p:nvSpPr>
            <p:cNvPr id="58" name="Freeform 16"/>
            <p:cNvSpPr>
              <a:spLocks noEditPoints="1"/>
            </p:cNvSpPr>
            <p:nvPr/>
          </p:nvSpPr>
          <p:spPr bwMode="auto">
            <a:xfrm>
              <a:off x="4666" y="1088"/>
              <a:ext cx="328" cy="328"/>
            </a:xfrm>
            <a:custGeom>
              <a:avLst/>
              <a:gdLst>
                <a:gd name="T0" fmla="*/ 6200 w 6200"/>
                <a:gd name="T1" fmla="*/ 2400 h 6200"/>
                <a:gd name="T2" fmla="*/ 6000 w 6200"/>
                <a:gd name="T3" fmla="*/ 1200 h 6200"/>
                <a:gd name="T4" fmla="*/ 1900 w 6200"/>
                <a:gd name="T5" fmla="*/ 0 h 6200"/>
                <a:gd name="T6" fmla="*/ 1428 w 6200"/>
                <a:gd name="T7" fmla="*/ 3738 h 6200"/>
                <a:gd name="T8" fmla="*/ 1400 w 6200"/>
                <a:gd name="T9" fmla="*/ 5900 h 6200"/>
                <a:gd name="T10" fmla="*/ 2100 w 6200"/>
                <a:gd name="T11" fmla="*/ 6200 h 6200"/>
                <a:gd name="T12" fmla="*/ 2400 w 6200"/>
                <a:gd name="T13" fmla="*/ 3900 h 6200"/>
                <a:gd name="T14" fmla="*/ 3000 w 6200"/>
                <a:gd name="T15" fmla="*/ 3448 h 6200"/>
                <a:gd name="T16" fmla="*/ 3200 w 6200"/>
                <a:gd name="T17" fmla="*/ 4400 h 6200"/>
                <a:gd name="T18" fmla="*/ 6200 w 6200"/>
                <a:gd name="T19" fmla="*/ 4200 h 6200"/>
                <a:gd name="T20" fmla="*/ 6000 w 6200"/>
                <a:gd name="T21" fmla="*/ 3000 h 6200"/>
                <a:gd name="T22" fmla="*/ 3665 w 6200"/>
                <a:gd name="T23" fmla="*/ 2600 h 6200"/>
                <a:gd name="T24" fmla="*/ 2400 w 6200"/>
                <a:gd name="T25" fmla="*/ 2600 h 6200"/>
                <a:gd name="T26" fmla="*/ 1900 w 6200"/>
                <a:gd name="T27" fmla="*/ 3200 h 6200"/>
                <a:gd name="T28" fmla="*/ 1900 w 6200"/>
                <a:gd name="T29" fmla="*/ 600 h 6200"/>
                <a:gd name="T30" fmla="*/ 2400 w 6200"/>
                <a:gd name="T31" fmla="*/ 1200 h 6200"/>
                <a:gd name="T32" fmla="*/ 2200 w 6200"/>
                <a:gd name="T33" fmla="*/ 2400 h 6200"/>
                <a:gd name="T34" fmla="*/ 2400 w 6200"/>
                <a:gd name="T35" fmla="*/ 2400 h 6200"/>
                <a:gd name="T36" fmla="*/ 3600 w 6200"/>
                <a:gd name="T37" fmla="*/ 1400 h 6200"/>
                <a:gd name="T38" fmla="*/ 2400 w 6200"/>
                <a:gd name="T39" fmla="*/ 2400 h 6200"/>
                <a:gd name="T40" fmla="*/ 3800 w 6200"/>
                <a:gd name="T41" fmla="*/ 2400 h 6200"/>
                <a:gd name="T42" fmla="*/ 6000 w 6200"/>
                <a:gd name="T43" fmla="*/ 1400 h 6200"/>
                <a:gd name="T44" fmla="*/ 2100 w 6200"/>
                <a:gd name="T45" fmla="*/ 6000 h 6200"/>
                <a:gd name="T46" fmla="*/ 1600 w 6200"/>
                <a:gd name="T47" fmla="*/ 5900 h 6200"/>
                <a:gd name="T48" fmla="*/ 2200 w 6200"/>
                <a:gd name="T49" fmla="*/ 4400 h 6200"/>
                <a:gd name="T50" fmla="*/ 2100 w 6200"/>
                <a:gd name="T51" fmla="*/ 6000 h 6200"/>
                <a:gd name="T52" fmla="*/ 2200 w 6200"/>
                <a:gd name="T53" fmla="*/ 4200 h 6200"/>
                <a:gd name="T54" fmla="*/ 1600 w 6200"/>
                <a:gd name="T55" fmla="*/ 3900 h 6200"/>
                <a:gd name="T56" fmla="*/ 1900 w 6200"/>
                <a:gd name="T57" fmla="*/ 3800 h 6200"/>
                <a:gd name="T58" fmla="*/ 2200 w 6200"/>
                <a:gd name="T59" fmla="*/ 3900 h 6200"/>
                <a:gd name="T60" fmla="*/ 4600 w 6200"/>
                <a:gd name="T61" fmla="*/ 3200 h 6200"/>
                <a:gd name="T62" fmla="*/ 3200 w 6200"/>
                <a:gd name="T63" fmla="*/ 4200 h 6200"/>
                <a:gd name="T64" fmla="*/ 6000 w 6200"/>
                <a:gd name="T65" fmla="*/ 4200 h 6200"/>
                <a:gd name="T66" fmla="*/ 4800 w 6200"/>
                <a:gd name="T67" fmla="*/ 3200 h 6200"/>
                <a:gd name="T68" fmla="*/ 6000 w 6200"/>
                <a:gd name="T69" fmla="*/ 4200 h 6200"/>
                <a:gd name="T70" fmla="*/ 3001 w 6200"/>
                <a:gd name="T71" fmla="*/ 3194 h 6200"/>
                <a:gd name="T72" fmla="*/ 200 w 6200"/>
                <a:gd name="T73" fmla="*/ 1900 h 6200"/>
                <a:gd name="T74" fmla="*/ 3449 w 6200"/>
                <a:gd name="T75" fmla="*/ 1200 h 6200"/>
                <a:gd name="T76" fmla="*/ 1900 w 6200"/>
                <a:gd name="T77" fmla="*/ 400 h 6200"/>
                <a:gd name="T78" fmla="*/ 1900 w 6200"/>
                <a:gd name="T79" fmla="*/ 3400 h 6200"/>
                <a:gd name="T80" fmla="*/ 3449 w 6200"/>
                <a:gd name="T81" fmla="*/ 2600 h 6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200" h="6200">
                  <a:moveTo>
                    <a:pt x="6000" y="2600"/>
                  </a:moveTo>
                  <a:cubicBezTo>
                    <a:pt x="6110" y="2600"/>
                    <a:pt x="6200" y="2510"/>
                    <a:pt x="6200" y="2400"/>
                  </a:cubicBezTo>
                  <a:lnTo>
                    <a:pt x="6200" y="1400"/>
                  </a:lnTo>
                  <a:cubicBezTo>
                    <a:pt x="6200" y="1290"/>
                    <a:pt x="6110" y="1200"/>
                    <a:pt x="6000" y="1200"/>
                  </a:cubicBezTo>
                  <a:lnTo>
                    <a:pt x="3665" y="1200"/>
                  </a:lnTo>
                  <a:cubicBezTo>
                    <a:pt x="3380" y="480"/>
                    <a:pt x="2680" y="0"/>
                    <a:pt x="1900" y="0"/>
                  </a:cubicBezTo>
                  <a:cubicBezTo>
                    <a:pt x="852" y="0"/>
                    <a:pt x="0" y="852"/>
                    <a:pt x="0" y="1900"/>
                  </a:cubicBezTo>
                  <a:cubicBezTo>
                    <a:pt x="0" y="2784"/>
                    <a:pt x="608" y="3527"/>
                    <a:pt x="1428" y="3738"/>
                  </a:cubicBezTo>
                  <a:cubicBezTo>
                    <a:pt x="1410" y="3790"/>
                    <a:pt x="1400" y="3844"/>
                    <a:pt x="1400" y="3900"/>
                  </a:cubicBezTo>
                  <a:lnTo>
                    <a:pt x="1400" y="5900"/>
                  </a:lnTo>
                  <a:cubicBezTo>
                    <a:pt x="1400" y="6065"/>
                    <a:pt x="1535" y="6200"/>
                    <a:pt x="1700" y="6200"/>
                  </a:cubicBezTo>
                  <a:lnTo>
                    <a:pt x="2100" y="6200"/>
                  </a:lnTo>
                  <a:cubicBezTo>
                    <a:pt x="2265" y="6200"/>
                    <a:pt x="2400" y="6065"/>
                    <a:pt x="2400" y="5900"/>
                  </a:cubicBezTo>
                  <a:lnTo>
                    <a:pt x="2400" y="3900"/>
                  </a:lnTo>
                  <a:cubicBezTo>
                    <a:pt x="2400" y="3845"/>
                    <a:pt x="2390" y="3790"/>
                    <a:pt x="2373" y="3739"/>
                  </a:cubicBezTo>
                  <a:cubicBezTo>
                    <a:pt x="2597" y="3681"/>
                    <a:pt x="2810" y="3583"/>
                    <a:pt x="3000" y="3448"/>
                  </a:cubicBezTo>
                  <a:lnTo>
                    <a:pt x="3000" y="4200"/>
                  </a:lnTo>
                  <a:cubicBezTo>
                    <a:pt x="3000" y="4310"/>
                    <a:pt x="3090" y="4400"/>
                    <a:pt x="3200" y="4400"/>
                  </a:cubicBezTo>
                  <a:lnTo>
                    <a:pt x="6000" y="4400"/>
                  </a:lnTo>
                  <a:cubicBezTo>
                    <a:pt x="6110" y="4400"/>
                    <a:pt x="6200" y="4310"/>
                    <a:pt x="6200" y="4200"/>
                  </a:cubicBezTo>
                  <a:lnTo>
                    <a:pt x="6200" y="3200"/>
                  </a:lnTo>
                  <a:cubicBezTo>
                    <a:pt x="6200" y="3090"/>
                    <a:pt x="6110" y="3000"/>
                    <a:pt x="6000" y="3000"/>
                  </a:cubicBezTo>
                  <a:lnTo>
                    <a:pt x="3448" y="3000"/>
                  </a:lnTo>
                  <a:cubicBezTo>
                    <a:pt x="3537" y="2876"/>
                    <a:pt x="3608" y="2742"/>
                    <a:pt x="3665" y="2600"/>
                  </a:cubicBezTo>
                  <a:lnTo>
                    <a:pt x="6000" y="2600"/>
                  </a:lnTo>
                  <a:close/>
                  <a:moveTo>
                    <a:pt x="2400" y="2600"/>
                  </a:moveTo>
                  <a:lnTo>
                    <a:pt x="2995" y="2600"/>
                  </a:lnTo>
                  <a:cubicBezTo>
                    <a:pt x="2758" y="2969"/>
                    <a:pt x="2344" y="3200"/>
                    <a:pt x="1900" y="3200"/>
                  </a:cubicBezTo>
                  <a:cubicBezTo>
                    <a:pt x="1183" y="3200"/>
                    <a:pt x="600" y="2617"/>
                    <a:pt x="600" y="1900"/>
                  </a:cubicBezTo>
                  <a:cubicBezTo>
                    <a:pt x="600" y="1183"/>
                    <a:pt x="1183" y="600"/>
                    <a:pt x="1900" y="600"/>
                  </a:cubicBezTo>
                  <a:cubicBezTo>
                    <a:pt x="2344" y="600"/>
                    <a:pt x="2758" y="831"/>
                    <a:pt x="2995" y="1200"/>
                  </a:cubicBezTo>
                  <a:lnTo>
                    <a:pt x="2400" y="1200"/>
                  </a:lnTo>
                  <a:cubicBezTo>
                    <a:pt x="2290" y="1200"/>
                    <a:pt x="2200" y="1290"/>
                    <a:pt x="2200" y="1400"/>
                  </a:cubicBezTo>
                  <a:lnTo>
                    <a:pt x="2200" y="2400"/>
                  </a:lnTo>
                  <a:cubicBezTo>
                    <a:pt x="2200" y="2510"/>
                    <a:pt x="2290" y="2600"/>
                    <a:pt x="2400" y="2600"/>
                  </a:cubicBezTo>
                  <a:close/>
                  <a:moveTo>
                    <a:pt x="2400" y="2400"/>
                  </a:moveTo>
                  <a:lnTo>
                    <a:pt x="2400" y="1400"/>
                  </a:lnTo>
                  <a:lnTo>
                    <a:pt x="3600" y="1400"/>
                  </a:lnTo>
                  <a:lnTo>
                    <a:pt x="3600" y="2400"/>
                  </a:lnTo>
                  <a:lnTo>
                    <a:pt x="2400" y="2400"/>
                  </a:lnTo>
                  <a:close/>
                  <a:moveTo>
                    <a:pt x="6000" y="2400"/>
                  </a:moveTo>
                  <a:lnTo>
                    <a:pt x="3800" y="2400"/>
                  </a:lnTo>
                  <a:lnTo>
                    <a:pt x="3800" y="1400"/>
                  </a:lnTo>
                  <a:lnTo>
                    <a:pt x="6000" y="1400"/>
                  </a:lnTo>
                  <a:lnTo>
                    <a:pt x="6000" y="2400"/>
                  </a:lnTo>
                  <a:close/>
                  <a:moveTo>
                    <a:pt x="2100" y="6000"/>
                  </a:moveTo>
                  <a:lnTo>
                    <a:pt x="1700" y="6000"/>
                  </a:lnTo>
                  <a:cubicBezTo>
                    <a:pt x="1645" y="6000"/>
                    <a:pt x="1600" y="5955"/>
                    <a:pt x="1600" y="5900"/>
                  </a:cubicBezTo>
                  <a:lnTo>
                    <a:pt x="1600" y="4400"/>
                  </a:lnTo>
                  <a:lnTo>
                    <a:pt x="2200" y="4400"/>
                  </a:lnTo>
                  <a:lnTo>
                    <a:pt x="2200" y="5900"/>
                  </a:lnTo>
                  <a:cubicBezTo>
                    <a:pt x="2200" y="5955"/>
                    <a:pt x="2155" y="6000"/>
                    <a:pt x="2100" y="6000"/>
                  </a:cubicBezTo>
                  <a:close/>
                  <a:moveTo>
                    <a:pt x="2200" y="3900"/>
                  </a:moveTo>
                  <a:lnTo>
                    <a:pt x="2200" y="4200"/>
                  </a:lnTo>
                  <a:lnTo>
                    <a:pt x="1600" y="4200"/>
                  </a:lnTo>
                  <a:lnTo>
                    <a:pt x="1600" y="3900"/>
                  </a:lnTo>
                  <a:cubicBezTo>
                    <a:pt x="1600" y="3857"/>
                    <a:pt x="1610" y="3816"/>
                    <a:pt x="1627" y="3778"/>
                  </a:cubicBezTo>
                  <a:cubicBezTo>
                    <a:pt x="1716" y="3791"/>
                    <a:pt x="1807" y="3800"/>
                    <a:pt x="1900" y="3800"/>
                  </a:cubicBezTo>
                  <a:cubicBezTo>
                    <a:pt x="1992" y="3800"/>
                    <a:pt x="2083" y="3791"/>
                    <a:pt x="2174" y="3778"/>
                  </a:cubicBezTo>
                  <a:cubicBezTo>
                    <a:pt x="2191" y="3816"/>
                    <a:pt x="2200" y="3858"/>
                    <a:pt x="2200" y="3900"/>
                  </a:cubicBezTo>
                  <a:close/>
                  <a:moveTo>
                    <a:pt x="3200" y="3200"/>
                  </a:moveTo>
                  <a:lnTo>
                    <a:pt x="4600" y="3200"/>
                  </a:lnTo>
                  <a:lnTo>
                    <a:pt x="4600" y="4200"/>
                  </a:lnTo>
                  <a:lnTo>
                    <a:pt x="3200" y="4200"/>
                  </a:lnTo>
                  <a:lnTo>
                    <a:pt x="3200" y="3200"/>
                  </a:lnTo>
                  <a:close/>
                  <a:moveTo>
                    <a:pt x="6000" y="4200"/>
                  </a:moveTo>
                  <a:lnTo>
                    <a:pt x="4800" y="4200"/>
                  </a:lnTo>
                  <a:lnTo>
                    <a:pt x="4800" y="3200"/>
                  </a:lnTo>
                  <a:lnTo>
                    <a:pt x="6000" y="3200"/>
                  </a:lnTo>
                  <a:lnTo>
                    <a:pt x="6000" y="4200"/>
                  </a:lnTo>
                  <a:close/>
                  <a:moveTo>
                    <a:pt x="3194" y="3001"/>
                  </a:moveTo>
                  <a:cubicBezTo>
                    <a:pt x="3089" y="3004"/>
                    <a:pt x="3004" y="3089"/>
                    <a:pt x="3001" y="3194"/>
                  </a:cubicBezTo>
                  <a:cubicBezTo>
                    <a:pt x="2694" y="3455"/>
                    <a:pt x="2305" y="3600"/>
                    <a:pt x="1900" y="3600"/>
                  </a:cubicBezTo>
                  <a:cubicBezTo>
                    <a:pt x="963" y="3600"/>
                    <a:pt x="200" y="2837"/>
                    <a:pt x="200" y="1900"/>
                  </a:cubicBezTo>
                  <a:cubicBezTo>
                    <a:pt x="200" y="963"/>
                    <a:pt x="963" y="200"/>
                    <a:pt x="1900" y="200"/>
                  </a:cubicBezTo>
                  <a:cubicBezTo>
                    <a:pt x="2571" y="200"/>
                    <a:pt x="3177" y="597"/>
                    <a:pt x="3449" y="1200"/>
                  </a:cubicBezTo>
                  <a:lnTo>
                    <a:pt x="3226" y="1200"/>
                  </a:lnTo>
                  <a:cubicBezTo>
                    <a:pt x="2968" y="712"/>
                    <a:pt x="2455" y="400"/>
                    <a:pt x="1900" y="400"/>
                  </a:cubicBezTo>
                  <a:cubicBezTo>
                    <a:pt x="1073" y="400"/>
                    <a:pt x="400" y="1073"/>
                    <a:pt x="400" y="1900"/>
                  </a:cubicBezTo>
                  <a:cubicBezTo>
                    <a:pt x="400" y="2727"/>
                    <a:pt x="1073" y="3400"/>
                    <a:pt x="1900" y="3400"/>
                  </a:cubicBezTo>
                  <a:cubicBezTo>
                    <a:pt x="2455" y="3400"/>
                    <a:pt x="2968" y="3088"/>
                    <a:pt x="3226" y="2600"/>
                  </a:cubicBezTo>
                  <a:lnTo>
                    <a:pt x="3449" y="2600"/>
                  </a:lnTo>
                  <a:cubicBezTo>
                    <a:pt x="3383" y="2745"/>
                    <a:pt x="3298" y="2879"/>
                    <a:pt x="3194" y="3001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59" name="Rectangle 17"/>
            <p:cNvSpPr>
              <a:spLocks noChangeArrowheads="1"/>
            </p:cNvSpPr>
            <p:nvPr/>
          </p:nvSpPr>
          <p:spPr bwMode="auto">
            <a:xfrm>
              <a:off x="4963" y="1184"/>
              <a:ext cx="10" cy="1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60" name="Rectangle 18"/>
            <p:cNvSpPr>
              <a:spLocks noChangeArrowheads="1"/>
            </p:cNvSpPr>
            <p:nvPr/>
          </p:nvSpPr>
          <p:spPr bwMode="auto">
            <a:xfrm>
              <a:off x="4941" y="1184"/>
              <a:ext cx="11" cy="1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61" name="Rectangle 19"/>
            <p:cNvSpPr>
              <a:spLocks noChangeArrowheads="1"/>
            </p:cNvSpPr>
            <p:nvPr/>
          </p:nvSpPr>
          <p:spPr bwMode="auto">
            <a:xfrm>
              <a:off x="4920" y="1184"/>
              <a:ext cx="11" cy="1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62" name="Rectangle 20"/>
            <p:cNvSpPr>
              <a:spLocks noChangeArrowheads="1"/>
            </p:cNvSpPr>
            <p:nvPr/>
          </p:nvSpPr>
          <p:spPr bwMode="auto">
            <a:xfrm>
              <a:off x="4899" y="1184"/>
              <a:ext cx="11" cy="1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63" name="Rectangle 21"/>
            <p:cNvSpPr>
              <a:spLocks noChangeArrowheads="1"/>
            </p:cNvSpPr>
            <p:nvPr/>
          </p:nvSpPr>
          <p:spPr bwMode="auto">
            <a:xfrm>
              <a:off x="4878" y="1184"/>
              <a:ext cx="11" cy="1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64" name="Freeform 22"/>
            <p:cNvSpPr>
              <a:spLocks/>
            </p:cNvSpPr>
            <p:nvPr/>
          </p:nvSpPr>
          <p:spPr bwMode="auto">
            <a:xfrm>
              <a:off x="4800" y="1169"/>
              <a:ext cx="50" cy="43"/>
            </a:xfrm>
            <a:custGeom>
              <a:avLst/>
              <a:gdLst>
                <a:gd name="T0" fmla="*/ 800 w 942"/>
                <a:gd name="T1" fmla="*/ 0 h 812"/>
                <a:gd name="T2" fmla="*/ 271 w 942"/>
                <a:gd name="T3" fmla="*/ 530 h 812"/>
                <a:gd name="T4" fmla="*/ 142 w 942"/>
                <a:gd name="T5" fmla="*/ 400 h 812"/>
                <a:gd name="T6" fmla="*/ 0 w 942"/>
                <a:gd name="T7" fmla="*/ 542 h 812"/>
                <a:gd name="T8" fmla="*/ 271 w 942"/>
                <a:gd name="T9" fmla="*/ 812 h 812"/>
                <a:gd name="T10" fmla="*/ 942 w 942"/>
                <a:gd name="T11" fmla="*/ 142 h 812"/>
                <a:gd name="T12" fmla="*/ 800 w 942"/>
                <a:gd name="T13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2" h="812">
                  <a:moveTo>
                    <a:pt x="800" y="0"/>
                  </a:moveTo>
                  <a:lnTo>
                    <a:pt x="271" y="530"/>
                  </a:lnTo>
                  <a:lnTo>
                    <a:pt x="142" y="400"/>
                  </a:lnTo>
                  <a:lnTo>
                    <a:pt x="0" y="542"/>
                  </a:lnTo>
                  <a:lnTo>
                    <a:pt x="271" y="812"/>
                  </a:lnTo>
                  <a:lnTo>
                    <a:pt x="942" y="142"/>
                  </a:lnTo>
                  <a:lnTo>
                    <a:pt x="80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65" name="Freeform 23"/>
            <p:cNvSpPr>
              <a:spLocks noEditPoints="1"/>
            </p:cNvSpPr>
            <p:nvPr/>
          </p:nvSpPr>
          <p:spPr bwMode="auto">
            <a:xfrm>
              <a:off x="4804" y="1342"/>
              <a:ext cx="169" cy="74"/>
            </a:xfrm>
            <a:custGeom>
              <a:avLst/>
              <a:gdLst>
                <a:gd name="T0" fmla="*/ 3000 w 3200"/>
                <a:gd name="T1" fmla="*/ 0 h 1400"/>
                <a:gd name="T2" fmla="*/ 200 w 3200"/>
                <a:gd name="T3" fmla="*/ 0 h 1400"/>
                <a:gd name="T4" fmla="*/ 0 w 3200"/>
                <a:gd name="T5" fmla="*/ 200 h 1400"/>
                <a:gd name="T6" fmla="*/ 0 w 3200"/>
                <a:gd name="T7" fmla="*/ 1200 h 1400"/>
                <a:gd name="T8" fmla="*/ 200 w 3200"/>
                <a:gd name="T9" fmla="*/ 1400 h 1400"/>
                <a:gd name="T10" fmla="*/ 3000 w 3200"/>
                <a:gd name="T11" fmla="*/ 1400 h 1400"/>
                <a:gd name="T12" fmla="*/ 3200 w 3200"/>
                <a:gd name="T13" fmla="*/ 1200 h 1400"/>
                <a:gd name="T14" fmla="*/ 3200 w 3200"/>
                <a:gd name="T15" fmla="*/ 200 h 1400"/>
                <a:gd name="T16" fmla="*/ 3000 w 3200"/>
                <a:gd name="T17" fmla="*/ 0 h 1400"/>
                <a:gd name="T18" fmla="*/ 200 w 3200"/>
                <a:gd name="T19" fmla="*/ 200 h 1400"/>
                <a:gd name="T20" fmla="*/ 1400 w 3200"/>
                <a:gd name="T21" fmla="*/ 200 h 1400"/>
                <a:gd name="T22" fmla="*/ 1400 w 3200"/>
                <a:gd name="T23" fmla="*/ 1200 h 1400"/>
                <a:gd name="T24" fmla="*/ 200 w 3200"/>
                <a:gd name="T25" fmla="*/ 1200 h 1400"/>
                <a:gd name="T26" fmla="*/ 200 w 3200"/>
                <a:gd name="T27" fmla="*/ 200 h 1400"/>
                <a:gd name="T28" fmla="*/ 1600 w 3200"/>
                <a:gd name="T29" fmla="*/ 1200 h 1400"/>
                <a:gd name="T30" fmla="*/ 1600 w 3200"/>
                <a:gd name="T31" fmla="*/ 200 h 1400"/>
                <a:gd name="T32" fmla="*/ 3000 w 3200"/>
                <a:gd name="T33" fmla="*/ 200 h 1400"/>
                <a:gd name="T34" fmla="*/ 3000 w 3200"/>
                <a:gd name="T35" fmla="*/ 1200 h 1400"/>
                <a:gd name="T36" fmla="*/ 1600 w 3200"/>
                <a:gd name="T37" fmla="*/ 1200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00" h="1400">
                  <a:moveTo>
                    <a:pt x="3000" y="0"/>
                  </a:moveTo>
                  <a:lnTo>
                    <a:pt x="200" y="0"/>
                  </a:lnTo>
                  <a:cubicBezTo>
                    <a:pt x="90" y="0"/>
                    <a:pt x="0" y="90"/>
                    <a:pt x="0" y="200"/>
                  </a:cubicBezTo>
                  <a:lnTo>
                    <a:pt x="0" y="1200"/>
                  </a:lnTo>
                  <a:cubicBezTo>
                    <a:pt x="0" y="1310"/>
                    <a:pt x="90" y="1400"/>
                    <a:pt x="200" y="1400"/>
                  </a:cubicBezTo>
                  <a:lnTo>
                    <a:pt x="3000" y="1400"/>
                  </a:lnTo>
                  <a:cubicBezTo>
                    <a:pt x="3110" y="1400"/>
                    <a:pt x="3200" y="1310"/>
                    <a:pt x="3200" y="1200"/>
                  </a:cubicBezTo>
                  <a:lnTo>
                    <a:pt x="3200" y="200"/>
                  </a:lnTo>
                  <a:cubicBezTo>
                    <a:pt x="3200" y="90"/>
                    <a:pt x="3110" y="0"/>
                    <a:pt x="3000" y="0"/>
                  </a:cubicBezTo>
                  <a:close/>
                  <a:moveTo>
                    <a:pt x="200" y="200"/>
                  </a:moveTo>
                  <a:lnTo>
                    <a:pt x="1400" y="200"/>
                  </a:lnTo>
                  <a:lnTo>
                    <a:pt x="1400" y="1200"/>
                  </a:lnTo>
                  <a:lnTo>
                    <a:pt x="200" y="1200"/>
                  </a:lnTo>
                  <a:lnTo>
                    <a:pt x="200" y="200"/>
                  </a:lnTo>
                  <a:close/>
                  <a:moveTo>
                    <a:pt x="1600" y="1200"/>
                  </a:moveTo>
                  <a:lnTo>
                    <a:pt x="1600" y="200"/>
                  </a:lnTo>
                  <a:lnTo>
                    <a:pt x="3000" y="200"/>
                  </a:lnTo>
                  <a:lnTo>
                    <a:pt x="3000" y="1200"/>
                  </a:lnTo>
                  <a:lnTo>
                    <a:pt x="1600" y="12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66" name="Rectangle 24"/>
            <p:cNvSpPr>
              <a:spLocks noChangeArrowheads="1"/>
            </p:cNvSpPr>
            <p:nvPr/>
          </p:nvSpPr>
          <p:spPr bwMode="auto">
            <a:xfrm>
              <a:off x="4941" y="1374"/>
              <a:ext cx="11" cy="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67" name="Rectangle 25"/>
            <p:cNvSpPr>
              <a:spLocks noChangeArrowheads="1"/>
            </p:cNvSpPr>
            <p:nvPr/>
          </p:nvSpPr>
          <p:spPr bwMode="auto">
            <a:xfrm>
              <a:off x="4920" y="1374"/>
              <a:ext cx="11" cy="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68" name="Rectangle 26"/>
            <p:cNvSpPr>
              <a:spLocks noChangeArrowheads="1"/>
            </p:cNvSpPr>
            <p:nvPr/>
          </p:nvSpPr>
          <p:spPr bwMode="auto">
            <a:xfrm>
              <a:off x="4899" y="1374"/>
              <a:ext cx="11" cy="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69" name="Rectangle 27"/>
            <p:cNvSpPr>
              <a:spLocks noChangeArrowheads="1"/>
            </p:cNvSpPr>
            <p:nvPr/>
          </p:nvSpPr>
          <p:spPr bwMode="auto">
            <a:xfrm>
              <a:off x="4846" y="1279"/>
              <a:ext cx="11" cy="1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70" name="Rectangle 28"/>
            <p:cNvSpPr>
              <a:spLocks noChangeArrowheads="1"/>
            </p:cNvSpPr>
            <p:nvPr/>
          </p:nvSpPr>
          <p:spPr bwMode="auto">
            <a:xfrm>
              <a:off x="4867" y="1279"/>
              <a:ext cx="11" cy="1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71" name="Rectangle 29"/>
            <p:cNvSpPr>
              <a:spLocks noChangeArrowheads="1"/>
            </p:cNvSpPr>
            <p:nvPr/>
          </p:nvSpPr>
          <p:spPr bwMode="auto">
            <a:xfrm>
              <a:off x="4889" y="1279"/>
              <a:ext cx="10" cy="1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72" name="Freeform 30"/>
            <p:cNvSpPr>
              <a:spLocks/>
            </p:cNvSpPr>
            <p:nvPr/>
          </p:nvSpPr>
          <p:spPr bwMode="auto">
            <a:xfrm>
              <a:off x="4821" y="1360"/>
              <a:ext cx="50" cy="43"/>
            </a:xfrm>
            <a:custGeom>
              <a:avLst/>
              <a:gdLst>
                <a:gd name="T0" fmla="*/ 800 w 942"/>
                <a:gd name="T1" fmla="*/ 0 h 812"/>
                <a:gd name="T2" fmla="*/ 271 w 942"/>
                <a:gd name="T3" fmla="*/ 530 h 812"/>
                <a:gd name="T4" fmla="*/ 142 w 942"/>
                <a:gd name="T5" fmla="*/ 400 h 812"/>
                <a:gd name="T6" fmla="*/ 0 w 942"/>
                <a:gd name="T7" fmla="*/ 542 h 812"/>
                <a:gd name="T8" fmla="*/ 271 w 942"/>
                <a:gd name="T9" fmla="*/ 812 h 812"/>
                <a:gd name="T10" fmla="*/ 942 w 942"/>
                <a:gd name="T11" fmla="*/ 142 h 812"/>
                <a:gd name="T12" fmla="*/ 800 w 942"/>
                <a:gd name="T13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2" h="812">
                  <a:moveTo>
                    <a:pt x="800" y="0"/>
                  </a:moveTo>
                  <a:lnTo>
                    <a:pt x="271" y="530"/>
                  </a:lnTo>
                  <a:lnTo>
                    <a:pt x="142" y="400"/>
                  </a:lnTo>
                  <a:lnTo>
                    <a:pt x="0" y="542"/>
                  </a:lnTo>
                  <a:lnTo>
                    <a:pt x="271" y="812"/>
                  </a:lnTo>
                  <a:lnTo>
                    <a:pt x="942" y="142"/>
                  </a:lnTo>
                  <a:lnTo>
                    <a:pt x="80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73" name="Freeform 31"/>
            <p:cNvSpPr>
              <a:spLocks/>
            </p:cNvSpPr>
            <p:nvPr/>
          </p:nvSpPr>
          <p:spPr bwMode="auto">
            <a:xfrm>
              <a:off x="4932" y="1264"/>
              <a:ext cx="40" cy="40"/>
            </a:xfrm>
            <a:custGeom>
              <a:avLst/>
              <a:gdLst>
                <a:gd name="T0" fmla="*/ 0 w 742"/>
                <a:gd name="T1" fmla="*/ 600 h 742"/>
                <a:gd name="T2" fmla="*/ 142 w 742"/>
                <a:gd name="T3" fmla="*/ 742 h 742"/>
                <a:gd name="T4" fmla="*/ 371 w 742"/>
                <a:gd name="T5" fmla="*/ 512 h 742"/>
                <a:gd name="T6" fmla="*/ 600 w 742"/>
                <a:gd name="T7" fmla="*/ 742 h 742"/>
                <a:gd name="T8" fmla="*/ 742 w 742"/>
                <a:gd name="T9" fmla="*/ 600 h 742"/>
                <a:gd name="T10" fmla="*/ 512 w 742"/>
                <a:gd name="T11" fmla="*/ 371 h 742"/>
                <a:gd name="T12" fmla="*/ 742 w 742"/>
                <a:gd name="T13" fmla="*/ 142 h 742"/>
                <a:gd name="T14" fmla="*/ 600 w 742"/>
                <a:gd name="T15" fmla="*/ 0 h 742"/>
                <a:gd name="T16" fmla="*/ 371 w 742"/>
                <a:gd name="T17" fmla="*/ 230 h 742"/>
                <a:gd name="T18" fmla="*/ 142 w 742"/>
                <a:gd name="T19" fmla="*/ 0 h 742"/>
                <a:gd name="T20" fmla="*/ 0 w 742"/>
                <a:gd name="T21" fmla="*/ 142 h 742"/>
                <a:gd name="T22" fmla="*/ 230 w 742"/>
                <a:gd name="T23" fmla="*/ 371 h 742"/>
                <a:gd name="T24" fmla="*/ 0 w 742"/>
                <a:gd name="T25" fmla="*/ 600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2" h="742">
                  <a:moveTo>
                    <a:pt x="0" y="600"/>
                  </a:moveTo>
                  <a:lnTo>
                    <a:pt x="142" y="742"/>
                  </a:lnTo>
                  <a:lnTo>
                    <a:pt x="371" y="512"/>
                  </a:lnTo>
                  <a:lnTo>
                    <a:pt x="600" y="742"/>
                  </a:lnTo>
                  <a:lnTo>
                    <a:pt x="742" y="600"/>
                  </a:lnTo>
                  <a:lnTo>
                    <a:pt x="512" y="371"/>
                  </a:lnTo>
                  <a:lnTo>
                    <a:pt x="742" y="142"/>
                  </a:lnTo>
                  <a:lnTo>
                    <a:pt x="600" y="0"/>
                  </a:lnTo>
                  <a:lnTo>
                    <a:pt x="371" y="230"/>
                  </a:lnTo>
                  <a:lnTo>
                    <a:pt x="142" y="0"/>
                  </a:lnTo>
                  <a:lnTo>
                    <a:pt x="0" y="142"/>
                  </a:lnTo>
                  <a:lnTo>
                    <a:pt x="230" y="371"/>
                  </a:lnTo>
                  <a:lnTo>
                    <a:pt x="0" y="6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75" name="Group 25"/>
          <p:cNvGrpSpPr>
            <a:grpSpLocks noChangeAspect="1"/>
          </p:cNvGrpSpPr>
          <p:nvPr/>
        </p:nvGrpSpPr>
        <p:grpSpPr bwMode="auto">
          <a:xfrm>
            <a:off x="3764603" y="5271871"/>
            <a:ext cx="298320" cy="429195"/>
            <a:chOff x="2420" y="108"/>
            <a:chExt cx="2847" cy="4096"/>
          </a:xfrm>
          <a:solidFill>
            <a:srgbClr val="A136A0"/>
          </a:solidFill>
        </p:grpSpPr>
        <p:sp>
          <p:nvSpPr>
            <p:cNvPr id="77" name="Freeform 26"/>
            <p:cNvSpPr>
              <a:spLocks noEditPoints="1"/>
            </p:cNvSpPr>
            <p:nvPr/>
          </p:nvSpPr>
          <p:spPr bwMode="auto">
            <a:xfrm>
              <a:off x="3177" y="911"/>
              <a:ext cx="1333" cy="1215"/>
            </a:xfrm>
            <a:custGeom>
              <a:avLst/>
              <a:gdLst>
                <a:gd name="T0" fmla="*/ 1389 w 2777"/>
                <a:gd name="T1" fmla="*/ 2531 h 2531"/>
                <a:gd name="T2" fmla="*/ 494 w 2777"/>
                <a:gd name="T3" fmla="*/ 2161 h 2531"/>
                <a:gd name="T4" fmla="*/ 494 w 2777"/>
                <a:gd name="T5" fmla="*/ 371 h 2531"/>
                <a:gd name="T6" fmla="*/ 1389 w 2777"/>
                <a:gd name="T7" fmla="*/ 0 h 2531"/>
                <a:gd name="T8" fmla="*/ 2284 w 2777"/>
                <a:gd name="T9" fmla="*/ 371 h 2531"/>
                <a:gd name="T10" fmla="*/ 2284 w 2777"/>
                <a:gd name="T11" fmla="*/ 2161 h 2531"/>
                <a:gd name="T12" fmla="*/ 1389 w 2777"/>
                <a:gd name="T13" fmla="*/ 2531 h 2531"/>
                <a:gd name="T14" fmla="*/ 1389 w 2777"/>
                <a:gd name="T15" fmla="*/ 501 h 2531"/>
                <a:gd name="T16" fmla="*/ 848 w 2777"/>
                <a:gd name="T17" fmla="*/ 725 h 2531"/>
                <a:gd name="T18" fmla="*/ 848 w 2777"/>
                <a:gd name="T19" fmla="*/ 1807 h 2531"/>
                <a:gd name="T20" fmla="*/ 1389 w 2777"/>
                <a:gd name="T21" fmla="*/ 2031 h 2531"/>
                <a:gd name="T22" fmla="*/ 1930 w 2777"/>
                <a:gd name="T23" fmla="*/ 1807 h 2531"/>
                <a:gd name="T24" fmla="*/ 1930 w 2777"/>
                <a:gd name="T25" fmla="*/ 725 h 2531"/>
                <a:gd name="T26" fmla="*/ 1389 w 2777"/>
                <a:gd name="T27" fmla="*/ 501 h 2531"/>
                <a:gd name="T28" fmla="*/ 1389 w 2777"/>
                <a:gd name="T29" fmla="*/ 501 h 2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77" h="2531">
                  <a:moveTo>
                    <a:pt x="1389" y="2531"/>
                  </a:moveTo>
                  <a:cubicBezTo>
                    <a:pt x="1065" y="2531"/>
                    <a:pt x="741" y="2407"/>
                    <a:pt x="494" y="2161"/>
                  </a:cubicBezTo>
                  <a:cubicBezTo>
                    <a:pt x="0" y="1667"/>
                    <a:pt x="0" y="864"/>
                    <a:pt x="494" y="371"/>
                  </a:cubicBezTo>
                  <a:cubicBezTo>
                    <a:pt x="733" y="132"/>
                    <a:pt x="1051" y="0"/>
                    <a:pt x="1389" y="0"/>
                  </a:cubicBezTo>
                  <a:cubicBezTo>
                    <a:pt x="1727" y="0"/>
                    <a:pt x="2045" y="132"/>
                    <a:pt x="2284" y="371"/>
                  </a:cubicBezTo>
                  <a:cubicBezTo>
                    <a:pt x="2777" y="864"/>
                    <a:pt x="2777" y="1667"/>
                    <a:pt x="2284" y="2161"/>
                  </a:cubicBezTo>
                  <a:cubicBezTo>
                    <a:pt x="2037" y="2407"/>
                    <a:pt x="1713" y="2531"/>
                    <a:pt x="1389" y="2531"/>
                  </a:cubicBezTo>
                  <a:close/>
                  <a:moveTo>
                    <a:pt x="1389" y="501"/>
                  </a:moveTo>
                  <a:cubicBezTo>
                    <a:pt x="1193" y="501"/>
                    <a:pt x="997" y="576"/>
                    <a:pt x="848" y="725"/>
                  </a:cubicBezTo>
                  <a:cubicBezTo>
                    <a:pt x="550" y="1023"/>
                    <a:pt x="550" y="1508"/>
                    <a:pt x="848" y="1807"/>
                  </a:cubicBezTo>
                  <a:cubicBezTo>
                    <a:pt x="992" y="1951"/>
                    <a:pt x="1184" y="2031"/>
                    <a:pt x="1389" y="2031"/>
                  </a:cubicBezTo>
                  <a:cubicBezTo>
                    <a:pt x="1593" y="2031"/>
                    <a:pt x="1785" y="1951"/>
                    <a:pt x="1930" y="1807"/>
                  </a:cubicBezTo>
                  <a:cubicBezTo>
                    <a:pt x="2228" y="1508"/>
                    <a:pt x="2228" y="1023"/>
                    <a:pt x="1930" y="725"/>
                  </a:cubicBezTo>
                  <a:cubicBezTo>
                    <a:pt x="1781" y="576"/>
                    <a:pt x="1585" y="501"/>
                    <a:pt x="1389" y="501"/>
                  </a:cubicBezTo>
                  <a:close/>
                  <a:moveTo>
                    <a:pt x="1389" y="50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27"/>
            <p:cNvSpPr>
              <a:spLocks noEditPoints="1"/>
            </p:cNvSpPr>
            <p:nvPr/>
          </p:nvSpPr>
          <p:spPr bwMode="auto">
            <a:xfrm>
              <a:off x="2420" y="108"/>
              <a:ext cx="2847" cy="4096"/>
            </a:xfrm>
            <a:custGeom>
              <a:avLst/>
              <a:gdLst>
                <a:gd name="T0" fmla="*/ 2969 w 5932"/>
                <a:gd name="T1" fmla="*/ 8533 h 8533"/>
                <a:gd name="T2" fmla="*/ 2775 w 5932"/>
                <a:gd name="T3" fmla="*/ 8306 h 8533"/>
                <a:gd name="T4" fmla="*/ 0 w 5932"/>
                <a:gd name="T5" fmla="*/ 2966 h 8533"/>
                <a:gd name="T6" fmla="*/ 2966 w 5932"/>
                <a:gd name="T7" fmla="*/ 0 h 8533"/>
                <a:gd name="T8" fmla="*/ 5932 w 5932"/>
                <a:gd name="T9" fmla="*/ 2966 h 8533"/>
                <a:gd name="T10" fmla="*/ 3159 w 5932"/>
                <a:gd name="T11" fmla="*/ 8303 h 8533"/>
                <a:gd name="T12" fmla="*/ 2969 w 5932"/>
                <a:gd name="T13" fmla="*/ 8533 h 8533"/>
                <a:gd name="T14" fmla="*/ 2966 w 5932"/>
                <a:gd name="T15" fmla="*/ 501 h 8533"/>
                <a:gd name="T16" fmla="*/ 500 w 5932"/>
                <a:gd name="T17" fmla="*/ 2966 h 8533"/>
                <a:gd name="T18" fmla="*/ 1818 w 5932"/>
                <a:gd name="T19" fmla="*/ 6164 h 8533"/>
                <a:gd name="T20" fmla="*/ 2963 w 5932"/>
                <a:gd name="T21" fmla="*/ 7745 h 8533"/>
                <a:gd name="T22" fmla="*/ 4116 w 5932"/>
                <a:gd name="T23" fmla="*/ 6123 h 8533"/>
                <a:gd name="T24" fmla="*/ 5431 w 5932"/>
                <a:gd name="T25" fmla="*/ 2966 h 8533"/>
                <a:gd name="T26" fmla="*/ 2966 w 5932"/>
                <a:gd name="T27" fmla="*/ 501 h 8533"/>
                <a:gd name="T28" fmla="*/ 2966 w 5932"/>
                <a:gd name="T29" fmla="*/ 501 h 8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32" h="8533">
                  <a:moveTo>
                    <a:pt x="2969" y="8533"/>
                  </a:moveTo>
                  <a:lnTo>
                    <a:pt x="2775" y="8306"/>
                  </a:lnTo>
                  <a:cubicBezTo>
                    <a:pt x="2662" y="8173"/>
                    <a:pt x="0" y="5022"/>
                    <a:pt x="0" y="2966"/>
                  </a:cubicBezTo>
                  <a:cubicBezTo>
                    <a:pt x="0" y="1331"/>
                    <a:pt x="1330" y="0"/>
                    <a:pt x="2966" y="0"/>
                  </a:cubicBezTo>
                  <a:cubicBezTo>
                    <a:pt x="4601" y="0"/>
                    <a:pt x="5932" y="1331"/>
                    <a:pt x="5932" y="2966"/>
                  </a:cubicBezTo>
                  <a:cubicBezTo>
                    <a:pt x="5932" y="4921"/>
                    <a:pt x="3272" y="8166"/>
                    <a:pt x="3159" y="8303"/>
                  </a:cubicBezTo>
                  <a:lnTo>
                    <a:pt x="2969" y="8533"/>
                  </a:lnTo>
                  <a:close/>
                  <a:moveTo>
                    <a:pt x="2966" y="501"/>
                  </a:moveTo>
                  <a:cubicBezTo>
                    <a:pt x="1606" y="501"/>
                    <a:pt x="500" y="1607"/>
                    <a:pt x="500" y="2966"/>
                  </a:cubicBezTo>
                  <a:cubicBezTo>
                    <a:pt x="500" y="3730"/>
                    <a:pt x="956" y="4836"/>
                    <a:pt x="1818" y="6164"/>
                  </a:cubicBezTo>
                  <a:cubicBezTo>
                    <a:pt x="2265" y="6853"/>
                    <a:pt x="2716" y="7437"/>
                    <a:pt x="2963" y="7745"/>
                  </a:cubicBezTo>
                  <a:cubicBezTo>
                    <a:pt x="3211" y="7428"/>
                    <a:pt x="3666" y="6825"/>
                    <a:pt x="4116" y="6123"/>
                  </a:cubicBezTo>
                  <a:cubicBezTo>
                    <a:pt x="4976" y="4781"/>
                    <a:pt x="5431" y="3689"/>
                    <a:pt x="5431" y="2966"/>
                  </a:cubicBezTo>
                  <a:cubicBezTo>
                    <a:pt x="5431" y="1607"/>
                    <a:pt x="4325" y="501"/>
                    <a:pt x="2966" y="501"/>
                  </a:cubicBezTo>
                  <a:close/>
                  <a:moveTo>
                    <a:pt x="2966" y="50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7000700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536FF1B-9B8D-EE4F-A943-088AE3FAD535}"/>
              </a:ext>
            </a:extLst>
          </p:cNvPr>
          <p:cNvSpPr/>
          <p:nvPr/>
        </p:nvSpPr>
        <p:spPr>
          <a:xfrm>
            <a:off x="299244" y="106170"/>
            <a:ext cx="1159351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Digital Checklists and Activities</a:t>
            </a: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43C342B3-592E-EC45-9116-BAA5A8E6E414}"/>
              </a:ext>
            </a:extLst>
          </p:cNvPr>
          <p:cNvSpPr txBox="1"/>
          <p:nvPr/>
        </p:nvSpPr>
        <p:spPr>
          <a:xfrm>
            <a:off x="6991350" y="1120492"/>
            <a:ext cx="39262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reate custom checklists and distribute to remote members of the team</a:t>
            </a:r>
          </a:p>
        </p:txBody>
      </p:sp>
      <p:sp>
        <p:nvSpPr>
          <p:cNvPr id="8" name="TextBox 2">
            <a:extLst>
              <a:ext uri="{FF2B5EF4-FFF2-40B4-BE49-F238E27FC236}">
                <a16:creationId xmlns:a16="http://schemas.microsoft.com/office/drawing/2014/main" id="{81464961-20D9-9F4F-91A5-2C7FDD93EC5D}"/>
              </a:ext>
            </a:extLst>
          </p:cNvPr>
          <p:cNvSpPr txBox="1"/>
          <p:nvPr/>
        </p:nvSpPr>
        <p:spPr>
          <a:xfrm>
            <a:off x="6991350" y="2136688"/>
            <a:ext cx="39262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chedule checklist completion making your team accountable for the completion</a:t>
            </a:r>
          </a:p>
        </p:txBody>
      </p:sp>
      <p:sp>
        <p:nvSpPr>
          <p:cNvPr id="9" name="TextBox 2">
            <a:extLst>
              <a:ext uri="{FF2B5EF4-FFF2-40B4-BE49-F238E27FC236}">
                <a16:creationId xmlns:a16="http://schemas.microsoft.com/office/drawing/2014/main" id="{49772930-0396-D44B-A2D4-50D10F866D8F}"/>
              </a:ext>
            </a:extLst>
          </p:cNvPr>
          <p:cNvSpPr txBox="1"/>
          <p:nvPr/>
        </p:nvSpPr>
        <p:spPr>
          <a:xfrm>
            <a:off x="6991350" y="3172676"/>
            <a:ext cx="39262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utomate prompts and escalations if inspection deadlines are missed or expire</a:t>
            </a:r>
          </a:p>
        </p:txBody>
      </p:sp>
      <p:sp>
        <p:nvSpPr>
          <p:cNvPr id="11" name="TextBox 2">
            <a:extLst>
              <a:ext uri="{FF2B5EF4-FFF2-40B4-BE49-F238E27FC236}">
                <a16:creationId xmlns:a16="http://schemas.microsoft.com/office/drawing/2014/main" id="{649B0765-5800-3048-A390-90023104A9A4}"/>
              </a:ext>
            </a:extLst>
          </p:cNvPr>
          <p:cNvSpPr txBox="1"/>
          <p:nvPr/>
        </p:nvSpPr>
        <p:spPr>
          <a:xfrm>
            <a:off x="6991350" y="4091046"/>
            <a:ext cx="392620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llect and report upon data in real time and have your checklists popular custom dashboards and reports</a:t>
            </a:r>
          </a:p>
        </p:txBody>
      </p:sp>
      <p:sp>
        <p:nvSpPr>
          <p:cNvPr id="10" name="TextBox 2">
            <a:extLst>
              <a:ext uri="{FF2B5EF4-FFF2-40B4-BE49-F238E27FC236}">
                <a16:creationId xmlns:a16="http://schemas.microsoft.com/office/drawing/2014/main" id="{5C209CF5-16F9-F548-88C9-FFBD8540A276}"/>
              </a:ext>
            </a:extLst>
          </p:cNvPr>
          <p:cNvSpPr txBox="1"/>
          <p:nvPr/>
        </p:nvSpPr>
        <p:spPr>
          <a:xfrm>
            <a:off x="6991350" y="5113508"/>
            <a:ext cx="415944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B1E66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ake the completion process more logical and user friendly whilst standardising completion formats and answer options</a:t>
            </a:r>
          </a:p>
        </p:txBody>
      </p:sp>
      <p:grpSp>
        <p:nvGrpSpPr>
          <p:cNvPr id="13" name="Groupe 12"/>
          <p:cNvGrpSpPr/>
          <p:nvPr/>
        </p:nvGrpSpPr>
        <p:grpSpPr>
          <a:xfrm>
            <a:off x="1145119" y="924212"/>
            <a:ext cx="3938340" cy="5356936"/>
            <a:chOff x="6269568" y="-544725"/>
            <a:chExt cx="6348340" cy="8635021"/>
          </a:xfrm>
        </p:grpSpPr>
        <p:grpSp>
          <p:nvGrpSpPr>
            <p:cNvPr id="14" name="Groupe 13"/>
            <p:cNvGrpSpPr/>
            <p:nvPr/>
          </p:nvGrpSpPr>
          <p:grpSpPr>
            <a:xfrm>
              <a:off x="6269568" y="-544725"/>
              <a:ext cx="6348340" cy="8635021"/>
              <a:chOff x="8311089" y="-268953"/>
              <a:chExt cx="2821597" cy="3837940"/>
            </a:xfrm>
          </p:grpSpPr>
          <p:pic>
            <p:nvPicPr>
              <p:cNvPr id="18" name="Picture 1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11089" y="-268953"/>
                <a:ext cx="2821597" cy="3837940"/>
              </a:xfrm>
              <a:prstGeom prst="rect">
                <a:avLst/>
              </a:prstGeom>
            </p:spPr>
          </p:pic>
          <p:sp>
            <p:nvSpPr>
              <p:cNvPr id="19" name="Rectangle 18"/>
              <p:cNvSpPr/>
              <p:nvPr/>
            </p:nvSpPr>
            <p:spPr>
              <a:xfrm>
                <a:off x="8623406" y="58849"/>
                <a:ext cx="2196961" cy="292395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" name="Groupe 14"/>
            <p:cNvGrpSpPr/>
            <p:nvPr/>
          </p:nvGrpSpPr>
          <p:grpSpPr>
            <a:xfrm>
              <a:off x="6972254" y="653887"/>
              <a:ext cx="4919078" cy="5656456"/>
              <a:chOff x="6807516" y="753357"/>
              <a:chExt cx="5085239" cy="5847525"/>
            </a:xfrm>
          </p:grpSpPr>
          <p:pic>
            <p:nvPicPr>
              <p:cNvPr id="16" name="Picture 3" descr="Chart, funnel chart&#10;&#10;Description automatically generated">
                <a:extLst>
                  <a:ext uri="{FF2B5EF4-FFF2-40B4-BE49-F238E27FC236}">
                    <a16:creationId xmlns:a16="http://schemas.microsoft.com/office/drawing/2014/main" id="{21C5982E-A969-7849-A3E7-65D9104FCB8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666" b="66963"/>
              <a:stretch/>
            </p:blipFill>
            <p:spPr>
              <a:xfrm>
                <a:off x="6807516" y="815770"/>
                <a:ext cx="2731401" cy="5722697"/>
              </a:xfrm>
              <a:prstGeom prst="rect">
                <a:avLst/>
              </a:prstGeom>
            </p:spPr>
          </p:pic>
          <p:pic>
            <p:nvPicPr>
              <p:cNvPr id="17" name="Picture 11" descr="Chart, funnel chart&#10;&#10;Description automatically generated">
                <a:extLst>
                  <a:ext uri="{FF2B5EF4-FFF2-40B4-BE49-F238E27FC236}">
                    <a16:creationId xmlns:a16="http://schemas.microsoft.com/office/drawing/2014/main" id="{6BB0D9F2-7720-7747-9309-EA6463C906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9840" b="34149"/>
              <a:stretch/>
            </p:blipFill>
            <p:spPr>
              <a:xfrm>
                <a:off x="9538917" y="753357"/>
                <a:ext cx="2353838" cy="5847525"/>
              </a:xfrm>
              <a:prstGeom prst="rect">
                <a:avLst/>
              </a:prstGeom>
            </p:spPr>
          </p:pic>
        </p:grpSp>
      </p:grpSp>
      <p:pic>
        <p:nvPicPr>
          <p:cNvPr id="20" name="Image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982373"/>
            <a:ext cx="1174243" cy="542252"/>
          </a:xfrm>
          <a:prstGeom prst="rect">
            <a:avLst/>
          </a:prstGeom>
        </p:spPr>
      </p:pic>
      <p:sp>
        <p:nvSpPr>
          <p:cNvPr id="21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rgbClr val="A136A0"/>
                </a:solidFill>
                <a:latin typeface="Lato Medium"/>
                <a:ea typeface="Lato Medium"/>
                <a:cs typeface="Lato Medium"/>
              </a:rPr>
              <a:t>be-safetech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.c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</a:t>
            </a:r>
            <a:r>
              <a:rPr lang="en-US" b="1" dirty="0">
                <a:solidFill>
                  <a:srgbClr val="FEC232"/>
                </a:solidFill>
                <a:latin typeface="Montserrat"/>
              </a:rPr>
              <a:t>| </a:t>
            </a:r>
            <a:fld id="{DABD2AA5-CABB-4467-8A69-C511B00C377E}" type="slidenum">
              <a:rPr lang="en-US" b="1" dirty="0" smtClean="0">
                <a:solidFill>
                  <a:srgbClr val="A136A0"/>
                </a:solidFill>
                <a:latin typeface="Montserrat"/>
              </a:rPr>
              <a:pPr algn="l" rtl="1"/>
              <a:t>18</a:t>
            </a:fld>
            <a:endParaRPr lang="en-US" b="1" dirty="0">
              <a:solidFill>
                <a:srgbClr val="A136A0"/>
              </a:solidFill>
              <a:latin typeface="Montserrat"/>
            </a:endParaRPr>
          </a:p>
        </p:txBody>
      </p:sp>
      <p:sp>
        <p:nvSpPr>
          <p:cNvPr id="23" name="Freeform 14">
            <a:extLst>
              <a:ext uri="{FF2B5EF4-FFF2-40B4-BE49-F238E27FC236}">
                <a16:creationId xmlns:a16="http://schemas.microsoft.com/office/drawing/2014/main" id="{21E75793-FCD7-E640-8EAC-91AB64E42A50}"/>
              </a:ext>
            </a:extLst>
          </p:cNvPr>
          <p:cNvSpPr>
            <a:spLocks/>
          </p:cNvSpPr>
          <p:nvPr/>
        </p:nvSpPr>
        <p:spPr bwMode="auto">
          <a:xfrm>
            <a:off x="6096000" y="1009140"/>
            <a:ext cx="592450" cy="74592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7" name="Freeform 14">
            <a:extLst>
              <a:ext uri="{FF2B5EF4-FFF2-40B4-BE49-F238E27FC236}">
                <a16:creationId xmlns:a16="http://schemas.microsoft.com/office/drawing/2014/main" id="{7FA54939-6B8E-1343-884C-0CE695DCF2BA}"/>
              </a:ext>
            </a:extLst>
          </p:cNvPr>
          <p:cNvSpPr>
            <a:spLocks/>
          </p:cNvSpPr>
          <p:nvPr/>
        </p:nvSpPr>
        <p:spPr bwMode="auto">
          <a:xfrm>
            <a:off x="6096000" y="4087416"/>
            <a:ext cx="592450" cy="74592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7" name="Freeform 14">
            <a:extLst>
              <a:ext uri="{FF2B5EF4-FFF2-40B4-BE49-F238E27FC236}">
                <a16:creationId xmlns:a16="http://schemas.microsoft.com/office/drawing/2014/main" id="{2DD74FE8-58A6-4F4B-8026-F603B01FC494}"/>
              </a:ext>
            </a:extLst>
          </p:cNvPr>
          <p:cNvSpPr>
            <a:spLocks/>
          </p:cNvSpPr>
          <p:nvPr/>
        </p:nvSpPr>
        <p:spPr bwMode="auto">
          <a:xfrm>
            <a:off x="6096000" y="5113508"/>
            <a:ext cx="592450" cy="74592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3" name="Freeform 14">
            <a:extLst>
              <a:ext uri="{FF2B5EF4-FFF2-40B4-BE49-F238E27FC236}">
                <a16:creationId xmlns:a16="http://schemas.microsoft.com/office/drawing/2014/main" id="{E1271759-F623-7F45-A57E-F75D5C5F1D5D}"/>
              </a:ext>
            </a:extLst>
          </p:cNvPr>
          <p:cNvSpPr>
            <a:spLocks/>
          </p:cNvSpPr>
          <p:nvPr/>
        </p:nvSpPr>
        <p:spPr bwMode="auto">
          <a:xfrm>
            <a:off x="6096000" y="2035232"/>
            <a:ext cx="592450" cy="74592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80" name="Freeform 14">
            <a:extLst>
              <a:ext uri="{FF2B5EF4-FFF2-40B4-BE49-F238E27FC236}">
                <a16:creationId xmlns:a16="http://schemas.microsoft.com/office/drawing/2014/main" id="{7D92FF7C-326D-1C49-A57F-2CE4C5F5B11B}"/>
              </a:ext>
            </a:extLst>
          </p:cNvPr>
          <p:cNvSpPr>
            <a:spLocks/>
          </p:cNvSpPr>
          <p:nvPr/>
        </p:nvSpPr>
        <p:spPr bwMode="auto">
          <a:xfrm>
            <a:off x="6096000" y="3061324"/>
            <a:ext cx="592450" cy="745925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85" name="Group 98"/>
          <p:cNvGrpSpPr>
            <a:grpSpLocks noChangeAspect="1"/>
          </p:cNvGrpSpPr>
          <p:nvPr/>
        </p:nvGrpSpPr>
        <p:grpSpPr bwMode="auto">
          <a:xfrm>
            <a:off x="6248776" y="1120491"/>
            <a:ext cx="289035" cy="462185"/>
            <a:chOff x="4261" y="-895"/>
            <a:chExt cx="212" cy="339"/>
          </a:xfrm>
          <a:solidFill>
            <a:srgbClr val="A136A0"/>
          </a:solidFill>
        </p:grpSpPr>
        <p:sp>
          <p:nvSpPr>
            <p:cNvPr id="86" name="Freeform 99"/>
            <p:cNvSpPr>
              <a:spLocks/>
            </p:cNvSpPr>
            <p:nvPr/>
          </p:nvSpPr>
          <p:spPr bwMode="auto">
            <a:xfrm>
              <a:off x="4300" y="-812"/>
              <a:ext cx="44" cy="33"/>
            </a:xfrm>
            <a:custGeom>
              <a:avLst/>
              <a:gdLst>
                <a:gd name="T0" fmla="*/ 788 w 837"/>
                <a:gd name="T1" fmla="*/ 49 h 637"/>
                <a:gd name="T2" fmla="*/ 611 w 837"/>
                <a:gd name="T3" fmla="*/ 49 h 637"/>
                <a:gd name="T4" fmla="*/ 325 w 837"/>
                <a:gd name="T5" fmla="*/ 335 h 637"/>
                <a:gd name="T6" fmla="*/ 225 w 837"/>
                <a:gd name="T7" fmla="*/ 236 h 637"/>
                <a:gd name="T8" fmla="*/ 49 w 837"/>
                <a:gd name="T9" fmla="*/ 236 h 637"/>
                <a:gd name="T10" fmla="*/ 49 w 837"/>
                <a:gd name="T11" fmla="*/ 413 h 637"/>
                <a:gd name="T12" fmla="*/ 236 w 837"/>
                <a:gd name="T13" fmla="*/ 600 h 637"/>
                <a:gd name="T14" fmla="*/ 324 w 837"/>
                <a:gd name="T15" fmla="*/ 637 h 637"/>
                <a:gd name="T16" fmla="*/ 413 w 837"/>
                <a:gd name="T17" fmla="*/ 600 h 637"/>
                <a:gd name="T18" fmla="*/ 788 w 837"/>
                <a:gd name="T19" fmla="*/ 225 h 637"/>
                <a:gd name="T20" fmla="*/ 788 w 837"/>
                <a:gd name="T21" fmla="*/ 4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7" h="637">
                  <a:moveTo>
                    <a:pt x="788" y="49"/>
                  </a:moveTo>
                  <a:cubicBezTo>
                    <a:pt x="739" y="0"/>
                    <a:pt x="660" y="0"/>
                    <a:pt x="611" y="49"/>
                  </a:cubicBezTo>
                  <a:lnTo>
                    <a:pt x="325" y="335"/>
                  </a:lnTo>
                  <a:lnTo>
                    <a:pt x="225" y="236"/>
                  </a:lnTo>
                  <a:cubicBezTo>
                    <a:pt x="177" y="187"/>
                    <a:pt x="97" y="187"/>
                    <a:pt x="49" y="236"/>
                  </a:cubicBezTo>
                  <a:cubicBezTo>
                    <a:pt x="0" y="285"/>
                    <a:pt x="0" y="364"/>
                    <a:pt x="49" y="413"/>
                  </a:cubicBezTo>
                  <a:lnTo>
                    <a:pt x="236" y="600"/>
                  </a:lnTo>
                  <a:cubicBezTo>
                    <a:pt x="261" y="625"/>
                    <a:pt x="293" y="637"/>
                    <a:pt x="324" y="637"/>
                  </a:cubicBezTo>
                  <a:cubicBezTo>
                    <a:pt x="356" y="637"/>
                    <a:pt x="388" y="625"/>
                    <a:pt x="413" y="600"/>
                  </a:cubicBezTo>
                  <a:lnTo>
                    <a:pt x="788" y="225"/>
                  </a:lnTo>
                  <a:cubicBezTo>
                    <a:pt x="837" y="177"/>
                    <a:pt x="837" y="97"/>
                    <a:pt x="788" y="4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00"/>
            <p:cNvSpPr>
              <a:spLocks/>
            </p:cNvSpPr>
            <p:nvPr/>
          </p:nvSpPr>
          <p:spPr bwMode="auto">
            <a:xfrm>
              <a:off x="4300" y="-753"/>
              <a:ext cx="44" cy="34"/>
            </a:xfrm>
            <a:custGeom>
              <a:avLst/>
              <a:gdLst>
                <a:gd name="T0" fmla="*/ 788 w 837"/>
                <a:gd name="T1" fmla="*/ 49 h 637"/>
                <a:gd name="T2" fmla="*/ 611 w 837"/>
                <a:gd name="T3" fmla="*/ 49 h 637"/>
                <a:gd name="T4" fmla="*/ 325 w 837"/>
                <a:gd name="T5" fmla="*/ 335 h 637"/>
                <a:gd name="T6" fmla="*/ 225 w 837"/>
                <a:gd name="T7" fmla="*/ 236 h 637"/>
                <a:gd name="T8" fmla="*/ 49 w 837"/>
                <a:gd name="T9" fmla="*/ 236 h 637"/>
                <a:gd name="T10" fmla="*/ 49 w 837"/>
                <a:gd name="T11" fmla="*/ 413 h 637"/>
                <a:gd name="T12" fmla="*/ 236 w 837"/>
                <a:gd name="T13" fmla="*/ 600 h 637"/>
                <a:gd name="T14" fmla="*/ 324 w 837"/>
                <a:gd name="T15" fmla="*/ 637 h 637"/>
                <a:gd name="T16" fmla="*/ 413 w 837"/>
                <a:gd name="T17" fmla="*/ 600 h 637"/>
                <a:gd name="T18" fmla="*/ 788 w 837"/>
                <a:gd name="T19" fmla="*/ 225 h 637"/>
                <a:gd name="T20" fmla="*/ 788 w 837"/>
                <a:gd name="T21" fmla="*/ 4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7" h="637">
                  <a:moveTo>
                    <a:pt x="788" y="49"/>
                  </a:moveTo>
                  <a:cubicBezTo>
                    <a:pt x="739" y="0"/>
                    <a:pt x="660" y="0"/>
                    <a:pt x="611" y="49"/>
                  </a:cubicBezTo>
                  <a:lnTo>
                    <a:pt x="325" y="335"/>
                  </a:lnTo>
                  <a:lnTo>
                    <a:pt x="225" y="236"/>
                  </a:lnTo>
                  <a:cubicBezTo>
                    <a:pt x="177" y="187"/>
                    <a:pt x="97" y="187"/>
                    <a:pt x="49" y="236"/>
                  </a:cubicBezTo>
                  <a:cubicBezTo>
                    <a:pt x="0" y="285"/>
                    <a:pt x="0" y="364"/>
                    <a:pt x="49" y="413"/>
                  </a:cubicBezTo>
                  <a:lnTo>
                    <a:pt x="236" y="600"/>
                  </a:lnTo>
                  <a:cubicBezTo>
                    <a:pt x="261" y="625"/>
                    <a:pt x="293" y="637"/>
                    <a:pt x="324" y="637"/>
                  </a:cubicBezTo>
                  <a:cubicBezTo>
                    <a:pt x="356" y="637"/>
                    <a:pt x="388" y="625"/>
                    <a:pt x="413" y="600"/>
                  </a:cubicBezTo>
                  <a:lnTo>
                    <a:pt x="788" y="225"/>
                  </a:lnTo>
                  <a:cubicBezTo>
                    <a:pt x="837" y="177"/>
                    <a:pt x="837" y="97"/>
                    <a:pt x="788" y="4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01"/>
            <p:cNvSpPr>
              <a:spLocks/>
            </p:cNvSpPr>
            <p:nvPr/>
          </p:nvSpPr>
          <p:spPr bwMode="auto">
            <a:xfrm>
              <a:off x="4300" y="-693"/>
              <a:ext cx="44" cy="33"/>
            </a:xfrm>
            <a:custGeom>
              <a:avLst/>
              <a:gdLst>
                <a:gd name="T0" fmla="*/ 611 w 837"/>
                <a:gd name="T1" fmla="*/ 49 h 637"/>
                <a:gd name="T2" fmla="*/ 325 w 837"/>
                <a:gd name="T3" fmla="*/ 335 h 637"/>
                <a:gd name="T4" fmla="*/ 225 w 837"/>
                <a:gd name="T5" fmla="*/ 236 h 637"/>
                <a:gd name="T6" fmla="*/ 49 w 837"/>
                <a:gd name="T7" fmla="*/ 236 h 637"/>
                <a:gd name="T8" fmla="*/ 49 w 837"/>
                <a:gd name="T9" fmla="*/ 413 h 637"/>
                <a:gd name="T10" fmla="*/ 236 w 837"/>
                <a:gd name="T11" fmla="*/ 600 h 637"/>
                <a:gd name="T12" fmla="*/ 324 w 837"/>
                <a:gd name="T13" fmla="*/ 637 h 637"/>
                <a:gd name="T14" fmla="*/ 413 w 837"/>
                <a:gd name="T15" fmla="*/ 600 h 637"/>
                <a:gd name="T16" fmla="*/ 788 w 837"/>
                <a:gd name="T17" fmla="*/ 225 h 637"/>
                <a:gd name="T18" fmla="*/ 788 w 837"/>
                <a:gd name="T19" fmla="*/ 49 h 637"/>
                <a:gd name="T20" fmla="*/ 611 w 837"/>
                <a:gd name="T21" fmla="*/ 4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7" h="637">
                  <a:moveTo>
                    <a:pt x="611" y="49"/>
                  </a:moveTo>
                  <a:lnTo>
                    <a:pt x="325" y="335"/>
                  </a:lnTo>
                  <a:lnTo>
                    <a:pt x="225" y="236"/>
                  </a:lnTo>
                  <a:cubicBezTo>
                    <a:pt x="177" y="187"/>
                    <a:pt x="97" y="187"/>
                    <a:pt x="49" y="236"/>
                  </a:cubicBezTo>
                  <a:cubicBezTo>
                    <a:pt x="0" y="285"/>
                    <a:pt x="0" y="364"/>
                    <a:pt x="49" y="413"/>
                  </a:cubicBezTo>
                  <a:lnTo>
                    <a:pt x="236" y="600"/>
                  </a:lnTo>
                  <a:cubicBezTo>
                    <a:pt x="261" y="625"/>
                    <a:pt x="293" y="637"/>
                    <a:pt x="324" y="637"/>
                  </a:cubicBezTo>
                  <a:cubicBezTo>
                    <a:pt x="356" y="637"/>
                    <a:pt x="388" y="625"/>
                    <a:pt x="413" y="600"/>
                  </a:cubicBezTo>
                  <a:lnTo>
                    <a:pt x="788" y="225"/>
                  </a:lnTo>
                  <a:cubicBezTo>
                    <a:pt x="837" y="177"/>
                    <a:pt x="837" y="97"/>
                    <a:pt x="788" y="49"/>
                  </a:cubicBezTo>
                  <a:cubicBezTo>
                    <a:pt x="739" y="0"/>
                    <a:pt x="660" y="0"/>
                    <a:pt x="611" y="4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02"/>
            <p:cNvSpPr>
              <a:spLocks/>
            </p:cNvSpPr>
            <p:nvPr/>
          </p:nvSpPr>
          <p:spPr bwMode="auto">
            <a:xfrm>
              <a:off x="4360" y="-792"/>
              <a:ext cx="73" cy="13"/>
            </a:xfrm>
            <a:custGeom>
              <a:avLst/>
              <a:gdLst>
                <a:gd name="T0" fmla="*/ 1250 w 1375"/>
                <a:gd name="T1" fmla="*/ 0 h 250"/>
                <a:gd name="T2" fmla="*/ 125 w 1375"/>
                <a:gd name="T3" fmla="*/ 0 h 250"/>
                <a:gd name="T4" fmla="*/ 0 w 1375"/>
                <a:gd name="T5" fmla="*/ 125 h 250"/>
                <a:gd name="T6" fmla="*/ 125 w 1375"/>
                <a:gd name="T7" fmla="*/ 250 h 250"/>
                <a:gd name="T8" fmla="*/ 1250 w 1375"/>
                <a:gd name="T9" fmla="*/ 250 h 250"/>
                <a:gd name="T10" fmla="*/ 1375 w 1375"/>
                <a:gd name="T11" fmla="*/ 125 h 250"/>
                <a:gd name="T12" fmla="*/ 1250 w 1375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5" h="250">
                  <a:moveTo>
                    <a:pt x="1250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250" y="250"/>
                  </a:lnTo>
                  <a:cubicBezTo>
                    <a:pt x="1319" y="250"/>
                    <a:pt x="1375" y="194"/>
                    <a:pt x="1375" y="125"/>
                  </a:cubicBezTo>
                  <a:cubicBezTo>
                    <a:pt x="1375" y="56"/>
                    <a:pt x="1319" y="0"/>
                    <a:pt x="125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03"/>
            <p:cNvSpPr>
              <a:spLocks/>
            </p:cNvSpPr>
            <p:nvPr/>
          </p:nvSpPr>
          <p:spPr bwMode="auto">
            <a:xfrm>
              <a:off x="4360" y="-732"/>
              <a:ext cx="73" cy="13"/>
            </a:xfrm>
            <a:custGeom>
              <a:avLst/>
              <a:gdLst>
                <a:gd name="T0" fmla="*/ 1250 w 1375"/>
                <a:gd name="T1" fmla="*/ 0 h 250"/>
                <a:gd name="T2" fmla="*/ 125 w 1375"/>
                <a:gd name="T3" fmla="*/ 0 h 250"/>
                <a:gd name="T4" fmla="*/ 0 w 1375"/>
                <a:gd name="T5" fmla="*/ 125 h 250"/>
                <a:gd name="T6" fmla="*/ 125 w 1375"/>
                <a:gd name="T7" fmla="*/ 250 h 250"/>
                <a:gd name="T8" fmla="*/ 1250 w 1375"/>
                <a:gd name="T9" fmla="*/ 250 h 250"/>
                <a:gd name="T10" fmla="*/ 1375 w 1375"/>
                <a:gd name="T11" fmla="*/ 125 h 250"/>
                <a:gd name="T12" fmla="*/ 1250 w 1375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5" h="250">
                  <a:moveTo>
                    <a:pt x="1250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250" y="250"/>
                  </a:lnTo>
                  <a:cubicBezTo>
                    <a:pt x="1319" y="250"/>
                    <a:pt x="1375" y="194"/>
                    <a:pt x="1375" y="125"/>
                  </a:cubicBezTo>
                  <a:cubicBezTo>
                    <a:pt x="1375" y="56"/>
                    <a:pt x="1319" y="0"/>
                    <a:pt x="125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104"/>
            <p:cNvSpPr>
              <a:spLocks/>
            </p:cNvSpPr>
            <p:nvPr/>
          </p:nvSpPr>
          <p:spPr bwMode="auto">
            <a:xfrm>
              <a:off x="4360" y="-673"/>
              <a:ext cx="73" cy="13"/>
            </a:xfrm>
            <a:custGeom>
              <a:avLst/>
              <a:gdLst>
                <a:gd name="T0" fmla="*/ 1375 w 1375"/>
                <a:gd name="T1" fmla="*/ 125 h 250"/>
                <a:gd name="T2" fmla="*/ 1250 w 1375"/>
                <a:gd name="T3" fmla="*/ 0 h 250"/>
                <a:gd name="T4" fmla="*/ 125 w 1375"/>
                <a:gd name="T5" fmla="*/ 0 h 250"/>
                <a:gd name="T6" fmla="*/ 0 w 1375"/>
                <a:gd name="T7" fmla="*/ 125 h 250"/>
                <a:gd name="T8" fmla="*/ 125 w 1375"/>
                <a:gd name="T9" fmla="*/ 250 h 250"/>
                <a:gd name="T10" fmla="*/ 1250 w 1375"/>
                <a:gd name="T11" fmla="*/ 250 h 250"/>
                <a:gd name="T12" fmla="*/ 1375 w 1375"/>
                <a:gd name="T13" fmla="*/ 125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5" h="250">
                  <a:moveTo>
                    <a:pt x="1375" y="125"/>
                  </a:moveTo>
                  <a:cubicBezTo>
                    <a:pt x="1375" y="56"/>
                    <a:pt x="1319" y="0"/>
                    <a:pt x="1250" y="0"/>
                  </a:cubicBez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250" y="250"/>
                  </a:lnTo>
                  <a:cubicBezTo>
                    <a:pt x="1319" y="250"/>
                    <a:pt x="1375" y="194"/>
                    <a:pt x="1375" y="1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05"/>
            <p:cNvSpPr>
              <a:spLocks/>
            </p:cNvSpPr>
            <p:nvPr/>
          </p:nvSpPr>
          <p:spPr bwMode="auto">
            <a:xfrm>
              <a:off x="4350" y="-855"/>
              <a:ext cx="33" cy="13"/>
            </a:xfrm>
            <a:custGeom>
              <a:avLst/>
              <a:gdLst>
                <a:gd name="T0" fmla="*/ 500 w 625"/>
                <a:gd name="T1" fmla="*/ 0 h 250"/>
                <a:gd name="T2" fmla="*/ 125 w 625"/>
                <a:gd name="T3" fmla="*/ 0 h 250"/>
                <a:gd name="T4" fmla="*/ 0 w 625"/>
                <a:gd name="T5" fmla="*/ 125 h 250"/>
                <a:gd name="T6" fmla="*/ 125 w 625"/>
                <a:gd name="T7" fmla="*/ 250 h 250"/>
                <a:gd name="T8" fmla="*/ 500 w 625"/>
                <a:gd name="T9" fmla="*/ 250 h 250"/>
                <a:gd name="T10" fmla="*/ 625 w 625"/>
                <a:gd name="T11" fmla="*/ 125 h 250"/>
                <a:gd name="T12" fmla="*/ 500 w 625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5" h="250">
                  <a:moveTo>
                    <a:pt x="500" y="0"/>
                  </a:moveTo>
                  <a:lnTo>
                    <a:pt x="125" y="0"/>
                  </a:lnTo>
                  <a:cubicBezTo>
                    <a:pt x="55" y="0"/>
                    <a:pt x="0" y="56"/>
                    <a:pt x="0" y="125"/>
                  </a:cubicBezTo>
                  <a:cubicBezTo>
                    <a:pt x="0" y="194"/>
                    <a:pt x="55" y="250"/>
                    <a:pt x="125" y="250"/>
                  </a:cubicBezTo>
                  <a:lnTo>
                    <a:pt x="500" y="250"/>
                  </a:lnTo>
                  <a:cubicBezTo>
                    <a:pt x="569" y="250"/>
                    <a:pt x="625" y="194"/>
                    <a:pt x="625" y="125"/>
                  </a:cubicBezTo>
                  <a:cubicBezTo>
                    <a:pt x="625" y="56"/>
                    <a:pt x="569" y="0"/>
                    <a:pt x="5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06"/>
            <p:cNvSpPr>
              <a:spLocks/>
            </p:cNvSpPr>
            <p:nvPr/>
          </p:nvSpPr>
          <p:spPr bwMode="auto">
            <a:xfrm>
              <a:off x="4350" y="-613"/>
              <a:ext cx="33" cy="13"/>
            </a:xfrm>
            <a:custGeom>
              <a:avLst/>
              <a:gdLst>
                <a:gd name="T0" fmla="*/ 625 w 625"/>
                <a:gd name="T1" fmla="*/ 125 h 250"/>
                <a:gd name="T2" fmla="*/ 500 w 625"/>
                <a:gd name="T3" fmla="*/ 0 h 250"/>
                <a:gd name="T4" fmla="*/ 125 w 625"/>
                <a:gd name="T5" fmla="*/ 0 h 250"/>
                <a:gd name="T6" fmla="*/ 0 w 625"/>
                <a:gd name="T7" fmla="*/ 125 h 250"/>
                <a:gd name="T8" fmla="*/ 125 w 625"/>
                <a:gd name="T9" fmla="*/ 250 h 250"/>
                <a:gd name="T10" fmla="*/ 500 w 625"/>
                <a:gd name="T11" fmla="*/ 250 h 250"/>
                <a:gd name="T12" fmla="*/ 625 w 625"/>
                <a:gd name="T13" fmla="*/ 125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5" h="250">
                  <a:moveTo>
                    <a:pt x="625" y="125"/>
                  </a:moveTo>
                  <a:cubicBezTo>
                    <a:pt x="625" y="56"/>
                    <a:pt x="569" y="0"/>
                    <a:pt x="500" y="0"/>
                  </a:cubicBezTo>
                  <a:lnTo>
                    <a:pt x="125" y="0"/>
                  </a:lnTo>
                  <a:cubicBezTo>
                    <a:pt x="55" y="0"/>
                    <a:pt x="0" y="56"/>
                    <a:pt x="0" y="125"/>
                  </a:cubicBezTo>
                  <a:cubicBezTo>
                    <a:pt x="0" y="194"/>
                    <a:pt x="55" y="250"/>
                    <a:pt x="125" y="250"/>
                  </a:cubicBezTo>
                  <a:lnTo>
                    <a:pt x="500" y="250"/>
                  </a:lnTo>
                  <a:cubicBezTo>
                    <a:pt x="569" y="250"/>
                    <a:pt x="625" y="194"/>
                    <a:pt x="625" y="1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107"/>
            <p:cNvSpPr>
              <a:spLocks/>
            </p:cNvSpPr>
            <p:nvPr/>
          </p:nvSpPr>
          <p:spPr bwMode="auto">
            <a:xfrm>
              <a:off x="4261" y="-895"/>
              <a:ext cx="212" cy="339"/>
            </a:xfrm>
            <a:custGeom>
              <a:avLst/>
              <a:gdLst>
                <a:gd name="T0" fmla="*/ 0 w 4000"/>
                <a:gd name="T1" fmla="*/ 500 h 6400"/>
                <a:gd name="T2" fmla="*/ 0 w 4000"/>
                <a:gd name="T3" fmla="*/ 5900 h 6400"/>
                <a:gd name="T4" fmla="*/ 500 w 4000"/>
                <a:gd name="T5" fmla="*/ 6400 h 6400"/>
                <a:gd name="T6" fmla="*/ 1438 w 4000"/>
                <a:gd name="T7" fmla="*/ 6400 h 6400"/>
                <a:gd name="T8" fmla="*/ 1563 w 4000"/>
                <a:gd name="T9" fmla="*/ 6275 h 6400"/>
                <a:gd name="T10" fmla="*/ 1438 w 4000"/>
                <a:gd name="T11" fmla="*/ 6150 h 6400"/>
                <a:gd name="T12" fmla="*/ 500 w 4000"/>
                <a:gd name="T13" fmla="*/ 6150 h 6400"/>
                <a:gd name="T14" fmla="*/ 250 w 4000"/>
                <a:gd name="T15" fmla="*/ 5900 h 6400"/>
                <a:gd name="T16" fmla="*/ 250 w 4000"/>
                <a:gd name="T17" fmla="*/ 500 h 6400"/>
                <a:gd name="T18" fmla="*/ 500 w 4000"/>
                <a:gd name="T19" fmla="*/ 250 h 6400"/>
                <a:gd name="T20" fmla="*/ 3500 w 4000"/>
                <a:gd name="T21" fmla="*/ 250 h 6400"/>
                <a:gd name="T22" fmla="*/ 3750 w 4000"/>
                <a:gd name="T23" fmla="*/ 500 h 6400"/>
                <a:gd name="T24" fmla="*/ 3750 w 4000"/>
                <a:gd name="T25" fmla="*/ 5900 h 6400"/>
                <a:gd name="T26" fmla="*/ 3500 w 4000"/>
                <a:gd name="T27" fmla="*/ 6150 h 6400"/>
                <a:gd name="T28" fmla="*/ 2563 w 4000"/>
                <a:gd name="T29" fmla="*/ 6150 h 6400"/>
                <a:gd name="T30" fmla="*/ 2438 w 4000"/>
                <a:gd name="T31" fmla="*/ 6275 h 6400"/>
                <a:gd name="T32" fmla="*/ 2563 w 4000"/>
                <a:gd name="T33" fmla="*/ 6400 h 6400"/>
                <a:gd name="T34" fmla="*/ 3500 w 4000"/>
                <a:gd name="T35" fmla="*/ 6400 h 6400"/>
                <a:gd name="T36" fmla="*/ 4000 w 4000"/>
                <a:gd name="T37" fmla="*/ 5900 h 6400"/>
                <a:gd name="T38" fmla="*/ 4000 w 4000"/>
                <a:gd name="T39" fmla="*/ 500 h 6400"/>
                <a:gd name="T40" fmla="*/ 3500 w 4000"/>
                <a:gd name="T41" fmla="*/ 0 h 6400"/>
                <a:gd name="T42" fmla="*/ 500 w 4000"/>
                <a:gd name="T43" fmla="*/ 0 h 6400"/>
                <a:gd name="T44" fmla="*/ 0 w 4000"/>
                <a:gd name="T45" fmla="*/ 500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00" h="6400">
                  <a:moveTo>
                    <a:pt x="0" y="500"/>
                  </a:moveTo>
                  <a:lnTo>
                    <a:pt x="0" y="5900"/>
                  </a:lnTo>
                  <a:cubicBezTo>
                    <a:pt x="0" y="6176"/>
                    <a:pt x="224" y="6400"/>
                    <a:pt x="500" y="6400"/>
                  </a:cubicBezTo>
                  <a:lnTo>
                    <a:pt x="1438" y="6400"/>
                  </a:lnTo>
                  <a:cubicBezTo>
                    <a:pt x="1507" y="6400"/>
                    <a:pt x="1563" y="6344"/>
                    <a:pt x="1563" y="6275"/>
                  </a:cubicBezTo>
                  <a:cubicBezTo>
                    <a:pt x="1563" y="6206"/>
                    <a:pt x="1507" y="6150"/>
                    <a:pt x="1438" y="6150"/>
                  </a:cubicBezTo>
                  <a:lnTo>
                    <a:pt x="500" y="6150"/>
                  </a:lnTo>
                  <a:cubicBezTo>
                    <a:pt x="362" y="6150"/>
                    <a:pt x="250" y="6038"/>
                    <a:pt x="250" y="5900"/>
                  </a:cubicBezTo>
                  <a:lnTo>
                    <a:pt x="250" y="500"/>
                  </a:lnTo>
                  <a:cubicBezTo>
                    <a:pt x="250" y="362"/>
                    <a:pt x="362" y="250"/>
                    <a:pt x="500" y="250"/>
                  </a:cubicBezTo>
                  <a:lnTo>
                    <a:pt x="3500" y="250"/>
                  </a:lnTo>
                  <a:cubicBezTo>
                    <a:pt x="3638" y="250"/>
                    <a:pt x="3750" y="362"/>
                    <a:pt x="3750" y="500"/>
                  </a:cubicBezTo>
                  <a:lnTo>
                    <a:pt x="3750" y="5900"/>
                  </a:lnTo>
                  <a:cubicBezTo>
                    <a:pt x="3750" y="6038"/>
                    <a:pt x="3638" y="6150"/>
                    <a:pt x="3500" y="6150"/>
                  </a:cubicBezTo>
                  <a:lnTo>
                    <a:pt x="2563" y="6150"/>
                  </a:lnTo>
                  <a:cubicBezTo>
                    <a:pt x="2493" y="6150"/>
                    <a:pt x="2438" y="6206"/>
                    <a:pt x="2438" y="6275"/>
                  </a:cubicBezTo>
                  <a:cubicBezTo>
                    <a:pt x="2438" y="6344"/>
                    <a:pt x="2493" y="6400"/>
                    <a:pt x="2563" y="6400"/>
                  </a:cubicBezTo>
                  <a:lnTo>
                    <a:pt x="3500" y="6400"/>
                  </a:lnTo>
                  <a:cubicBezTo>
                    <a:pt x="3776" y="6400"/>
                    <a:pt x="4000" y="6176"/>
                    <a:pt x="4000" y="5900"/>
                  </a:cubicBezTo>
                  <a:lnTo>
                    <a:pt x="4000" y="500"/>
                  </a:lnTo>
                  <a:cubicBezTo>
                    <a:pt x="4000" y="224"/>
                    <a:pt x="3776" y="0"/>
                    <a:pt x="3500" y="0"/>
                  </a:cubicBezTo>
                  <a:lnTo>
                    <a:pt x="500" y="0"/>
                  </a:lnTo>
                  <a:cubicBezTo>
                    <a:pt x="224" y="0"/>
                    <a:pt x="0" y="224"/>
                    <a:pt x="0" y="5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Oval 108"/>
            <p:cNvSpPr>
              <a:spLocks noChangeArrowheads="1"/>
            </p:cNvSpPr>
            <p:nvPr/>
          </p:nvSpPr>
          <p:spPr bwMode="auto">
            <a:xfrm>
              <a:off x="4360" y="-570"/>
              <a:ext cx="13" cy="14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6" name="Group 9">
            <a:extLst>
              <a:ext uri="{FF2B5EF4-FFF2-40B4-BE49-F238E27FC236}">
                <a16:creationId xmlns:a16="http://schemas.microsoft.com/office/drawing/2014/main" id="{C4C975BD-AE1F-2745-ABBA-6C51A4937C0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82680" y="2179635"/>
            <a:ext cx="393690" cy="393690"/>
            <a:chOff x="2407" y="727"/>
            <a:chExt cx="2854" cy="2854"/>
          </a:xfrm>
          <a:solidFill>
            <a:srgbClr val="A136A0"/>
          </a:solidFill>
        </p:grpSpPr>
        <p:sp>
          <p:nvSpPr>
            <p:cNvPr id="97" name="Freeform 10">
              <a:extLst>
                <a:ext uri="{FF2B5EF4-FFF2-40B4-BE49-F238E27FC236}">
                  <a16:creationId xmlns:a16="http://schemas.microsoft.com/office/drawing/2014/main" id="{C65709B1-3EA4-C045-A979-DCD13791DB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7" y="727"/>
              <a:ext cx="2854" cy="2854"/>
            </a:xfrm>
            <a:custGeom>
              <a:avLst/>
              <a:gdLst>
                <a:gd name="T0" fmla="*/ 4735 w 5944"/>
                <a:gd name="T1" fmla="*/ 476 h 5944"/>
                <a:gd name="T2" fmla="*/ 4648 w 5944"/>
                <a:gd name="T3" fmla="*/ 0 h 5944"/>
                <a:gd name="T4" fmla="*/ 4187 w 5944"/>
                <a:gd name="T5" fmla="*/ 87 h 5944"/>
                <a:gd name="T6" fmla="*/ 3246 w 5944"/>
                <a:gd name="T7" fmla="*/ 476 h 5944"/>
                <a:gd name="T8" fmla="*/ 3159 w 5944"/>
                <a:gd name="T9" fmla="*/ 0 h 5944"/>
                <a:gd name="T10" fmla="*/ 2698 w 5944"/>
                <a:gd name="T11" fmla="*/ 87 h 5944"/>
                <a:gd name="T12" fmla="*/ 1757 w 5944"/>
                <a:gd name="T13" fmla="*/ 476 h 5944"/>
                <a:gd name="T14" fmla="*/ 1669 w 5944"/>
                <a:gd name="T15" fmla="*/ 0 h 5944"/>
                <a:gd name="T16" fmla="*/ 1209 w 5944"/>
                <a:gd name="T17" fmla="*/ 87 h 5944"/>
                <a:gd name="T18" fmla="*/ 87 w 5944"/>
                <a:gd name="T19" fmla="*/ 476 h 5944"/>
                <a:gd name="T20" fmla="*/ 0 w 5944"/>
                <a:gd name="T21" fmla="*/ 5857 h 5944"/>
                <a:gd name="T22" fmla="*/ 5857 w 5944"/>
                <a:gd name="T23" fmla="*/ 5944 h 5944"/>
                <a:gd name="T24" fmla="*/ 5944 w 5944"/>
                <a:gd name="T25" fmla="*/ 564 h 5944"/>
                <a:gd name="T26" fmla="*/ 4362 w 5944"/>
                <a:gd name="T27" fmla="*/ 175 h 5944"/>
                <a:gd name="T28" fmla="*/ 4560 w 5944"/>
                <a:gd name="T29" fmla="*/ 953 h 5944"/>
                <a:gd name="T30" fmla="*/ 4362 w 5944"/>
                <a:gd name="T31" fmla="*/ 175 h 5944"/>
                <a:gd name="T32" fmla="*/ 3071 w 5944"/>
                <a:gd name="T33" fmla="*/ 175 h 5944"/>
                <a:gd name="T34" fmla="*/ 2873 w 5944"/>
                <a:gd name="T35" fmla="*/ 953 h 5944"/>
                <a:gd name="T36" fmla="*/ 1384 w 5944"/>
                <a:gd name="T37" fmla="*/ 175 h 5944"/>
                <a:gd name="T38" fmla="*/ 1582 w 5944"/>
                <a:gd name="T39" fmla="*/ 953 h 5944"/>
                <a:gd name="T40" fmla="*/ 1384 w 5944"/>
                <a:gd name="T41" fmla="*/ 175 h 5944"/>
                <a:gd name="T42" fmla="*/ 1209 w 5944"/>
                <a:gd name="T43" fmla="*/ 651 h 5944"/>
                <a:gd name="T44" fmla="*/ 1296 w 5944"/>
                <a:gd name="T45" fmla="*/ 1128 h 5944"/>
                <a:gd name="T46" fmla="*/ 1757 w 5944"/>
                <a:gd name="T47" fmla="*/ 1040 h 5944"/>
                <a:gd name="T48" fmla="*/ 2698 w 5944"/>
                <a:gd name="T49" fmla="*/ 651 h 5944"/>
                <a:gd name="T50" fmla="*/ 2785 w 5944"/>
                <a:gd name="T51" fmla="*/ 1128 h 5944"/>
                <a:gd name="T52" fmla="*/ 3246 w 5944"/>
                <a:gd name="T53" fmla="*/ 1040 h 5944"/>
                <a:gd name="T54" fmla="*/ 4187 w 5944"/>
                <a:gd name="T55" fmla="*/ 651 h 5944"/>
                <a:gd name="T56" fmla="*/ 4275 w 5944"/>
                <a:gd name="T57" fmla="*/ 1128 h 5944"/>
                <a:gd name="T58" fmla="*/ 4735 w 5944"/>
                <a:gd name="T59" fmla="*/ 1040 h 5944"/>
                <a:gd name="T60" fmla="*/ 5769 w 5944"/>
                <a:gd name="T61" fmla="*/ 651 h 5944"/>
                <a:gd name="T62" fmla="*/ 175 w 5944"/>
                <a:gd name="T63" fmla="*/ 1653 h 5944"/>
                <a:gd name="T64" fmla="*/ 175 w 5944"/>
                <a:gd name="T65" fmla="*/ 5769 h 5944"/>
                <a:gd name="T66" fmla="*/ 5769 w 5944"/>
                <a:gd name="T67" fmla="*/ 1828 h 5944"/>
                <a:gd name="T68" fmla="*/ 175 w 5944"/>
                <a:gd name="T69" fmla="*/ 5769 h 5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44" h="5944">
                  <a:moveTo>
                    <a:pt x="5857" y="476"/>
                  </a:moveTo>
                  <a:lnTo>
                    <a:pt x="4735" y="476"/>
                  </a:lnTo>
                  <a:lnTo>
                    <a:pt x="4735" y="87"/>
                  </a:lnTo>
                  <a:cubicBezTo>
                    <a:pt x="4735" y="39"/>
                    <a:pt x="4696" y="0"/>
                    <a:pt x="4648" y="0"/>
                  </a:cubicBezTo>
                  <a:lnTo>
                    <a:pt x="4275" y="0"/>
                  </a:lnTo>
                  <a:cubicBezTo>
                    <a:pt x="4226" y="0"/>
                    <a:pt x="4187" y="39"/>
                    <a:pt x="4187" y="87"/>
                  </a:cubicBezTo>
                  <a:lnTo>
                    <a:pt x="4187" y="476"/>
                  </a:lnTo>
                  <a:lnTo>
                    <a:pt x="3246" y="476"/>
                  </a:lnTo>
                  <a:lnTo>
                    <a:pt x="3246" y="87"/>
                  </a:lnTo>
                  <a:cubicBezTo>
                    <a:pt x="3246" y="39"/>
                    <a:pt x="3207" y="0"/>
                    <a:pt x="3159" y="0"/>
                  </a:cubicBezTo>
                  <a:lnTo>
                    <a:pt x="2785" y="0"/>
                  </a:lnTo>
                  <a:cubicBezTo>
                    <a:pt x="2737" y="0"/>
                    <a:pt x="2698" y="39"/>
                    <a:pt x="2698" y="87"/>
                  </a:cubicBezTo>
                  <a:lnTo>
                    <a:pt x="2698" y="476"/>
                  </a:lnTo>
                  <a:lnTo>
                    <a:pt x="1757" y="476"/>
                  </a:lnTo>
                  <a:lnTo>
                    <a:pt x="1757" y="87"/>
                  </a:lnTo>
                  <a:cubicBezTo>
                    <a:pt x="1757" y="39"/>
                    <a:pt x="1718" y="0"/>
                    <a:pt x="1669" y="0"/>
                  </a:cubicBezTo>
                  <a:lnTo>
                    <a:pt x="1296" y="0"/>
                  </a:lnTo>
                  <a:cubicBezTo>
                    <a:pt x="1248" y="0"/>
                    <a:pt x="1209" y="39"/>
                    <a:pt x="1209" y="87"/>
                  </a:cubicBezTo>
                  <a:lnTo>
                    <a:pt x="1209" y="476"/>
                  </a:lnTo>
                  <a:lnTo>
                    <a:pt x="87" y="476"/>
                  </a:lnTo>
                  <a:cubicBezTo>
                    <a:pt x="39" y="476"/>
                    <a:pt x="0" y="516"/>
                    <a:pt x="0" y="564"/>
                  </a:cubicBezTo>
                  <a:lnTo>
                    <a:pt x="0" y="5857"/>
                  </a:lnTo>
                  <a:cubicBezTo>
                    <a:pt x="0" y="5905"/>
                    <a:pt x="39" y="5944"/>
                    <a:pt x="87" y="5944"/>
                  </a:cubicBezTo>
                  <a:lnTo>
                    <a:pt x="5857" y="5944"/>
                  </a:lnTo>
                  <a:cubicBezTo>
                    <a:pt x="5905" y="5944"/>
                    <a:pt x="5944" y="5905"/>
                    <a:pt x="5944" y="5857"/>
                  </a:cubicBezTo>
                  <a:lnTo>
                    <a:pt x="5944" y="564"/>
                  </a:lnTo>
                  <a:cubicBezTo>
                    <a:pt x="5944" y="516"/>
                    <a:pt x="5905" y="476"/>
                    <a:pt x="5857" y="476"/>
                  </a:cubicBezTo>
                  <a:close/>
                  <a:moveTo>
                    <a:pt x="4362" y="175"/>
                  </a:moveTo>
                  <a:lnTo>
                    <a:pt x="4560" y="175"/>
                  </a:lnTo>
                  <a:lnTo>
                    <a:pt x="4560" y="953"/>
                  </a:lnTo>
                  <a:lnTo>
                    <a:pt x="4362" y="953"/>
                  </a:lnTo>
                  <a:lnTo>
                    <a:pt x="4362" y="175"/>
                  </a:lnTo>
                  <a:close/>
                  <a:moveTo>
                    <a:pt x="2873" y="175"/>
                  </a:moveTo>
                  <a:lnTo>
                    <a:pt x="3071" y="175"/>
                  </a:lnTo>
                  <a:lnTo>
                    <a:pt x="3071" y="953"/>
                  </a:lnTo>
                  <a:lnTo>
                    <a:pt x="2873" y="953"/>
                  </a:lnTo>
                  <a:lnTo>
                    <a:pt x="2873" y="175"/>
                  </a:lnTo>
                  <a:close/>
                  <a:moveTo>
                    <a:pt x="1384" y="175"/>
                  </a:moveTo>
                  <a:lnTo>
                    <a:pt x="1582" y="175"/>
                  </a:lnTo>
                  <a:lnTo>
                    <a:pt x="1582" y="953"/>
                  </a:lnTo>
                  <a:lnTo>
                    <a:pt x="1384" y="953"/>
                  </a:lnTo>
                  <a:lnTo>
                    <a:pt x="1384" y="175"/>
                  </a:lnTo>
                  <a:close/>
                  <a:moveTo>
                    <a:pt x="175" y="651"/>
                  </a:moveTo>
                  <a:lnTo>
                    <a:pt x="1209" y="651"/>
                  </a:lnTo>
                  <a:lnTo>
                    <a:pt x="1209" y="1040"/>
                  </a:lnTo>
                  <a:cubicBezTo>
                    <a:pt x="1209" y="1089"/>
                    <a:pt x="1248" y="1128"/>
                    <a:pt x="1296" y="1128"/>
                  </a:cubicBezTo>
                  <a:lnTo>
                    <a:pt x="1669" y="1128"/>
                  </a:lnTo>
                  <a:cubicBezTo>
                    <a:pt x="1718" y="1128"/>
                    <a:pt x="1757" y="1089"/>
                    <a:pt x="1757" y="1040"/>
                  </a:cubicBezTo>
                  <a:lnTo>
                    <a:pt x="1757" y="651"/>
                  </a:lnTo>
                  <a:lnTo>
                    <a:pt x="2698" y="651"/>
                  </a:lnTo>
                  <a:lnTo>
                    <a:pt x="2698" y="1040"/>
                  </a:lnTo>
                  <a:cubicBezTo>
                    <a:pt x="2698" y="1089"/>
                    <a:pt x="2737" y="1128"/>
                    <a:pt x="2785" y="1128"/>
                  </a:cubicBezTo>
                  <a:lnTo>
                    <a:pt x="3159" y="1128"/>
                  </a:lnTo>
                  <a:cubicBezTo>
                    <a:pt x="3207" y="1128"/>
                    <a:pt x="3246" y="1089"/>
                    <a:pt x="3246" y="1040"/>
                  </a:cubicBezTo>
                  <a:lnTo>
                    <a:pt x="3246" y="651"/>
                  </a:lnTo>
                  <a:lnTo>
                    <a:pt x="4187" y="651"/>
                  </a:lnTo>
                  <a:lnTo>
                    <a:pt x="4187" y="1040"/>
                  </a:lnTo>
                  <a:cubicBezTo>
                    <a:pt x="4187" y="1089"/>
                    <a:pt x="4226" y="1128"/>
                    <a:pt x="4275" y="1128"/>
                  </a:cubicBezTo>
                  <a:lnTo>
                    <a:pt x="4648" y="1128"/>
                  </a:lnTo>
                  <a:cubicBezTo>
                    <a:pt x="4696" y="1128"/>
                    <a:pt x="4735" y="1089"/>
                    <a:pt x="4735" y="1040"/>
                  </a:cubicBezTo>
                  <a:lnTo>
                    <a:pt x="4735" y="651"/>
                  </a:lnTo>
                  <a:lnTo>
                    <a:pt x="5769" y="651"/>
                  </a:lnTo>
                  <a:lnTo>
                    <a:pt x="5769" y="1653"/>
                  </a:lnTo>
                  <a:lnTo>
                    <a:pt x="175" y="1653"/>
                  </a:lnTo>
                  <a:lnTo>
                    <a:pt x="175" y="651"/>
                  </a:lnTo>
                  <a:close/>
                  <a:moveTo>
                    <a:pt x="175" y="5769"/>
                  </a:moveTo>
                  <a:lnTo>
                    <a:pt x="175" y="1828"/>
                  </a:lnTo>
                  <a:lnTo>
                    <a:pt x="5769" y="1828"/>
                  </a:lnTo>
                  <a:lnTo>
                    <a:pt x="5769" y="5769"/>
                  </a:lnTo>
                  <a:lnTo>
                    <a:pt x="175" y="576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98" name="Freeform 11">
              <a:extLst>
                <a:ext uri="{FF2B5EF4-FFF2-40B4-BE49-F238E27FC236}">
                  <a16:creationId xmlns:a16="http://schemas.microsoft.com/office/drawing/2014/main" id="{6A387895-3B23-B54F-9080-FFAC792770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4" y="1795"/>
              <a:ext cx="401" cy="400"/>
            </a:xfrm>
            <a:custGeom>
              <a:avLst/>
              <a:gdLst>
                <a:gd name="T0" fmla="*/ 433 w 835"/>
                <a:gd name="T1" fmla="*/ 0 h 835"/>
                <a:gd name="T2" fmla="*/ 62 w 835"/>
                <a:gd name="T3" fmla="*/ 248 h 835"/>
                <a:gd name="T4" fmla="*/ 149 w 835"/>
                <a:gd name="T5" fmla="*/ 685 h 835"/>
                <a:gd name="T6" fmla="*/ 587 w 835"/>
                <a:gd name="T7" fmla="*/ 772 h 835"/>
                <a:gd name="T8" fmla="*/ 835 w 835"/>
                <a:gd name="T9" fmla="*/ 401 h 835"/>
                <a:gd name="T10" fmla="*/ 433 w 835"/>
                <a:gd name="T11" fmla="*/ 0 h 835"/>
                <a:gd name="T12" fmla="*/ 433 w 835"/>
                <a:gd name="T13" fmla="*/ 628 h 835"/>
                <a:gd name="T14" fmla="*/ 273 w 835"/>
                <a:gd name="T15" fmla="*/ 241 h 835"/>
                <a:gd name="T16" fmla="*/ 660 w 835"/>
                <a:gd name="T17" fmla="*/ 401 h 835"/>
                <a:gd name="T18" fmla="*/ 433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3" y="0"/>
                  </a:moveTo>
                  <a:cubicBezTo>
                    <a:pt x="271" y="0"/>
                    <a:pt x="124" y="98"/>
                    <a:pt x="62" y="248"/>
                  </a:cubicBezTo>
                  <a:cubicBezTo>
                    <a:pt x="0" y="398"/>
                    <a:pt x="34" y="571"/>
                    <a:pt x="149" y="685"/>
                  </a:cubicBezTo>
                  <a:cubicBezTo>
                    <a:pt x="264" y="800"/>
                    <a:pt x="437" y="835"/>
                    <a:pt x="587" y="772"/>
                  </a:cubicBezTo>
                  <a:cubicBezTo>
                    <a:pt x="737" y="710"/>
                    <a:pt x="835" y="564"/>
                    <a:pt x="835" y="401"/>
                  </a:cubicBezTo>
                  <a:cubicBezTo>
                    <a:pt x="834" y="180"/>
                    <a:pt x="655" y="0"/>
                    <a:pt x="433" y="0"/>
                  </a:cubicBezTo>
                  <a:close/>
                  <a:moveTo>
                    <a:pt x="433" y="628"/>
                  </a:moveTo>
                  <a:cubicBezTo>
                    <a:pt x="231" y="628"/>
                    <a:pt x="130" y="384"/>
                    <a:pt x="273" y="241"/>
                  </a:cubicBezTo>
                  <a:cubicBezTo>
                    <a:pt x="416" y="98"/>
                    <a:pt x="660" y="199"/>
                    <a:pt x="660" y="401"/>
                  </a:cubicBezTo>
                  <a:cubicBezTo>
                    <a:pt x="660" y="527"/>
                    <a:pt x="558" y="628"/>
                    <a:pt x="433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99" name="Freeform 12">
              <a:extLst>
                <a:ext uri="{FF2B5EF4-FFF2-40B4-BE49-F238E27FC236}">
                  <a16:creationId xmlns:a16="http://schemas.microsoft.com/office/drawing/2014/main" id="{B07E65E1-93FC-3D4C-909C-FF3B4735F1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5" y="1795"/>
              <a:ext cx="401" cy="400"/>
            </a:xfrm>
            <a:custGeom>
              <a:avLst/>
              <a:gdLst>
                <a:gd name="T0" fmla="*/ 433 w 835"/>
                <a:gd name="T1" fmla="*/ 0 h 835"/>
                <a:gd name="T2" fmla="*/ 62 w 835"/>
                <a:gd name="T3" fmla="*/ 248 h 835"/>
                <a:gd name="T4" fmla="*/ 149 w 835"/>
                <a:gd name="T5" fmla="*/ 685 h 835"/>
                <a:gd name="T6" fmla="*/ 587 w 835"/>
                <a:gd name="T7" fmla="*/ 772 h 835"/>
                <a:gd name="T8" fmla="*/ 835 w 835"/>
                <a:gd name="T9" fmla="*/ 401 h 835"/>
                <a:gd name="T10" fmla="*/ 433 w 835"/>
                <a:gd name="T11" fmla="*/ 0 h 835"/>
                <a:gd name="T12" fmla="*/ 433 w 835"/>
                <a:gd name="T13" fmla="*/ 628 h 835"/>
                <a:gd name="T14" fmla="*/ 273 w 835"/>
                <a:gd name="T15" fmla="*/ 241 h 835"/>
                <a:gd name="T16" fmla="*/ 660 w 835"/>
                <a:gd name="T17" fmla="*/ 401 h 835"/>
                <a:gd name="T18" fmla="*/ 433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3" y="0"/>
                  </a:moveTo>
                  <a:cubicBezTo>
                    <a:pt x="271" y="0"/>
                    <a:pt x="124" y="98"/>
                    <a:pt x="62" y="248"/>
                  </a:cubicBezTo>
                  <a:cubicBezTo>
                    <a:pt x="0" y="398"/>
                    <a:pt x="34" y="571"/>
                    <a:pt x="149" y="685"/>
                  </a:cubicBezTo>
                  <a:cubicBezTo>
                    <a:pt x="264" y="800"/>
                    <a:pt x="437" y="835"/>
                    <a:pt x="587" y="772"/>
                  </a:cubicBezTo>
                  <a:cubicBezTo>
                    <a:pt x="737" y="710"/>
                    <a:pt x="835" y="564"/>
                    <a:pt x="835" y="401"/>
                  </a:cubicBezTo>
                  <a:cubicBezTo>
                    <a:pt x="835" y="180"/>
                    <a:pt x="655" y="0"/>
                    <a:pt x="433" y="0"/>
                  </a:cubicBezTo>
                  <a:close/>
                  <a:moveTo>
                    <a:pt x="433" y="628"/>
                  </a:moveTo>
                  <a:cubicBezTo>
                    <a:pt x="231" y="628"/>
                    <a:pt x="130" y="384"/>
                    <a:pt x="273" y="241"/>
                  </a:cubicBezTo>
                  <a:cubicBezTo>
                    <a:pt x="416" y="98"/>
                    <a:pt x="660" y="199"/>
                    <a:pt x="660" y="401"/>
                  </a:cubicBezTo>
                  <a:cubicBezTo>
                    <a:pt x="660" y="527"/>
                    <a:pt x="558" y="628"/>
                    <a:pt x="433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00" name="Freeform 13">
              <a:extLst>
                <a:ext uri="{FF2B5EF4-FFF2-40B4-BE49-F238E27FC236}">
                  <a16:creationId xmlns:a16="http://schemas.microsoft.com/office/drawing/2014/main" id="{E7B3C9E0-001B-DC49-A3A0-268F77B48C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1795"/>
              <a:ext cx="400" cy="400"/>
            </a:xfrm>
            <a:custGeom>
              <a:avLst/>
              <a:gdLst>
                <a:gd name="T0" fmla="*/ 434 w 835"/>
                <a:gd name="T1" fmla="*/ 0 h 835"/>
                <a:gd name="T2" fmla="*/ 63 w 835"/>
                <a:gd name="T3" fmla="*/ 248 h 835"/>
                <a:gd name="T4" fmla="*/ 150 w 835"/>
                <a:gd name="T5" fmla="*/ 685 h 835"/>
                <a:gd name="T6" fmla="*/ 587 w 835"/>
                <a:gd name="T7" fmla="*/ 772 h 835"/>
                <a:gd name="T8" fmla="*/ 835 w 835"/>
                <a:gd name="T9" fmla="*/ 401 h 835"/>
                <a:gd name="T10" fmla="*/ 434 w 835"/>
                <a:gd name="T11" fmla="*/ 0 h 835"/>
                <a:gd name="T12" fmla="*/ 434 w 835"/>
                <a:gd name="T13" fmla="*/ 628 h 835"/>
                <a:gd name="T14" fmla="*/ 273 w 835"/>
                <a:gd name="T15" fmla="*/ 241 h 835"/>
                <a:gd name="T16" fmla="*/ 660 w 835"/>
                <a:gd name="T17" fmla="*/ 401 h 835"/>
                <a:gd name="T18" fmla="*/ 434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4" y="0"/>
                  </a:moveTo>
                  <a:cubicBezTo>
                    <a:pt x="271" y="0"/>
                    <a:pt x="125" y="98"/>
                    <a:pt x="63" y="248"/>
                  </a:cubicBezTo>
                  <a:cubicBezTo>
                    <a:pt x="0" y="398"/>
                    <a:pt x="35" y="571"/>
                    <a:pt x="150" y="685"/>
                  </a:cubicBezTo>
                  <a:cubicBezTo>
                    <a:pt x="265" y="800"/>
                    <a:pt x="437" y="835"/>
                    <a:pt x="587" y="772"/>
                  </a:cubicBezTo>
                  <a:cubicBezTo>
                    <a:pt x="737" y="710"/>
                    <a:pt x="835" y="564"/>
                    <a:pt x="835" y="401"/>
                  </a:cubicBezTo>
                  <a:cubicBezTo>
                    <a:pt x="835" y="180"/>
                    <a:pt x="655" y="0"/>
                    <a:pt x="434" y="0"/>
                  </a:cubicBezTo>
                  <a:close/>
                  <a:moveTo>
                    <a:pt x="434" y="628"/>
                  </a:moveTo>
                  <a:cubicBezTo>
                    <a:pt x="232" y="628"/>
                    <a:pt x="131" y="384"/>
                    <a:pt x="273" y="241"/>
                  </a:cubicBezTo>
                  <a:cubicBezTo>
                    <a:pt x="416" y="98"/>
                    <a:pt x="660" y="199"/>
                    <a:pt x="660" y="401"/>
                  </a:cubicBezTo>
                  <a:cubicBezTo>
                    <a:pt x="660" y="527"/>
                    <a:pt x="559" y="628"/>
                    <a:pt x="434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01" name="Freeform 14">
              <a:extLst>
                <a:ext uri="{FF2B5EF4-FFF2-40B4-BE49-F238E27FC236}">
                  <a16:creationId xmlns:a16="http://schemas.microsoft.com/office/drawing/2014/main" id="{9D6683B1-4D35-CB4A-BF80-A99447C887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8" y="1795"/>
              <a:ext cx="401" cy="400"/>
            </a:xfrm>
            <a:custGeom>
              <a:avLst/>
              <a:gdLst>
                <a:gd name="T0" fmla="*/ 433 w 835"/>
                <a:gd name="T1" fmla="*/ 0 h 835"/>
                <a:gd name="T2" fmla="*/ 62 w 835"/>
                <a:gd name="T3" fmla="*/ 248 h 835"/>
                <a:gd name="T4" fmla="*/ 149 w 835"/>
                <a:gd name="T5" fmla="*/ 685 h 835"/>
                <a:gd name="T6" fmla="*/ 587 w 835"/>
                <a:gd name="T7" fmla="*/ 772 h 835"/>
                <a:gd name="T8" fmla="*/ 835 w 835"/>
                <a:gd name="T9" fmla="*/ 401 h 835"/>
                <a:gd name="T10" fmla="*/ 433 w 835"/>
                <a:gd name="T11" fmla="*/ 0 h 835"/>
                <a:gd name="T12" fmla="*/ 433 w 835"/>
                <a:gd name="T13" fmla="*/ 628 h 835"/>
                <a:gd name="T14" fmla="*/ 273 w 835"/>
                <a:gd name="T15" fmla="*/ 241 h 835"/>
                <a:gd name="T16" fmla="*/ 660 w 835"/>
                <a:gd name="T17" fmla="*/ 401 h 835"/>
                <a:gd name="T18" fmla="*/ 433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3" y="0"/>
                  </a:moveTo>
                  <a:cubicBezTo>
                    <a:pt x="271" y="0"/>
                    <a:pt x="124" y="98"/>
                    <a:pt x="62" y="248"/>
                  </a:cubicBezTo>
                  <a:cubicBezTo>
                    <a:pt x="0" y="398"/>
                    <a:pt x="34" y="570"/>
                    <a:pt x="149" y="685"/>
                  </a:cubicBezTo>
                  <a:cubicBezTo>
                    <a:pt x="264" y="800"/>
                    <a:pt x="437" y="835"/>
                    <a:pt x="587" y="772"/>
                  </a:cubicBezTo>
                  <a:cubicBezTo>
                    <a:pt x="737" y="710"/>
                    <a:pt x="835" y="564"/>
                    <a:pt x="835" y="401"/>
                  </a:cubicBezTo>
                  <a:cubicBezTo>
                    <a:pt x="834" y="180"/>
                    <a:pt x="655" y="0"/>
                    <a:pt x="433" y="0"/>
                  </a:cubicBezTo>
                  <a:close/>
                  <a:moveTo>
                    <a:pt x="433" y="628"/>
                  </a:moveTo>
                  <a:cubicBezTo>
                    <a:pt x="231" y="628"/>
                    <a:pt x="130" y="384"/>
                    <a:pt x="273" y="241"/>
                  </a:cubicBezTo>
                  <a:cubicBezTo>
                    <a:pt x="415" y="98"/>
                    <a:pt x="660" y="199"/>
                    <a:pt x="660" y="401"/>
                  </a:cubicBezTo>
                  <a:cubicBezTo>
                    <a:pt x="659" y="527"/>
                    <a:pt x="558" y="628"/>
                    <a:pt x="433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02" name="Freeform 15">
              <a:extLst>
                <a:ext uri="{FF2B5EF4-FFF2-40B4-BE49-F238E27FC236}">
                  <a16:creationId xmlns:a16="http://schemas.microsoft.com/office/drawing/2014/main" id="{706407BA-4E16-8E4E-BD45-9D28876F0C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4" y="2358"/>
              <a:ext cx="401" cy="401"/>
            </a:xfrm>
            <a:custGeom>
              <a:avLst/>
              <a:gdLst>
                <a:gd name="T0" fmla="*/ 433 w 835"/>
                <a:gd name="T1" fmla="*/ 0 h 835"/>
                <a:gd name="T2" fmla="*/ 62 w 835"/>
                <a:gd name="T3" fmla="*/ 248 h 835"/>
                <a:gd name="T4" fmla="*/ 149 w 835"/>
                <a:gd name="T5" fmla="*/ 686 h 835"/>
                <a:gd name="T6" fmla="*/ 587 w 835"/>
                <a:gd name="T7" fmla="*/ 773 h 835"/>
                <a:gd name="T8" fmla="*/ 835 w 835"/>
                <a:gd name="T9" fmla="*/ 402 h 835"/>
                <a:gd name="T10" fmla="*/ 433 w 835"/>
                <a:gd name="T11" fmla="*/ 0 h 835"/>
                <a:gd name="T12" fmla="*/ 433 w 835"/>
                <a:gd name="T13" fmla="*/ 628 h 835"/>
                <a:gd name="T14" fmla="*/ 273 w 835"/>
                <a:gd name="T15" fmla="*/ 241 h 835"/>
                <a:gd name="T16" fmla="*/ 660 w 835"/>
                <a:gd name="T17" fmla="*/ 402 h 835"/>
                <a:gd name="T18" fmla="*/ 433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3" y="0"/>
                  </a:moveTo>
                  <a:cubicBezTo>
                    <a:pt x="271" y="0"/>
                    <a:pt x="124" y="98"/>
                    <a:pt x="62" y="248"/>
                  </a:cubicBezTo>
                  <a:cubicBezTo>
                    <a:pt x="0" y="398"/>
                    <a:pt x="34" y="571"/>
                    <a:pt x="149" y="686"/>
                  </a:cubicBezTo>
                  <a:cubicBezTo>
                    <a:pt x="264" y="801"/>
                    <a:pt x="437" y="835"/>
                    <a:pt x="587" y="773"/>
                  </a:cubicBezTo>
                  <a:cubicBezTo>
                    <a:pt x="737" y="711"/>
                    <a:pt x="835" y="564"/>
                    <a:pt x="835" y="402"/>
                  </a:cubicBezTo>
                  <a:cubicBezTo>
                    <a:pt x="834" y="180"/>
                    <a:pt x="655" y="0"/>
                    <a:pt x="433" y="0"/>
                  </a:cubicBezTo>
                  <a:close/>
                  <a:moveTo>
                    <a:pt x="433" y="628"/>
                  </a:moveTo>
                  <a:cubicBezTo>
                    <a:pt x="231" y="628"/>
                    <a:pt x="130" y="384"/>
                    <a:pt x="273" y="241"/>
                  </a:cubicBezTo>
                  <a:cubicBezTo>
                    <a:pt x="415" y="99"/>
                    <a:pt x="660" y="200"/>
                    <a:pt x="660" y="402"/>
                  </a:cubicBezTo>
                  <a:cubicBezTo>
                    <a:pt x="659" y="527"/>
                    <a:pt x="558" y="628"/>
                    <a:pt x="433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03" name="Freeform 16">
              <a:extLst>
                <a:ext uri="{FF2B5EF4-FFF2-40B4-BE49-F238E27FC236}">
                  <a16:creationId xmlns:a16="http://schemas.microsoft.com/office/drawing/2014/main" id="{2E17CBBB-8B40-2C42-91D2-83C809019F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5" y="2358"/>
              <a:ext cx="401" cy="401"/>
            </a:xfrm>
            <a:custGeom>
              <a:avLst/>
              <a:gdLst>
                <a:gd name="T0" fmla="*/ 433 w 835"/>
                <a:gd name="T1" fmla="*/ 0 h 835"/>
                <a:gd name="T2" fmla="*/ 62 w 835"/>
                <a:gd name="T3" fmla="*/ 248 h 835"/>
                <a:gd name="T4" fmla="*/ 149 w 835"/>
                <a:gd name="T5" fmla="*/ 686 h 835"/>
                <a:gd name="T6" fmla="*/ 587 w 835"/>
                <a:gd name="T7" fmla="*/ 773 h 835"/>
                <a:gd name="T8" fmla="*/ 835 w 835"/>
                <a:gd name="T9" fmla="*/ 402 h 835"/>
                <a:gd name="T10" fmla="*/ 433 w 835"/>
                <a:gd name="T11" fmla="*/ 0 h 835"/>
                <a:gd name="T12" fmla="*/ 433 w 835"/>
                <a:gd name="T13" fmla="*/ 628 h 835"/>
                <a:gd name="T14" fmla="*/ 273 w 835"/>
                <a:gd name="T15" fmla="*/ 241 h 835"/>
                <a:gd name="T16" fmla="*/ 660 w 835"/>
                <a:gd name="T17" fmla="*/ 402 h 835"/>
                <a:gd name="T18" fmla="*/ 433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3" y="0"/>
                  </a:moveTo>
                  <a:cubicBezTo>
                    <a:pt x="271" y="0"/>
                    <a:pt x="124" y="98"/>
                    <a:pt x="62" y="248"/>
                  </a:cubicBezTo>
                  <a:cubicBezTo>
                    <a:pt x="0" y="398"/>
                    <a:pt x="34" y="571"/>
                    <a:pt x="149" y="686"/>
                  </a:cubicBezTo>
                  <a:cubicBezTo>
                    <a:pt x="264" y="801"/>
                    <a:pt x="437" y="835"/>
                    <a:pt x="587" y="773"/>
                  </a:cubicBezTo>
                  <a:cubicBezTo>
                    <a:pt x="737" y="711"/>
                    <a:pt x="835" y="564"/>
                    <a:pt x="835" y="402"/>
                  </a:cubicBezTo>
                  <a:cubicBezTo>
                    <a:pt x="835" y="180"/>
                    <a:pt x="655" y="0"/>
                    <a:pt x="433" y="0"/>
                  </a:cubicBezTo>
                  <a:close/>
                  <a:moveTo>
                    <a:pt x="433" y="628"/>
                  </a:moveTo>
                  <a:cubicBezTo>
                    <a:pt x="231" y="628"/>
                    <a:pt x="130" y="384"/>
                    <a:pt x="273" y="241"/>
                  </a:cubicBezTo>
                  <a:cubicBezTo>
                    <a:pt x="416" y="99"/>
                    <a:pt x="660" y="200"/>
                    <a:pt x="660" y="402"/>
                  </a:cubicBezTo>
                  <a:cubicBezTo>
                    <a:pt x="660" y="527"/>
                    <a:pt x="558" y="628"/>
                    <a:pt x="433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04" name="Freeform 17">
              <a:extLst>
                <a:ext uri="{FF2B5EF4-FFF2-40B4-BE49-F238E27FC236}">
                  <a16:creationId xmlns:a16="http://schemas.microsoft.com/office/drawing/2014/main" id="{A4188FA8-AE3A-B345-ABF8-4E97FA86B2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358"/>
              <a:ext cx="400" cy="401"/>
            </a:xfrm>
            <a:custGeom>
              <a:avLst/>
              <a:gdLst>
                <a:gd name="T0" fmla="*/ 434 w 835"/>
                <a:gd name="T1" fmla="*/ 0 h 835"/>
                <a:gd name="T2" fmla="*/ 62 w 835"/>
                <a:gd name="T3" fmla="*/ 248 h 835"/>
                <a:gd name="T4" fmla="*/ 150 w 835"/>
                <a:gd name="T5" fmla="*/ 686 h 835"/>
                <a:gd name="T6" fmla="*/ 587 w 835"/>
                <a:gd name="T7" fmla="*/ 773 h 835"/>
                <a:gd name="T8" fmla="*/ 835 w 835"/>
                <a:gd name="T9" fmla="*/ 402 h 835"/>
                <a:gd name="T10" fmla="*/ 434 w 835"/>
                <a:gd name="T11" fmla="*/ 0 h 835"/>
                <a:gd name="T12" fmla="*/ 434 w 835"/>
                <a:gd name="T13" fmla="*/ 628 h 835"/>
                <a:gd name="T14" fmla="*/ 273 w 835"/>
                <a:gd name="T15" fmla="*/ 241 h 835"/>
                <a:gd name="T16" fmla="*/ 660 w 835"/>
                <a:gd name="T17" fmla="*/ 402 h 835"/>
                <a:gd name="T18" fmla="*/ 434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4" y="0"/>
                  </a:moveTo>
                  <a:cubicBezTo>
                    <a:pt x="271" y="0"/>
                    <a:pt x="125" y="98"/>
                    <a:pt x="62" y="248"/>
                  </a:cubicBezTo>
                  <a:cubicBezTo>
                    <a:pt x="0" y="398"/>
                    <a:pt x="35" y="571"/>
                    <a:pt x="150" y="686"/>
                  </a:cubicBezTo>
                  <a:cubicBezTo>
                    <a:pt x="264" y="801"/>
                    <a:pt x="437" y="835"/>
                    <a:pt x="587" y="773"/>
                  </a:cubicBezTo>
                  <a:cubicBezTo>
                    <a:pt x="737" y="711"/>
                    <a:pt x="835" y="564"/>
                    <a:pt x="835" y="402"/>
                  </a:cubicBezTo>
                  <a:cubicBezTo>
                    <a:pt x="835" y="180"/>
                    <a:pt x="655" y="0"/>
                    <a:pt x="434" y="0"/>
                  </a:cubicBezTo>
                  <a:close/>
                  <a:moveTo>
                    <a:pt x="434" y="628"/>
                  </a:moveTo>
                  <a:cubicBezTo>
                    <a:pt x="232" y="628"/>
                    <a:pt x="130" y="384"/>
                    <a:pt x="273" y="241"/>
                  </a:cubicBezTo>
                  <a:cubicBezTo>
                    <a:pt x="416" y="99"/>
                    <a:pt x="660" y="200"/>
                    <a:pt x="660" y="402"/>
                  </a:cubicBezTo>
                  <a:cubicBezTo>
                    <a:pt x="660" y="527"/>
                    <a:pt x="559" y="628"/>
                    <a:pt x="434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05" name="Freeform 18">
              <a:extLst>
                <a:ext uri="{FF2B5EF4-FFF2-40B4-BE49-F238E27FC236}">
                  <a16:creationId xmlns:a16="http://schemas.microsoft.com/office/drawing/2014/main" id="{67C35CBD-AF48-D748-8112-EFA106883E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8" y="2358"/>
              <a:ext cx="401" cy="401"/>
            </a:xfrm>
            <a:custGeom>
              <a:avLst/>
              <a:gdLst>
                <a:gd name="T0" fmla="*/ 433 w 835"/>
                <a:gd name="T1" fmla="*/ 0 h 835"/>
                <a:gd name="T2" fmla="*/ 62 w 835"/>
                <a:gd name="T3" fmla="*/ 248 h 835"/>
                <a:gd name="T4" fmla="*/ 149 w 835"/>
                <a:gd name="T5" fmla="*/ 686 h 835"/>
                <a:gd name="T6" fmla="*/ 587 w 835"/>
                <a:gd name="T7" fmla="*/ 773 h 835"/>
                <a:gd name="T8" fmla="*/ 835 w 835"/>
                <a:gd name="T9" fmla="*/ 402 h 835"/>
                <a:gd name="T10" fmla="*/ 433 w 835"/>
                <a:gd name="T11" fmla="*/ 0 h 835"/>
                <a:gd name="T12" fmla="*/ 433 w 835"/>
                <a:gd name="T13" fmla="*/ 628 h 835"/>
                <a:gd name="T14" fmla="*/ 273 w 835"/>
                <a:gd name="T15" fmla="*/ 241 h 835"/>
                <a:gd name="T16" fmla="*/ 660 w 835"/>
                <a:gd name="T17" fmla="*/ 402 h 835"/>
                <a:gd name="T18" fmla="*/ 433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3" y="0"/>
                  </a:moveTo>
                  <a:cubicBezTo>
                    <a:pt x="271" y="0"/>
                    <a:pt x="124" y="98"/>
                    <a:pt x="62" y="248"/>
                  </a:cubicBezTo>
                  <a:cubicBezTo>
                    <a:pt x="0" y="398"/>
                    <a:pt x="34" y="571"/>
                    <a:pt x="149" y="686"/>
                  </a:cubicBezTo>
                  <a:cubicBezTo>
                    <a:pt x="264" y="801"/>
                    <a:pt x="437" y="835"/>
                    <a:pt x="587" y="773"/>
                  </a:cubicBezTo>
                  <a:cubicBezTo>
                    <a:pt x="737" y="711"/>
                    <a:pt x="835" y="564"/>
                    <a:pt x="835" y="402"/>
                  </a:cubicBezTo>
                  <a:cubicBezTo>
                    <a:pt x="834" y="180"/>
                    <a:pt x="655" y="0"/>
                    <a:pt x="433" y="0"/>
                  </a:cubicBezTo>
                  <a:close/>
                  <a:moveTo>
                    <a:pt x="433" y="628"/>
                  </a:moveTo>
                  <a:cubicBezTo>
                    <a:pt x="231" y="628"/>
                    <a:pt x="130" y="384"/>
                    <a:pt x="273" y="241"/>
                  </a:cubicBezTo>
                  <a:cubicBezTo>
                    <a:pt x="415" y="99"/>
                    <a:pt x="660" y="200"/>
                    <a:pt x="660" y="402"/>
                  </a:cubicBezTo>
                  <a:cubicBezTo>
                    <a:pt x="659" y="527"/>
                    <a:pt x="558" y="628"/>
                    <a:pt x="433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06" name="Freeform 19">
              <a:extLst>
                <a:ext uri="{FF2B5EF4-FFF2-40B4-BE49-F238E27FC236}">
                  <a16:creationId xmlns:a16="http://schemas.microsoft.com/office/drawing/2014/main" id="{BE013080-0809-6340-A0CE-43B8A36D97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4" y="2922"/>
              <a:ext cx="401" cy="400"/>
            </a:xfrm>
            <a:custGeom>
              <a:avLst/>
              <a:gdLst>
                <a:gd name="T0" fmla="*/ 433 w 835"/>
                <a:gd name="T1" fmla="*/ 0 h 835"/>
                <a:gd name="T2" fmla="*/ 62 w 835"/>
                <a:gd name="T3" fmla="*/ 248 h 835"/>
                <a:gd name="T4" fmla="*/ 149 w 835"/>
                <a:gd name="T5" fmla="*/ 685 h 835"/>
                <a:gd name="T6" fmla="*/ 587 w 835"/>
                <a:gd name="T7" fmla="*/ 773 h 835"/>
                <a:gd name="T8" fmla="*/ 835 w 835"/>
                <a:gd name="T9" fmla="*/ 401 h 835"/>
                <a:gd name="T10" fmla="*/ 433 w 835"/>
                <a:gd name="T11" fmla="*/ 0 h 835"/>
                <a:gd name="T12" fmla="*/ 433 w 835"/>
                <a:gd name="T13" fmla="*/ 628 h 835"/>
                <a:gd name="T14" fmla="*/ 273 w 835"/>
                <a:gd name="T15" fmla="*/ 241 h 835"/>
                <a:gd name="T16" fmla="*/ 660 w 835"/>
                <a:gd name="T17" fmla="*/ 401 h 835"/>
                <a:gd name="T18" fmla="*/ 433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3" y="0"/>
                  </a:moveTo>
                  <a:cubicBezTo>
                    <a:pt x="271" y="0"/>
                    <a:pt x="124" y="98"/>
                    <a:pt x="62" y="248"/>
                  </a:cubicBezTo>
                  <a:cubicBezTo>
                    <a:pt x="0" y="398"/>
                    <a:pt x="34" y="571"/>
                    <a:pt x="149" y="685"/>
                  </a:cubicBezTo>
                  <a:cubicBezTo>
                    <a:pt x="264" y="800"/>
                    <a:pt x="437" y="835"/>
                    <a:pt x="587" y="773"/>
                  </a:cubicBezTo>
                  <a:cubicBezTo>
                    <a:pt x="737" y="710"/>
                    <a:pt x="835" y="564"/>
                    <a:pt x="835" y="401"/>
                  </a:cubicBezTo>
                  <a:cubicBezTo>
                    <a:pt x="834" y="180"/>
                    <a:pt x="655" y="0"/>
                    <a:pt x="433" y="0"/>
                  </a:cubicBezTo>
                  <a:close/>
                  <a:moveTo>
                    <a:pt x="433" y="628"/>
                  </a:moveTo>
                  <a:cubicBezTo>
                    <a:pt x="231" y="628"/>
                    <a:pt x="130" y="384"/>
                    <a:pt x="273" y="241"/>
                  </a:cubicBezTo>
                  <a:cubicBezTo>
                    <a:pt x="416" y="98"/>
                    <a:pt x="660" y="200"/>
                    <a:pt x="660" y="401"/>
                  </a:cubicBezTo>
                  <a:cubicBezTo>
                    <a:pt x="660" y="527"/>
                    <a:pt x="558" y="628"/>
                    <a:pt x="433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07" name="Freeform 20">
              <a:extLst>
                <a:ext uri="{FF2B5EF4-FFF2-40B4-BE49-F238E27FC236}">
                  <a16:creationId xmlns:a16="http://schemas.microsoft.com/office/drawing/2014/main" id="{5111F058-DB4C-7B44-8B83-20425EC624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5" y="2922"/>
              <a:ext cx="401" cy="400"/>
            </a:xfrm>
            <a:custGeom>
              <a:avLst/>
              <a:gdLst>
                <a:gd name="T0" fmla="*/ 433 w 835"/>
                <a:gd name="T1" fmla="*/ 0 h 835"/>
                <a:gd name="T2" fmla="*/ 62 w 835"/>
                <a:gd name="T3" fmla="*/ 248 h 835"/>
                <a:gd name="T4" fmla="*/ 149 w 835"/>
                <a:gd name="T5" fmla="*/ 685 h 835"/>
                <a:gd name="T6" fmla="*/ 587 w 835"/>
                <a:gd name="T7" fmla="*/ 773 h 835"/>
                <a:gd name="T8" fmla="*/ 835 w 835"/>
                <a:gd name="T9" fmla="*/ 401 h 835"/>
                <a:gd name="T10" fmla="*/ 433 w 835"/>
                <a:gd name="T11" fmla="*/ 0 h 835"/>
                <a:gd name="T12" fmla="*/ 433 w 835"/>
                <a:gd name="T13" fmla="*/ 628 h 835"/>
                <a:gd name="T14" fmla="*/ 273 w 835"/>
                <a:gd name="T15" fmla="*/ 241 h 835"/>
                <a:gd name="T16" fmla="*/ 660 w 835"/>
                <a:gd name="T17" fmla="*/ 401 h 835"/>
                <a:gd name="T18" fmla="*/ 433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3" y="0"/>
                  </a:moveTo>
                  <a:cubicBezTo>
                    <a:pt x="271" y="0"/>
                    <a:pt x="124" y="98"/>
                    <a:pt x="62" y="248"/>
                  </a:cubicBezTo>
                  <a:cubicBezTo>
                    <a:pt x="0" y="398"/>
                    <a:pt x="34" y="571"/>
                    <a:pt x="149" y="685"/>
                  </a:cubicBezTo>
                  <a:cubicBezTo>
                    <a:pt x="264" y="800"/>
                    <a:pt x="437" y="835"/>
                    <a:pt x="587" y="773"/>
                  </a:cubicBezTo>
                  <a:cubicBezTo>
                    <a:pt x="737" y="710"/>
                    <a:pt x="835" y="564"/>
                    <a:pt x="835" y="401"/>
                  </a:cubicBezTo>
                  <a:cubicBezTo>
                    <a:pt x="835" y="180"/>
                    <a:pt x="655" y="0"/>
                    <a:pt x="433" y="0"/>
                  </a:cubicBezTo>
                  <a:close/>
                  <a:moveTo>
                    <a:pt x="433" y="628"/>
                  </a:moveTo>
                  <a:cubicBezTo>
                    <a:pt x="231" y="628"/>
                    <a:pt x="130" y="384"/>
                    <a:pt x="273" y="241"/>
                  </a:cubicBezTo>
                  <a:cubicBezTo>
                    <a:pt x="416" y="98"/>
                    <a:pt x="660" y="200"/>
                    <a:pt x="660" y="401"/>
                  </a:cubicBezTo>
                  <a:cubicBezTo>
                    <a:pt x="660" y="527"/>
                    <a:pt x="558" y="628"/>
                    <a:pt x="433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08" name="Freeform 21">
              <a:extLst>
                <a:ext uri="{FF2B5EF4-FFF2-40B4-BE49-F238E27FC236}">
                  <a16:creationId xmlns:a16="http://schemas.microsoft.com/office/drawing/2014/main" id="{5B170C7B-C5DB-6642-95DC-078658709A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7" y="2922"/>
              <a:ext cx="400" cy="400"/>
            </a:xfrm>
            <a:custGeom>
              <a:avLst/>
              <a:gdLst>
                <a:gd name="T0" fmla="*/ 434 w 835"/>
                <a:gd name="T1" fmla="*/ 0 h 835"/>
                <a:gd name="T2" fmla="*/ 63 w 835"/>
                <a:gd name="T3" fmla="*/ 248 h 835"/>
                <a:gd name="T4" fmla="*/ 150 w 835"/>
                <a:gd name="T5" fmla="*/ 685 h 835"/>
                <a:gd name="T6" fmla="*/ 587 w 835"/>
                <a:gd name="T7" fmla="*/ 773 h 835"/>
                <a:gd name="T8" fmla="*/ 835 w 835"/>
                <a:gd name="T9" fmla="*/ 401 h 835"/>
                <a:gd name="T10" fmla="*/ 434 w 835"/>
                <a:gd name="T11" fmla="*/ 0 h 835"/>
                <a:gd name="T12" fmla="*/ 434 w 835"/>
                <a:gd name="T13" fmla="*/ 628 h 835"/>
                <a:gd name="T14" fmla="*/ 273 w 835"/>
                <a:gd name="T15" fmla="*/ 241 h 835"/>
                <a:gd name="T16" fmla="*/ 660 w 835"/>
                <a:gd name="T17" fmla="*/ 401 h 835"/>
                <a:gd name="T18" fmla="*/ 434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4" y="0"/>
                  </a:moveTo>
                  <a:cubicBezTo>
                    <a:pt x="271" y="0"/>
                    <a:pt x="125" y="98"/>
                    <a:pt x="63" y="248"/>
                  </a:cubicBezTo>
                  <a:cubicBezTo>
                    <a:pt x="0" y="398"/>
                    <a:pt x="35" y="571"/>
                    <a:pt x="150" y="685"/>
                  </a:cubicBezTo>
                  <a:cubicBezTo>
                    <a:pt x="265" y="800"/>
                    <a:pt x="437" y="835"/>
                    <a:pt x="587" y="773"/>
                  </a:cubicBezTo>
                  <a:cubicBezTo>
                    <a:pt x="737" y="710"/>
                    <a:pt x="835" y="564"/>
                    <a:pt x="835" y="401"/>
                  </a:cubicBezTo>
                  <a:cubicBezTo>
                    <a:pt x="835" y="180"/>
                    <a:pt x="655" y="0"/>
                    <a:pt x="434" y="0"/>
                  </a:cubicBezTo>
                  <a:close/>
                  <a:moveTo>
                    <a:pt x="434" y="628"/>
                  </a:moveTo>
                  <a:cubicBezTo>
                    <a:pt x="232" y="628"/>
                    <a:pt x="131" y="384"/>
                    <a:pt x="273" y="241"/>
                  </a:cubicBezTo>
                  <a:cubicBezTo>
                    <a:pt x="416" y="98"/>
                    <a:pt x="660" y="200"/>
                    <a:pt x="660" y="401"/>
                  </a:cubicBezTo>
                  <a:cubicBezTo>
                    <a:pt x="660" y="527"/>
                    <a:pt x="559" y="628"/>
                    <a:pt x="434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09" name="Freeform 22">
              <a:extLst>
                <a:ext uri="{FF2B5EF4-FFF2-40B4-BE49-F238E27FC236}">
                  <a16:creationId xmlns:a16="http://schemas.microsoft.com/office/drawing/2014/main" id="{19C39ED1-510C-504C-B72E-809951F451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98" y="2922"/>
              <a:ext cx="401" cy="400"/>
            </a:xfrm>
            <a:custGeom>
              <a:avLst/>
              <a:gdLst>
                <a:gd name="T0" fmla="*/ 433 w 835"/>
                <a:gd name="T1" fmla="*/ 0 h 835"/>
                <a:gd name="T2" fmla="*/ 62 w 835"/>
                <a:gd name="T3" fmla="*/ 248 h 835"/>
                <a:gd name="T4" fmla="*/ 149 w 835"/>
                <a:gd name="T5" fmla="*/ 685 h 835"/>
                <a:gd name="T6" fmla="*/ 587 w 835"/>
                <a:gd name="T7" fmla="*/ 773 h 835"/>
                <a:gd name="T8" fmla="*/ 835 w 835"/>
                <a:gd name="T9" fmla="*/ 401 h 835"/>
                <a:gd name="T10" fmla="*/ 433 w 835"/>
                <a:gd name="T11" fmla="*/ 0 h 835"/>
                <a:gd name="T12" fmla="*/ 433 w 835"/>
                <a:gd name="T13" fmla="*/ 628 h 835"/>
                <a:gd name="T14" fmla="*/ 273 w 835"/>
                <a:gd name="T15" fmla="*/ 241 h 835"/>
                <a:gd name="T16" fmla="*/ 660 w 835"/>
                <a:gd name="T17" fmla="*/ 401 h 835"/>
                <a:gd name="T18" fmla="*/ 433 w 835"/>
                <a:gd name="T19" fmla="*/ 628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5" h="835">
                  <a:moveTo>
                    <a:pt x="433" y="0"/>
                  </a:moveTo>
                  <a:cubicBezTo>
                    <a:pt x="271" y="0"/>
                    <a:pt x="124" y="98"/>
                    <a:pt x="62" y="248"/>
                  </a:cubicBezTo>
                  <a:cubicBezTo>
                    <a:pt x="0" y="398"/>
                    <a:pt x="34" y="571"/>
                    <a:pt x="149" y="685"/>
                  </a:cubicBezTo>
                  <a:cubicBezTo>
                    <a:pt x="264" y="800"/>
                    <a:pt x="437" y="835"/>
                    <a:pt x="587" y="773"/>
                  </a:cubicBezTo>
                  <a:cubicBezTo>
                    <a:pt x="737" y="710"/>
                    <a:pt x="835" y="564"/>
                    <a:pt x="835" y="401"/>
                  </a:cubicBezTo>
                  <a:cubicBezTo>
                    <a:pt x="834" y="180"/>
                    <a:pt x="655" y="0"/>
                    <a:pt x="433" y="0"/>
                  </a:cubicBezTo>
                  <a:close/>
                  <a:moveTo>
                    <a:pt x="433" y="628"/>
                  </a:moveTo>
                  <a:cubicBezTo>
                    <a:pt x="231" y="628"/>
                    <a:pt x="130" y="384"/>
                    <a:pt x="273" y="241"/>
                  </a:cubicBezTo>
                  <a:cubicBezTo>
                    <a:pt x="415" y="98"/>
                    <a:pt x="660" y="200"/>
                    <a:pt x="660" y="401"/>
                  </a:cubicBezTo>
                  <a:cubicBezTo>
                    <a:pt x="659" y="527"/>
                    <a:pt x="558" y="628"/>
                    <a:pt x="433" y="6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110" name="Group 6"/>
          <p:cNvGrpSpPr>
            <a:grpSpLocks noChangeAspect="1"/>
          </p:cNvGrpSpPr>
          <p:nvPr/>
        </p:nvGrpSpPr>
        <p:grpSpPr bwMode="auto">
          <a:xfrm>
            <a:off x="6212016" y="3191557"/>
            <a:ext cx="322175" cy="453344"/>
            <a:chOff x="1725" y="-2"/>
            <a:chExt cx="2299" cy="3235"/>
          </a:xfrm>
          <a:solidFill>
            <a:srgbClr val="A136A0"/>
          </a:solidFill>
        </p:grpSpPr>
        <p:sp>
          <p:nvSpPr>
            <p:cNvPr id="111" name="Freeform 7"/>
            <p:cNvSpPr>
              <a:spLocks noEditPoints="1"/>
            </p:cNvSpPr>
            <p:nvPr/>
          </p:nvSpPr>
          <p:spPr bwMode="auto">
            <a:xfrm>
              <a:off x="1725" y="-2"/>
              <a:ext cx="1102" cy="2109"/>
            </a:xfrm>
            <a:custGeom>
              <a:avLst/>
              <a:gdLst>
                <a:gd name="T0" fmla="*/ 1519 w 2908"/>
                <a:gd name="T1" fmla="*/ 5379 h 5565"/>
                <a:gd name="T2" fmla="*/ 1519 w 2908"/>
                <a:gd name="T3" fmla="*/ 4483 h 5565"/>
                <a:gd name="T4" fmla="*/ 1071 w 2908"/>
                <a:gd name="T5" fmla="*/ 4297 h 5565"/>
                <a:gd name="T6" fmla="*/ 793 w 2908"/>
                <a:gd name="T7" fmla="*/ 4361 h 5565"/>
                <a:gd name="T8" fmla="*/ 334 w 2908"/>
                <a:gd name="T9" fmla="*/ 2897 h 5565"/>
                <a:gd name="T10" fmla="*/ 2746 w 2908"/>
                <a:gd name="T11" fmla="*/ 338 h 5565"/>
                <a:gd name="T12" fmla="*/ 2903 w 2908"/>
                <a:gd name="T13" fmla="*/ 162 h 5565"/>
                <a:gd name="T14" fmla="*/ 2727 w 2908"/>
                <a:gd name="T15" fmla="*/ 5 h 5565"/>
                <a:gd name="T16" fmla="*/ 0 w 2908"/>
                <a:gd name="T17" fmla="*/ 2897 h 5565"/>
                <a:gd name="T18" fmla="*/ 541 w 2908"/>
                <a:gd name="T19" fmla="*/ 4582 h 5565"/>
                <a:gd name="T20" fmla="*/ 623 w 2908"/>
                <a:gd name="T21" fmla="*/ 5379 h 5565"/>
                <a:gd name="T22" fmla="*/ 1071 w 2908"/>
                <a:gd name="T23" fmla="*/ 5565 h 5565"/>
                <a:gd name="T24" fmla="*/ 1519 w 2908"/>
                <a:gd name="T25" fmla="*/ 5379 h 5565"/>
                <a:gd name="T26" fmla="*/ 858 w 2908"/>
                <a:gd name="T27" fmla="*/ 4719 h 5565"/>
                <a:gd name="T28" fmla="*/ 1071 w 2908"/>
                <a:gd name="T29" fmla="*/ 4631 h 5565"/>
                <a:gd name="T30" fmla="*/ 1283 w 2908"/>
                <a:gd name="T31" fmla="*/ 4719 h 5565"/>
                <a:gd name="T32" fmla="*/ 1283 w 2908"/>
                <a:gd name="T33" fmla="*/ 5143 h 5565"/>
                <a:gd name="T34" fmla="*/ 858 w 2908"/>
                <a:gd name="T35" fmla="*/ 5143 h 5565"/>
                <a:gd name="T36" fmla="*/ 858 w 2908"/>
                <a:gd name="T37" fmla="*/ 4719 h 5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08" h="5565">
                  <a:moveTo>
                    <a:pt x="1519" y="5379"/>
                  </a:moveTo>
                  <a:cubicBezTo>
                    <a:pt x="1766" y="5132"/>
                    <a:pt x="1766" y="4730"/>
                    <a:pt x="1519" y="4483"/>
                  </a:cubicBezTo>
                  <a:cubicBezTo>
                    <a:pt x="1399" y="4363"/>
                    <a:pt x="1240" y="4297"/>
                    <a:pt x="1071" y="4297"/>
                  </a:cubicBezTo>
                  <a:cubicBezTo>
                    <a:pt x="973" y="4297"/>
                    <a:pt x="878" y="4319"/>
                    <a:pt x="793" y="4361"/>
                  </a:cubicBezTo>
                  <a:cubicBezTo>
                    <a:pt x="492" y="3930"/>
                    <a:pt x="334" y="3427"/>
                    <a:pt x="334" y="2897"/>
                  </a:cubicBezTo>
                  <a:cubicBezTo>
                    <a:pt x="334" y="1540"/>
                    <a:pt x="1393" y="416"/>
                    <a:pt x="2746" y="338"/>
                  </a:cubicBezTo>
                  <a:cubicBezTo>
                    <a:pt x="2838" y="333"/>
                    <a:pt x="2908" y="254"/>
                    <a:pt x="2903" y="162"/>
                  </a:cubicBezTo>
                  <a:cubicBezTo>
                    <a:pt x="2897" y="70"/>
                    <a:pt x="2819" y="0"/>
                    <a:pt x="2727" y="5"/>
                  </a:cubicBezTo>
                  <a:cubicBezTo>
                    <a:pt x="1198" y="94"/>
                    <a:pt x="0" y="1364"/>
                    <a:pt x="0" y="2897"/>
                  </a:cubicBezTo>
                  <a:cubicBezTo>
                    <a:pt x="0" y="3508"/>
                    <a:pt x="187" y="4089"/>
                    <a:pt x="541" y="4582"/>
                  </a:cubicBezTo>
                  <a:cubicBezTo>
                    <a:pt x="379" y="4828"/>
                    <a:pt x="406" y="5163"/>
                    <a:pt x="623" y="5379"/>
                  </a:cubicBezTo>
                  <a:cubicBezTo>
                    <a:pt x="742" y="5499"/>
                    <a:pt x="901" y="5565"/>
                    <a:pt x="1071" y="5565"/>
                  </a:cubicBezTo>
                  <a:cubicBezTo>
                    <a:pt x="1240" y="5565"/>
                    <a:pt x="1399" y="5499"/>
                    <a:pt x="1519" y="5379"/>
                  </a:cubicBezTo>
                  <a:close/>
                  <a:moveTo>
                    <a:pt x="858" y="4719"/>
                  </a:moveTo>
                  <a:cubicBezTo>
                    <a:pt x="917" y="4660"/>
                    <a:pt x="994" y="4631"/>
                    <a:pt x="1071" y="4631"/>
                  </a:cubicBezTo>
                  <a:cubicBezTo>
                    <a:pt x="1147" y="4631"/>
                    <a:pt x="1224" y="4660"/>
                    <a:pt x="1283" y="4719"/>
                  </a:cubicBezTo>
                  <a:cubicBezTo>
                    <a:pt x="1400" y="4836"/>
                    <a:pt x="1400" y="5026"/>
                    <a:pt x="1283" y="5143"/>
                  </a:cubicBezTo>
                  <a:cubicBezTo>
                    <a:pt x="1166" y="5260"/>
                    <a:pt x="975" y="5260"/>
                    <a:pt x="858" y="5143"/>
                  </a:cubicBezTo>
                  <a:cubicBezTo>
                    <a:pt x="741" y="5026"/>
                    <a:pt x="741" y="4836"/>
                    <a:pt x="858" y="47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8"/>
            <p:cNvSpPr>
              <a:spLocks noEditPoints="1"/>
            </p:cNvSpPr>
            <p:nvPr/>
          </p:nvSpPr>
          <p:spPr bwMode="auto">
            <a:xfrm>
              <a:off x="2050" y="61"/>
              <a:ext cx="1974" cy="3172"/>
            </a:xfrm>
            <a:custGeom>
              <a:avLst/>
              <a:gdLst>
                <a:gd name="T0" fmla="*/ 4319 w 5206"/>
                <a:gd name="T1" fmla="*/ 5691 h 8371"/>
                <a:gd name="T2" fmla="*/ 3320 w 5206"/>
                <a:gd name="T3" fmla="*/ 5457 h 8371"/>
                <a:gd name="T4" fmla="*/ 4230 w 5206"/>
                <a:gd name="T5" fmla="*/ 4622 h 8371"/>
                <a:gd name="T6" fmla="*/ 4393 w 5206"/>
                <a:gd name="T7" fmla="*/ 1044 h 8371"/>
                <a:gd name="T8" fmla="*/ 3415 w 5206"/>
                <a:gd name="T9" fmla="*/ 247 h 8371"/>
                <a:gd name="T10" fmla="*/ 3864 w 5206"/>
                <a:gd name="T11" fmla="*/ 1329 h 8371"/>
                <a:gd name="T12" fmla="*/ 4601 w 5206"/>
                <a:gd name="T13" fmla="*/ 2730 h 8371"/>
                <a:gd name="T14" fmla="*/ 2627 w 5206"/>
                <a:gd name="T15" fmla="*/ 4327 h 8371"/>
                <a:gd name="T16" fmla="*/ 2038 w 5206"/>
                <a:gd name="T17" fmla="*/ 1028 h 8371"/>
                <a:gd name="T18" fmla="*/ 674 w 5206"/>
                <a:gd name="T19" fmla="*/ 3748 h 8371"/>
                <a:gd name="T20" fmla="*/ 1434 w 5206"/>
                <a:gd name="T21" fmla="*/ 6774 h 8371"/>
                <a:gd name="T22" fmla="*/ 388 w 5206"/>
                <a:gd name="T23" fmla="*/ 6216 h 8371"/>
                <a:gd name="T24" fmla="*/ 763 w 5206"/>
                <a:gd name="T25" fmla="*/ 8279 h 8371"/>
                <a:gd name="T26" fmla="*/ 986 w 5206"/>
                <a:gd name="T27" fmla="*/ 8354 h 8371"/>
                <a:gd name="T28" fmla="*/ 441 w 5206"/>
                <a:gd name="T29" fmla="*/ 6875 h 8371"/>
                <a:gd name="T30" fmla="*/ 940 w 5206"/>
                <a:gd name="T31" fmla="*/ 6604 h 8371"/>
                <a:gd name="T32" fmla="*/ 1646 w 5206"/>
                <a:gd name="T33" fmla="*/ 7528 h 8371"/>
                <a:gd name="T34" fmla="*/ 1767 w 5206"/>
                <a:gd name="T35" fmla="*/ 3541 h 8371"/>
                <a:gd name="T36" fmla="*/ 2293 w 5206"/>
                <a:gd name="T37" fmla="*/ 3541 h 8371"/>
                <a:gd name="T38" fmla="*/ 2293 w 5206"/>
                <a:gd name="T39" fmla="*/ 4205 h 8371"/>
                <a:gd name="T40" fmla="*/ 2460 w 5206"/>
                <a:gd name="T41" fmla="*/ 6875 h 8371"/>
                <a:gd name="T42" fmla="*/ 2627 w 5206"/>
                <a:gd name="T43" fmla="*/ 5871 h 8371"/>
                <a:gd name="T44" fmla="*/ 3153 w 5206"/>
                <a:gd name="T45" fmla="*/ 5871 h 8371"/>
                <a:gd name="T46" fmla="*/ 3320 w 5206"/>
                <a:gd name="T47" fmla="*/ 6936 h 8371"/>
                <a:gd name="T48" fmla="*/ 3487 w 5206"/>
                <a:gd name="T49" fmla="*/ 5871 h 8371"/>
                <a:gd name="T50" fmla="*/ 4013 w 5206"/>
                <a:gd name="T51" fmla="*/ 5871 h 8371"/>
                <a:gd name="T52" fmla="*/ 4180 w 5206"/>
                <a:gd name="T53" fmla="*/ 6947 h 8371"/>
                <a:gd name="T54" fmla="*/ 4346 w 5206"/>
                <a:gd name="T55" fmla="*/ 6212 h 8371"/>
                <a:gd name="T56" fmla="*/ 4872 w 5206"/>
                <a:gd name="T57" fmla="*/ 6212 h 8371"/>
                <a:gd name="T58" fmla="*/ 5039 w 5206"/>
                <a:gd name="T59" fmla="*/ 8371 h 8371"/>
                <a:gd name="T60" fmla="*/ 5206 w 5206"/>
                <a:gd name="T61" fmla="*/ 6212 h 8371"/>
                <a:gd name="T62" fmla="*/ 3651 w 5206"/>
                <a:gd name="T63" fmla="*/ 907 h 8371"/>
                <a:gd name="T64" fmla="*/ 3864 w 5206"/>
                <a:gd name="T65" fmla="*/ 395 h 8371"/>
                <a:gd name="T66" fmla="*/ 4076 w 5206"/>
                <a:gd name="T67" fmla="*/ 907 h 8371"/>
                <a:gd name="T68" fmla="*/ 670 w 5206"/>
                <a:gd name="T69" fmla="*/ 2730 h 8371"/>
                <a:gd name="T70" fmla="*/ 3407 w 5206"/>
                <a:gd name="T71" fmla="*/ 2730 h 8371"/>
                <a:gd name="T72" fmla="*/ 2627 w 5206"/>
                <a:gd name="T73" fmla="*/ 3541 h 8371"/>
                <a:gd name="T74" fmla="*/ 2802 w 5206"/>
                <a:gd name="T75" fmla="*/ 2730 h 8371"/>
                <a:gd name="T76" fmla="*/ 1274 w 5206"/>
                <a:gd name="T77" fmla="*/ 2730 h 8371"/>
                <a:gd name="T78" fmla="*/ 1434 w 5206"/>
                <a:gd name="T79" fmla="*/ 3541 h 8371"/>
                <a:gd name="T80" fmla="*/ 670 w 5206"/>
                <a:gd name="T81" fmla="*/ 2730 h 8371"/>
                <a:gd name="T82" fmla="*/ 1608 w 5206"/>
                <a:gd name="T83" fmla="*/ 2730 h 8371"/>
                <a:gd name="T84" fmla="*/ 2468 w 5206"/>
                <a:gd name="T85" fmla="*/ 2730 h 8371"/>
                <a:gd name="T86" fmla="*/ 2030 w 5206"/>
                <a:gd name="T87" fmla="*/ 2945 h 8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206" h="8371">
                  <a:moveTo>
                    <a:pt x="4609" y="5616"/>
                  </a:moveTo>
                  <a:cubicBezTo>
                    <a:pt x="4504" y="5616"/>
                    <a:pt x="4405" y="5643"/>
                    <a:pt x="4319" y="5691"/>
                  </a:cubicBezTo>
                  <a:cubicBezTo>
                    <a:pt x="4243" y="5450"/>
                    <a:pt x="4016" y="5274"/>
                    <a:pt x="3750" y="5274"/>
                  </a:cubicBezTo>
                  <a:cubicBezTo>
                    <a:pt x="3581" y="5274"/>
                    <a:pt x="3429" y="5344"/>
                    <a:pt x="3320" y="5457"/>
                  </a:cubicBezTo>
                  <a:cubicBezTo>
                    <a:pt x="3290" y="5426"/>
                    <a:pt x="3256" y="5398"/>
                    <a:pt x="3220" y="5374"/>
                  </a:cubicBezTo>
                  <a:cubicBezTo>
                    <a:pt x="3604" y="5202"/>
                    <a:pt x="3950" y="4946"/>
                    <a:pt x="4230" y="4622"/>
                  </a:cubicBezTo>
                  <a:cubicBezTo>
                    <a:pt x="4684" y="4097"/>
                    <a:pt x="4934" y="3425"/>
                    <a:pt x="4934" y="2730"/>
                  </a:cubicBezTo>
                  <a:cubicBezTo>
                    <a:pt x="4934" y="2118"/>
                    <a:pt x="4747" y="1537"/>
                    <a:pt x="4393" y="1044"/>
                  </a:cubicBezTo>
                  <a:cubicBezTo>
                    <a:pt x="4555" y="798"/>
                    <a:pt x="4528" y="463"/>
                    <a:pt x="4312" y="247"/>
                  </a:cubicBezTo>
                  <a:cubicBezTo>
                    <a:pt x="4065" y="0"/>
                    <a:pt x="3663" y="0"/>
                    <a:pt x="3415" y="247"/>
                  </a:cubicBezTo>
                  <a:cubicBezTo>
                    <a:pt x="3168" y="494"/>
                    <a:pt x="3168" y="896"/>
                    <a:pt x="3415" y="1143"/>
                  </a:cubicBezTo>
                  <a:cubicBezTo>
                    <a:pt x="3539" y="1267"/>
                    <a:pt x="3701" y="1329"/>
                    <a:pt x="3864" y="1329"/>
                  </a:cubicBezTo>
                  <a:cubicBezTo>
                    <a:pt x="3959" y="1329"/>
                    <a:pt x="4054" y="1307"/>
                    <a:pt x="4141" y="1265"/>
                  </a:cubicBezTo>
                  <a:cubicBezTo>
                    <a:pt x="4442" y="1695"/>
                    <a:pt x="4601" y="2200"/>
                    <a:pt x="4601" y="2730"/>
                  </a:cubicBezTo>
                  <a:cubicBezTo>
                    <a:pt x="4601" y="3936"/>
                    <a:pt x="3782" y="4956"/>
                    <a:pt x="2627" y="5224"/>
                  </a:cubicBezTo>
                  <a:lnTo>
                    <a:pt x="2627" y="4327"/>
                  </a:lnTo>
                  <a:cubicBezTo>
                    <a:pt x="3288" y="4082"/>
                    <a:pt x="3740" y="3443"/>
                    <a:pt x="3740" y="2730"/>
                  </a:cubicBezTo>
                  <a:cubicBezTo>
                    <a:pt x="3740" y="1791"/>
                    <a:pt x="2977" y="1028"/>
                    <a:pt x="2038" y="1028"/>
                  </a:cubicBezTo>
                  <a:cubicBezTo>
                    <a:pt x="1100" y="1028"/>
                    <a:pt x="336" y="1791"/>
                    <a:pt x="336" y="2730"/>
                  </a:cubicBezTo>
                  <a:cubicBezTo>
                    <a:pt x="336" y="3100"/>
                    <a:pt x="453" y="3452"/>
                    <a:pt x="674" y="3748"/>
                  </a:cubicBezTo>
                  <a:cubicBezTo>
                    <a:pt x="867" y="4006"/>
                    <a:pt x="1134" y="4206"/>
                    <a:pt x="1434" y="4321"/>
                  </a:cubicBezTo>
                  <a:lnTo>
                    <a:pt x="1434" y="6774"/>
                  </a:lnTo>
                  <a:lnTo>
                    <a:pt x="1224" y="6430"/>
                  </a:lnTo>
                  <a:cubicBezTo>
                    <a:pt x="1048" y="6141"/>
                    <a:pt x="681" y="6047"/>
                    <a:pt x="388" y="6216"/>
                  </a:cubicBezTo>
                  <a:cubicBezTo>
                    <a:pt x="109" y="6377"/>
                    <a:pt x="0" y="6731"/>
                    <a:pt x="141" y="7022"/>
                  </a:cubicBezTo>
                  <a:lnTo>
                    <a:pt x="763" y="8279"/>
                  </a:lnTo>
                  <a:cubicBezTo>
                    <a:pt x="792" y="8337"/>
                    <a:pt x="851" y="8371"/>
                    <a:pt x="913" y="8371"/>
                  </a:cubicBezTo>
                  <a:cubicBezTo>
                    <a:pt x="937" y="8371"/>
                    <a:pt x="963" y="8366"/>
                    <a:pt x="986" y="8354"/>
                  </a:cubicBezTo>
                  <a:cubicBezTo>
                    <a:pt x="1069" y="8313"/>
                    <a:pt x="1103" y="8213"/>
                    <a:pt x="1062" y="8131"/>
                  </a:cubicBezTo>
                  <a:lnTo>
                    <a:pt x="441" y="6875"/>
                  </a:lnTo>
                  <a:cubicBezTo>
                    <a:pt x="376" y="6742"/>
                    <a:pt x="426" y="6579"/>
                    <a:pt x="554" y="6505"/>
                  </a:cubicBezTo>
                  <a:cubicBezTo>
                    <a:pt x="687" y="6429"/>
                    <a:pt x="860" y="6473"/>
                    <a:pt x="940" y="6604"/>
                  </a:cubicBezTo>
                  <a:lnTo>
                    <a:pt x="1458" y="7455"/>
                  </a:lnTo>
                  <a:cubicBezTo>
                    <a:pt x="1497" y="7518"/>
                    <a:pt x="1574" y="7549"/>
                    <a:pt x="1646" y="7528"/>
                  </a:cubicBezTo>
                  <a:cubicBezTo>
                    <a:pt x="1718" y="7508"/>
                    <a:pt x="1767" y="7443"/>
                    <a:pt x="1767" y="7368"/>
                  </a:cubicBezTo>
                  <a:lnTo>
                    <a:pt x="1767" y="3541"/>
                  </a:lnTo>
                  <a:cubicBezTo>
                    <a:pt x="1767" y="3396"/>
                    <a:pt x="1885" y="3278"/>
                    <a:pt x="2030" y="3278"/>
                  </a:cubicBezTo>
                  <a:cubicBezTo>
                    <a:pt x="2175" y="3278"/>
                    <a:pt x="2293" y="3396"/>
                    <a:pt x="2293" y="3541"/>
                  </a:cubicBezTo>
                  <a:lnTo>
                    <a:pt x="2293" y="4201"/>
                  </a:lnTo>
                  <a:cubicBezTo>
                    <a:pt x="2293" y="4202"/>
                    <a:pt x="2293" y="4203"/>
                    <a:pt x="2293" y="4205"/>
                  </a:cubicBezTo>
                  <a:lnTo>
                    <a:pt x="2293" y="6709"/>
                  </a:lnTo>
                  <a:cubicBezTo>
                    <a:pt x="2293" y="6801"/>
                    <a:pt x="2368" y="6875"/>
                    <a:pt x="2460" y="6875"/>
                  </a:cubicBezTo>
                  <a:cubicBezTo>
                    <a:pt x="2552" y="6875"/>
                    <a:pt x="2627" y="6801"/>
                    <a:pt x="2627" y="6709"/>
                  </a:cubicBezTo>
                  <a:lnTo>
                    <a:pt x="2627" y="5871"/>
                  </a:lnTo>
                  <a:cubicBezTo>
                    <a:pt x="2627" y="5726"/>
                    <a:pt x="2745" y="5607"/>
                    <a:pt x="2890" y="5607"/>
                  </a:cubicBezTo>
                  <a:cubicBezTo>
                    <a:pt x="3035" y="5607"/>
                    <a:pt x="3153" y="5726"/>
                    <a:pt x="3153" y="5871"/>
                  </a:cubicBezTo>
                  <a:lnTo>
                    <a:pt x="3153" y="6769"/>
                  </a:lnTo>
                  <a:cubicBezTo>
                    <a:pt x="3153" y="6862"/>
                    <a:pt x="3228" y="6936"/>
                    <a:pt x="3320" y="6936"/>
                  </a:cubicBezTo>
                  <a:cubicBezTo>
                    <a:pt x="3412" y="6936"/>
                    <a:pt x="3487" y="6862"/>
                    <a:pt x="3487" y="6769"/>
                  </a:cubicBezTo>
                  <a:lnTo>
                    <a:pt x="3487" y="5871"/>
                  </a:lnTo>
                  <a:cubicBezTo>
                    <a:pt x="3487" y="5726"/>
                    <a:pt x="3605" y="5607"/>
                    <a:pt x="3750" y="5607"/>
                  </a:cubicBezTo>
                  <a:cubicBezTo>
                    <a:pt x="3895" y="5607"/>
                    <a:pt x="4013" y="5726"/>
                    <a:pt x="4013" y="5871"/>
                  </a:cubicBezTo>
                  <a:lnTo>
                    <a:pt x="4013" y="6781"/>
                  </a:lnTo>
                  <a:cubicBezTo>
                    <a:pt x="4013" y="6873"/>
                    <a:pt x="4087" y="6947"/>
                    <a:pt x="4180" y="6947"/>
                  </a:cubicBezTo>
                  <a:cubicBezTo>
                    <a:pt x="4272" y="6947"/>
                    <a:pt x="4346" y="6873"/>
                    <a:pt x="4346" y="6781"/>
                  </a:cubicBezTo>
                  <a:lnTo>
                    <a:pt x="4346" y="6212"/>
                  </a:lnTo>
                  <a:cubicBezTo>
                    <a:pt x="4346" y="6067"/>
                    <a:pt x="4464" y="5949"/>
                    <a:pt x="4609" y="5949"/>
                  </a:cubicBezTo>
                  <a:cubicBezTo>
                    <a:pt x="4754" y="5949"/>
                    <a:pt x="4872" y="6067"/>
                    <a:pt x="4872" y="6212"/>
                  </a:cubicBezTo>
                  <a:lnTo>
                    <a:pt x="4872" y="8204"/>
                  </a:lnTo>
                  <a:cubicBezTo>
                    <a:pt x="4872" y="8297"/>
                    <a:pt x="4947" y="8371"/>
                    <a:pt x="5039" y="8371"/>
                  </a:cubicBezTo>
                  <a:cubicBezTo>
                    <a:pt x="5131" y="8371"/>
                    <a:pt x="5206" y="8297"/>
                    <a:pt x="5206" y="8204"/>
                  </a:cubicBezTo>
                  <a:lnTo>
                    <a:pt x="5206" y="6212"/>
                  </a:lnTo>
                  <a:cubicBezTo>
                    <a:pt x="5206" y="5883"/>
                    <a:pt x="4938" y="5616"/>
                    <a:pt x="4609" y="5616"/>
                  </a:cubicBezTo>
                  <a:close/>
                  <a:moveTo>
                    <a:pt x="3651" y="907"/>
                  </a:moveTo>
                  <a:cubicBezTo>
                    <a:pt x="3534" y="790"/>
                    <a:pt x="3534" y="600"/>
                    <a:pt x="3651" y="483"/>
                  </a:cubicBezTo>
                  <a:cubicBezTo>
                    <a:pt x="3710" y="424"/>
                    <a:pt x="3787" y="395"/>
                    <a:pt x="3864" y="395"/>
                  </a:cubicBezTo>
                  <a:cubicBezTo>
                    <a:pt x="3940" y="395"/>
                    <a:pt x="4017" y="424"/>
                    <a:pt x="4076" y="483"/>
                  </a:cubicBezTo>
                  <a:cubicBezTo>
                    <a:pt x="4193" y="600"/>
                    <a:pt x="4193" y="790"/>
                    <a:pt x="4076" y="907"/>
                  </a:cubicBezTo>
                  <a:cubicBezTo>
                    <a:pt x="3959" y="1024"/>
                    <a:pt x="3768" y="1024"/>
                    <a:pt x="3651" y="907"/>
                  </a:cubicBezTo>
                  <a:close/>
                  <a:moveTo>
                    <a:pt x="670" y="2730"/>
                  </a:moveTo>
                  <a:cubicBezTo>
                    <a:pt x="670" y="1975"/>
                    <a:pt x="1284" y="1361"/>
                    <a:pt x="2038" y="1361"/>
                  </a:cubicBezTo>
                  <a:cubicBezTo>
                    <a:pt x="2793" y="1361"/>
                    <a:pt x="3407" y="1975"/>
                    <a:pt x="3407" y="2730"/>
                  </a:cubicBezTo>
                  <a:cubicBezTo>
                    <a:pt x="3407" y="3261"/>
                    <a:pt x="3095" y="3741"/>
                    <a:pt x="2627" y="3965"/>
                  </a:cubicBezTo>
                  <a:lnTo>
                    <a:pt x="2627" y="3541"/>
                  </a:lnTo>
                  <a:cubicBezTo>
                    <a:pt x="2627" y="3448"/>
                    <a:pt x="2605" y="3359"/>
                    <a:pt x="2567" y="3280"/>
                  </a:cubicBezTo>
                  <a:cubicBezTo>
                    <a:pt x="2715" y="3138"/>
                    <a:pt x="2802" y="2939"/>
                    <a:pt x="2802" y="2730"/>
                  </a:cubicBezTo>
                  <a:cubicBezTo>
                    <a:pt x="2802" y="2308"/>
                    <a:pt x="2459" y="1966"/>
                    <a:pt x="2038" y="1966"/>
                  </a:cubicBezTo>
                  <a:cubicBezTo>
                    <a:pt x="1617" y="1966"/>
                    <a:pt x="1274" y="2308"/>
                    <a:pt x="1274" y="2730"/>
                  </a:cubicBezTo>
                  <a:cubicBezTo>
                    <a:pt x="1274" y="2933"/>
                    <a:pt x="1357" y="3128"/>
                    <a:pt x="1499" y="3270"/>
                  </a:cubicBezTo>
                  <a:cubicBezTo>
                    <a:pt x="1458" y="3352"/>
                    <a:pt x="1434" y="3444"/>
                    <a:pt x="1434" y="3541"/>
                  </a:cubicBezTo>
                  <a:lnTo>
                    <a:pt x="1434" y="3958"/>
                  </a:lnTo>
                  <a:cubicBezTo>
                    <a:pt x="969" y="3731"/>
                    <a:pt x="670" y="3260"/>
                    <a:pt x="670" y="2730"/>
                  </a:cubicBezTo>
                  <a:close/>
                  <a:moveTo>
                    <a:pt x="1728" y="3028"/>
                  </a:moveTo>
                  <a:cubicBezTo>
                    <a:pt x="1651" y="2948"/>
                    <a:pt x="1608" y="2843"/>
                    <a:pt x="1608" y="2730"/>
                  </a:cubicBezTo>
                  <a:cubicBezTo>
                    <a:pt x="1608" y="2492"/>
                    <a:pt x="1801" y="2299"/>
                    <a:pt x="2038" y="2299"/>
                  </a:cubicBezTo>
                  <a:cubicBezTo>
                    <a:pt x="2275" y="2299"/>
                    <a:pt x="2468" y="2492"/>
                    <a:pt x="2468" y="2730"/>
                  </a:cubicBezTo>
                  <a:cubicBezTo>
                    <a:pt x="2468" y="2844"/>
                    <a:pt x="2422" y="2954"/>
                    <a:pt x="2343" y="3033"/>
                  </a:cubicBezTo>
                  <a:cubicBezTo>
                    <a:pt x="2252" y="2977"/>
                    <a:pt x="2145" y="2945"/>
                    <a:pt x="2030" y="2945"/>
                  </a:cubicBezTo>
                  <a:cubicBezTo>
                    <a:pt x="1920" y="2945"/>
                    <a:pt x="1817" y="2975"/>
                    <a:pt x="1728" y="30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9"/>
            <p:cNvSpPr>
              <a:spLocks/>
            </p:cNvSpPr>
            <p:nvPr/>
          </p:nvSpPr>
          <p:spPr bwMode="auto">
            <a:xfrm>
              <a:off x="2983" y="22"/>
              <a:ext cx="127" cy="127"/>
            </a:xfrm>
            <a:custGeom>
              <a:avLst/>
              <a:gdLst>
                <a:gd name="T0" fmla="*/ 167 w 333"/>
                <a:gd name="T1" fmla="*/ 334 h 334"/>
                <a:gd name="T2" fmla="*/ 285 w 333"/>
                <a:gd name="T3" fmla="*/ 285 h 334"/>
                <a:gd name="T4" fmla="*/ 333 w 333"/>
                <a:gd name="T5" fmla="*/ 167 h 334"/>
                <a:gd name="T6" fmla="*/ 285 w 333"/>
                <a:gd name="T7" fmla="*/ 49 h 334"/>
                <a:gd name="T8" fmla="*/ 167 w 333"/>
                <a:gd name="T9" fmla="*/ 0 h 334"/>
                <a:gd name="T10" fmla="*/ 49 w 333"/>
                <a:gd name="T11" fmla="*/ 49 h 334"/>
                <a:gd name="T12" fmla="*/ 0 w 333"/>
                <a:gd name="T13" fmla="*/ 167 h 334"/>
                <a:gd name="T14" fmla="*/ 49 w 333"/>
                <a:gd name="T15" fmla="*/ 285 h 334"/>
                <a:gd name="T16" fmla="*/ 167 w 333"/>
                <a:gd name="T17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3" h="334">
                  <a:moveTo>
                    <a:pt x="167" y="334"/>
                  </a:moveTo>
                  <a:cubicBezTo>
                    <a:pt x="211" y="334"/>
                    <a:pt x="254" y="316"/>
                    <a:pt x="285" y="285"/>
                  </a:cubicBezTo>
                  <a:cubicBezTo>
                    <a:pt x="316" y="254"/>
                    <a:pt x="333" y="211"/>
                    <a:pt x="333" y="167"/>
                  </a:cubicBezTo>
                  <a:cubicBezTo>
                    <a:pt x="333" y="123"/>
                    <a:pt x="316" y="80"/>
                    <a:pt x="285" y="49"/>
                  </a:cubicBezTo>
                  <a:cubicBezTo>
                    <a:pt x="254" y="18"/>
                    <a:pt x="211" y="0"/>
                    <a:pt x="167" y="0"/>
                  </a:cubicBezTo>
                  <a:cubicBezTo>
                    <a:pt x="123" y="0"/>
                    <a:pt x="80" y="18"/>
                    <a:pt x="49" y="49"/>
                  </a:cubicBezTo>
                  <a:cubicBezTo>
                    <a:pt x="18" y="80"/>
                    <a:pt x="0" y="123"/>
                    <a:pt x="0" y="167"/>
                  </a:cubicBezTo>
                  <a:cubicBezTo>
                    <a:pt x="0" y="211"/>
                    <a:pt x="18" y="254"/>
                    <a:pt x="49" y="285"/>
                  </a:cubicBezTo>
                  <a:cubicBezTo>
                    <a:pt x="80" y="316"/>
                    <a:pt x="123" y="334"/>
                    <a:pt x="167" y="3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4" name="Group 17"/>
          <p:cNvGrpSpPr>
            <a:grpSpLocks noChangeAspect="1"/>
          </p:cNvGrpSpPr>
          <p:nvPr/>
        </p:nvGrpSpPr>
        <p:grpSpPr bwMode="auto">
          <a:xfrm>
            <a:off x="6119749" y="4373138"/>
            <a:ext cx="515276" cy="122662"/>
            <a:chOff x="2735" y="1890"/>
            <a:chExt cx="2218" cy="528"/>
          </a:xfrm>
          <a:solidFill>
            <a:srgbClr val="A136A0"/>
          </a:solidFill>
        </p:grpSpPr>
        <p:sp>
          <p:nvSpPr>
            <p:cNvPr id="115" name="Freeform 19"/>
            <p:cNvSpPr>
              <a:spLocks/>
            </p:cNvSpPr>
            <p:nvPr/>
          </p:nvSpPr>
          <p:spPr bwMode="auto">
            <a:xfrm>
              <a:off x="3327" y="1890"/>
              <a:ext cx="366" cy="528"/>
            </a:xfrm>
            <a:custGeom>
              <a:avLst/>
              <a:gdLst>
                <a:gd name="T0" fmla="*/ 764 w 764"/>
                <a:gd name="T1" fmla="*/ 917 h 1100"/>
                <a:gd name="T2" fmla="*/ 764 w 764"/>
                <a:gd name="T3" fmla="*/ 1100 h 1100"/>
                <a:gd name="T4" fmla="*/ 0 w 764"/>
                <a:gd name="T5" fmla="*/ 1100 h 1100"/>
                <a:gd name="T6" fmla="*/ 0 w 764"/>
                <a:gd name="T7" fmla="*/ 0 h 1100"/>
                <a:gd name="T8" fmla="*/ 199 w 764"/>
                <a:gd name="T9" fmla="*/ 0 h 1100"/>
                <a:gd name="T10" fmla="*/ 199 w 764"/>
                <a:gd name="T11" fmla="*/ 917 h 1100"/>
                <a:gd name="T12" fmla="*/ 764 w 764"/>
                <a:gd name="T13" fmla="*/ 917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4" h="1100">
                  <a:moveTo>
                    <a:pt x="764" y="917"/>
                  </a:moveTo>
                  <a:lnTo>
                    <a:pt x="764" y="1100"/>
                  </a:lnTo>
                  <a:lnTo>
                    <a:pt x="0" y="1100"/>
                  </a:lnTo>
                  <a:lnTo>
                    <a:pt x="0" y="0"/>
                  </a:lnTo>
                  <a:lnTo>
                    <a:pt x="199" y="0"/>
                  </a:lnTo>
                  <a:lnTo>
                    <a:pt x="199" y="917"/>
                  </a:lnTo>
                  <a:lnTo>
                    <a:pt x="764" y="917"/>
                  </a:lnTo>
                  <a:close/>
                </a:path>
              </a:pathLst>
            </a:custGeom>
            <a:grpFill/>
            <a:ln w="0">
              <a:solidFill>
                <a:srgbClr val="A136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16" name="Rectangle 20"/>
            <p:cNvSpPr>
              <a:spLocks noChangeArrowheads="1"/>
            </p:cNvSpPr>
            <p:nvPr/>
          </p:nvSpPr>
          <p:spPr bwMode="auto">
            <a:xfrm>
              <a:off x="3772" y="1890"/>
              <a:ext cx="96" cy="528"/>
            </a:xfrm>
            <a:prstGeom prst="rect">
              <a:avLst/>
            </a:prstGeom>
            <a:grpFill/>
            <a:ln w="0">
              <a:solidFill>
                <a:srgbClr val="A136A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17" name="Freeform 21"/>
            <p:cNvSpPr>
              <a:spLocks/>
            </p:cNvSpPr>
            <p:nvPr/>
          </p:nvSpPr>
          <p:spPr bwMode="auto">
            <a:xfrm>
              <a:off x="3939" y="1890"/>
              <a:ext cx="547" cy="528"/>
            </a:xfrm>
            <a:custGeom>
              <a:avLst/>
              <a:gdLst>
                <a:gd name="T0" fmla="*/ 1140 w 1140"/>
                <a:gd name="T1" fmla="*/ 0 h 1100"/>
                <a:gd name="T2" fmla="*/ 681 w 1140"/>
                <a:gd name="T3" fmla="*/ 1100 h 1100"/>
                <a:gd name="T4" fmla="*/ 459 w 1140"/>
                <a:gd name="T5" fmla="*/ 1100 h 1100"/>
                <a:gd name="T6" fmla="*/ 0 w 1140"/>
                <a:gd name="T7" fmla="*/ 0 h 1100"/>
                <a:gd name="T8" fmla="*/ 220 w 1140"/>
                <a:gd name="T9" fmla="*/ 0 h 1100"/>
                <a:gd name="T10" fmla="*/ 569 w 1140"/>
                <a:gd name="T11" fmla="*/ 834 h 1100"/>
                <a:gd name="T12" fmla="*/ 918 w 1140"/>
                <a:gd name="T13" fmla="*/ 0 h 1100"/>
                <a:gd name="T14" fmla="*/ 1140 w 1140"/>
                <a:gd name="T15" fmla="*/ 0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0" h="1100">
                  <a:moveTo>
                    <a:pt x="1140" y="0"/>
                  </a:moveTo>
                  <a:lnTo>
                    <a:pt x="681" y="1100"/>
                  </a:lnTo>
                  <a:lnTo>
                    <a:pt x="459" y="1100"/>
                  </a:lnTo>
                  <a:lnTo>
                    <a:pt x="0" y="0"/>
                  </a:lnTo>
                  <a:lnTo>
                    <a:pt x="220" y="0"/>
                  </a:lnTo>
                  <a:lnTo>
                    <a:pt x="569" y="834"/>
                  </a:lnTo>
                  <a:lnTo>
                    <a:pt x="918" y="0"/>
                  </a:lnTo>
                  <a:lnTo>
                    <a:pt x="1140" y="0"/>
                  </a:lnTo>
                  <a:close/>
                </a:path>
              </a:pathLst>
            </a:custGeom>
            <a:grpFill/>
            <a:ln w="0">
              <a:solidFill>
                <a:srgbClr val="A136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18" name="Freeform 22"/>
            <p:cNvSpPr>
              <a:spLocks/>
            </p:cNvSpPr>
            <p:nvPr/>
          </p:nvSpPr>
          <p:spPr bwMode="auto">
            <a:xfrm>
              <a:off x="4556" y="1890"/>
              <a:ext cx="397" cy="528"/>
            </a:xfrm>
            <a:custGeom>
              <a:avLst/>
              <a:gdLst>
                <a:gd name="T0" fmla="*/ 200 w 827"/>
                <a:gd name="T1" fmla="*/ 183 h 1100"/>
                <a:gd name="T2" fmla="*/ 200 w 827"/>
                <a:gd name="T3" fmla="*/ 448 h 1100"/>
                <a:gd name="T4" fmla="*/ 768 w 827"/>
                <a:gd name="T5" fmla="*/ 448 h 1100"/>
                <a:gd name="T6" fmla="*/ 768 w 827"/>
                <a:gd name="T7" fmla="*/ 631 h 1100"/>
                <a:gd name="T8" fmla="*/ 200 w 827"/>
                <a:gd name="T9" fmla="*/ 631 h 1100"/>
                <a:gd name="T10" fmla="*/ 200 w 827"/>
                <a:gd name="T11" fmla="*/ 917 h 1100"/>
                <a:gd name="T12" fmla="*/ 827 w 827"/>
                <a:gd name="T13" fmla="*/ 917 h 1100"/>
                <a:gd name="T14" fmla="*/ 827 w 827"/>
                <a:gd name="T15" fmla="*/ 1100 h 1100"/>
                <a:gd name="T16" fmla="*/ 0 w 827"/>
                <a:gd name="T17" fmla="*/ 1100 h 1100"/>
                <a:gd name="T18" fmla="*/ 0 w 827"/>
                <a:gd name="T19" fmla="*/ 0 h 1100"/>
                <a:gd name="T20" fmla="*/ 827 w 827"/>
                <a:gd name="T21" fmla="*/ 0 h 1100"/>
                <a:gd name="T22" fmla="*/ 827 w 827"/>
                <a:gd name="T23" fmla="*/ 183 h 1100"/>
                <a:gd name="T24" fmla="*/ 200 w 827"/>
                <a:gd name="T25" fmla="*/ 183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7" h="1100">
                  <a:moveTo>
                    <a:pt x="200" y="183"/>
                  </a:moveTo>
                  <a:lnTo>
                    <a:pt x="200" y="448"/>
                  </a:lnTo>
                  <a:lnTo>
                    <a:pt x="768" y="448"/>
                  </a:lnTo>
                  <a:lnTo>
                    <a:pt x="768" y="631"/>
                  </a:lnTo>
                  <a:lnTo>
                    <a:pt x="200" y="631"/>
                  </a:lnTo>
                  <a:lnTo>
                    <a:pt x="200" y="917"/>
                  </a:lnTo>
                  <a:lnTo>
                    <a:pt x="827" y="917"/>
                  </a:lnTo>
                  <a:lnTo>
                    <a:pt x="827" y="1100"/>
                  </a:lnTo>
                  <a:lnTo>
                    <a:pt x="0" y="1100"/>
                  </a:lnTo>
                  <a:lnTo>
                    <a:pt x="0" y="0"/>
                  </a:lnTo>
                  <a:lnTo>
                    <a:pt x="827" y="0"/>
                  </a:lnTo>
                  <a:lnTo>
                    <a:pt x="827" y="183"/>
                  </a:lnTo>
                  <a:lnTo>
                    <a:pt x="200" y="183"/>
                  </a:lnTo>
                  <a:close/>
                </a:path>
              </a:pathLst>
            </a:custGeom>
            <a:grpFill/>
            <a:ln w="0">
              <a:solidFill>
                <a:srgbClr val="A136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119" name="Oval 23"/>
            <p:cNvSpPr>
              <a:spLocks noChangeArrowheads="1"/>
            </p:cNvSpPr>
            <p:nvPr/>
          </p:nvSpPr>
          <p:spPr bwMode="auto">
            <a:xfrm>
              <a:off x="2735" y="2010"/>
              <a:ext cx="288" cy="288"/>
            </a:xfrm>
            <a:prstGeom prst="ellipse">
              <a:avLst/>
            </a:prstGeom>
            <a:grpFill/>
            <a:ln w="0">
              <a:solidFill>
                <a:srgbClr val="A136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5" name="Group 4"/>
          <p:cNvGrpSpPr>
            <a:grpSpLocks noChangeAspect="1"/>
          </p:cNvGrpSpPr>
          <p:nvPr/>
        </p:nvGrpSpPr>
        <p:grpSpPr bwMode="auto">
          <a:xfrm>
            <a:off x="6188095" y="5263539"/>
            <a:ext cx="413676" cy="413819"/>
            <a:chOff x="2394" y="713"/>
            <a:chExt cx="2880" cy="2881"/>
          </a:xfrm>
          <a:solidFill>
            <a:srgbClr val="A136A0"/>
          </a:solidFill>
        </p:grpSpPr>
        <p:sp>
          <p:nvSpPr>
            <p:cNvPr id="121" name="Freeform 5"/>
            <p:cNvSpPr>
              <a:spLocks noEditPoints="1"/>
            </p:cNvSpPr>
            <p:nvPr/>
          </p:nvSpPr>
          <p:spPr bwMode="auto">
            <a:xfrm>
              <a:off x="2394" y="1674"/>
              <a:ext cx="1920" cy="1920"/>
            </a:xfrm>
            <a:custGeom>
              <a:avLst/>
              <a:gdLst>
                <a:gd name="T0" fmla="*/ 435 w 4000"/>
                <a:gd name="T1" fmla="*/ 2327 h 4001"/>
                <a:gd name="T2" fmla="*/ 195 w 4000"/>
                <a:gd name="T3" fmla="*/ 2858 h 4001"/>
                <a:gd name="T4" fmla="*/ 806 w 4000"/>
                <a:gd name="T5" fmla="*/ 3066 h 4001"/>
                <a:gd name="T6" fmla="*/ 864 w 4000"/>
                <a:gd name="T7" fmla="*/ 3646 h 4001"/>
                <a:gd name="T8" fmla="*/ 1499 w 4000"/>
                <a:gd name="T9" fmla="*/ 3519 h 4001"/>
                <a:gd name="T10" fmla="*/ 1839 w 4000"/>
                <a:gd name="T11" fmla="*/ 3993 h 4001"/>
                <a:gd name="T12" fmla="*/ 2251 w 4000"/>
                <a:gd name="T13" fmla="*/ 3914 h 4001"/>
                <a:gd name="T14" fmla="*/ 2740 w 4000"/>
                <a:gd name="T15" fmla="*/ 3783 h 4001"/>
                <a:gd name="T16" fmla="*/ 3174 w 4000"/>
                <a:gd name="T17" fmla="*/ 3534 h 4001"/>
                <a:gd name="T18" fmla="*/ 3533 w 4000"/>
                <a:gd name="T19" fmla="*/ 3175 h 4001"/>
                <a:gd name="T20" fmla="*/ 3782 w 4000"/>
                <a:gd name="T21" fmla="*/ 2741 h 4001"/>
                <a:gd name="T22" fmla="*/ 3914 w 4000"/>
                <a:gd name="T23" fmla="*/ 2252 h 4001"/>
                <a:gd name="T24" fmla="*/ 3992 w 4000"/>
                <a:gd name="T25" fmla="*/ 1840 h 4001"/>
                <a:gd name="T26" fmla="*/ 3518 w 4000"/>
                <a:gd name="T27" fmla="*/ 1500 h 4001"/>
                <a:gd name="T28" fmla="*/ 3645 w 4000"/>
                <a:gd name="T29" fmla="*/ 865 h 4001"/>
                <a:gd name="T30" fmla="*/ 3065 w 4000"/>
                <a:gd name="T31" fmla="*/ 807 h 4001"/>
                <a:gd name="T32" fmla="*/ 2857 w 4000"/>
                <a:gd name="T33" fmla="*/ 196 h 4001"/>
                <a:gd name="T34" fmla="*/ 2326 w 4000"/>
                <a:gd name="T35" fmla="*/ 436 h 4001"/>
                <a:gd name="T36" fmla="*/ 1839 w 4000"/>
                <a:gd name="T37" fmla="*/ 9 h 4001"/>
                <a:gd name="T38" fmla="*/ 1499 w 4000"/>
                <a:gd name="T39" fmla="*/ 483 h 4001"/>
                <a:gd name="T40" fmla="*/ 864 w 4000"/>
                <a:gd name="T41" fmla="*/ 356 h 4001"/>
                <a:gd name="T42" fmla="*/ 806 w 4000"/>
                <a:gd name="T43" fmla="*/ 936 h 4001"/>
                <a:gd name="T44" fmla="*/ 195 w 4000"/>
                <a:gd name="T45" fmla="*/ 1144 h 4001"/>
                <a:gd name="T46" fmla="*/ 435 w 4000"/>
                <a:gd name="T47" fmla="*/ 1675 h 4001"/>
                <a:gd name="T48" fmla="*/ 0 w 4000"/>
                <a:gd name="T49" fmla="*/ 2001 h 4001"/>
                <a:gd name="T50" fmla="*/ 542 w 4000"/>
                <a:gd name="T51" fmla="*/ 1857 h 4001"/>
                <a:gd name="T52" fmla="*/ 665 w 4000"/>
                <a:gd name="T53" fmla="*/ 1396 h 4001"/>
                <a:gd name="T54" fmla="*/ 808 w 4000"/>
                <a:gd name="T55" fmla="*/ 1147 h 4001"/>
                <a:gd name="T56" fmla="*/ 1146 w 4000"/>
                <a:gd name="T57" fmla="*/ 809 h 4001"/>
                <a:gd name="T58" fmla="*/ 1395 w 4000"/>
                <a:gd name="T59" fmla="*/ 666 h 4001"/>
                <a:gd name="T60" fmla="*/ 1856 w 4000"/>
                <a:gd name="T61" fmla="*/ 543 h 4001"/>
                <a:gd name="T62" fmla="*/ 2144 w 4000"/>
                <a:gd name="T63" fmla="*/ 543 h 4001"/>
                <a:gd name="T64" fmla="*/ 2605 w 4000"/>
                <a:gd name="T65" fmla="*/ 666 h 4001"/>
                <a:gd name="T66" fmla="*/ 2854 w 4000"/>
                <a:gd name="T67" fmla="*/ 809 h 4001"/>
                <a:gd name="T68" fmla="*/ 3192 w 4000"/>
                <a:gd name="T69" fmla="*/ 1147 h 4001"/>
                <a:gd name="T70" fmla="*/ 3335 w 4000"/>
                <a:gd name="T71" fmla="*/ 1396 h 4001"/>
                <a:gd name="T72" fmla="*/ 3458 w 4000"/>
                <a:gd name="T73" fmla="*/ 1857 h 4001"/>
                <a:gd name="T74" fmla="*/ 3798 w 4000"/>
                <a:gd name="T75" fmla="*/ 2072 h 4001"/>
                <a:gd name="T76" fmla="*/ 3308 w 4000"/>
                <a:gd name="T77" fmla="*/ 2496 h 4001"/>
                <a:gd name="T78" fmla="*/ 3521 w 4000"/>
                <a:gd name="T79" fmla="*/ 2961 h 4001"/>
                <a:gd name="T80" fmla="*/ 2886 w 4000"/>
                <a:gd name="T81" fmla="*/ 3085 h 4001"/>
                <a:gd name="T82" fmla="*/ 2838 w 4000"/>
                <a:gd name="T83" fmla="*/ 3592 h 4001"/>
                <a:gd name="T84" fmla="*/ 2226 w 4000"/>
                <a:gd name="T85" fmla="*/ 3381 h 4001"/>
                <a:gd name="T86" fmla="*/ 1929 w 4000"/>
                <a:gd name="T87" fmla="*/ 3799 h 4001"/>
                <a:gd name="T88" fmla="*/ 1505 w 4000"/>
                <a:gd name="T89" fmla="*/ 3309 h 4001"/>
                <a:gd name="T90" fmla="*/ 1040 w 4000"/>
                <a:gd name="T91" fmla="*/ 3522 h 4001"/>
                <a:gd name="T92" fmla="*/ 916 w 4000"/>
                <a:gd name="T93" fmla="*/ 2887 h 4001"/>
                <a:gd name="T94" fmla="*/ 409 w 4000"/>
                <a:gd name="T95" fmla="*/ 2838 h 4001"/>
                <a:gd name="T96" fmla="*/ 620 w 4000"/>
                <a:gd name="T97" fmla="*/ 2227 h 4001"/>
                <a:gd name="T98" fmla="*/ 200 w 4000"/>
                <a:gd name="T99" fmla="*/ 2001 h 4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000" h="4001">
                  <a:moveTo>
                    <a:pt x="8" y="2162"/>
                  </a:moveTo>
                  <a:cubicBezTo>
                    <a:pt x="12" y="2206"/>
                    <a:pt x="43" y="2242"/>
                    <a:pt x="87" y="2252"/>
                  </a:cubicBezTo>
                  <a:lnTo>
                    <a:pt x="435" y="2327"/>
                  </a:lnTo>
                  <a:cubicBezTo>
                    <a:pt x="447" y="2386"/>
                    <a:pt x="463" y="2445"/>
                    <a:pt x="482" y="2502"/>
                  </a:cubicBezTo>
                  <a:lnTo>
                    <a:pt x="218" y="2741"/>
                  </a:lnTo>
                  <a:cubicBezTo>
                    <a:pt x="185" y="2771"/>
                    <a:pt x="176" y="2818"/>
                    <a:pt x="195" y="2858"/>
                  </a:cubicBezTo>
                  <a:cubicBezTo>
                    <a:pt x="243" y="2960"/>
                    <a:pt x="297" y="3053"/>
                    <a:pt x="355" y="3137"/>
                  </a:cubicBezTo>
                  <a:cubicBezTo>
                    <a:pt x="380" y="3173"/>
                    <a:pt x="425" y="3188"/>
                    <a:pt x="468" y="3175"/>
                  </a:cubicBezTo>
                  <a:lnTo>
                    <a:pt x="806" y="3066"/>
                  </a:lnTo>
                  <a:cubicBezTo>
                    <a:pt x="847" y="3111"/>
                    <a:pt x="890" y="3154"/>
                    <a:pt x="935" y="3195"/>
                  </a:cubicBezTo>
                  <a:lnTo>
                    <a:pt x="826" y="3534"/>
                  </a:lnTo>
                  <a:cubicBezTo>
                    <a:pt x="813" y="3575"/>
                    <a:pt x="828" y="3621"/>
                    <a:pt x="864" y="3646"/>
                  </a:cubicBezTo>
                  <a:cubicBezTo>
                    <a:pt x="948" y="3704"/>
                    <a:pt x="1042" y="3758"/>
                    <a:pt x="1143" y="3806"/>
                  </a:cubicBezTo>
                  <a:cubicBezTo>
                    <a:pt x="1183" y="3825"/>
                    <a:pt x="1230" y="3816"/>
                    <a:pt x="1260" y="3783"/>
                  </a:cubicBezTo>
                  <a:lnTo>
                    <a:pt x="1499" y="3519"/>
                  </a:lnTo>
                  <a:cubicBezTo>
                    <a:pt x="1556" y="3538"/>
                    <a:pt x="1615" y="3554"/>
                    <a:pt x="1674" y="3566"/>
                  </a:cubicBezTo>
                  <a:lnTo>
                    <a:pt x="1750" y="3914"/>
                  </a:lnTo>
                  <a:cubicBezTo>
                    <a:pt x="1759" y="3958"/>
                    <a:pt x="1795" y="3989"/>
                    <a:pt x="1839" y="3993"/>
                  </a:cubicBezTo>
                  <a:cubicBezTo>
                    <a:pt x="1892" y="3997"/>
                    <a:pt x="1946" y="4001"/>
                    <a:pt x="2000" y="4001"/>
                  </a:cubicBezTo>
                  <a:cubicBezTo>
                    <a:pt x="2054" y="4001"/>
                    <a:pt x="2108" y="3997"/>
                    <a:pt x="2161" y="3993"/>
                  </a:cubicBezTo>
                  <a:cubicBezTo>
                    <a:pt x="2205" y="3990"/>
                    <a:pt x="2241" y="3958"/>
                    <a:pt x="2251" y="3914"/>
                  </a:cubicBezTo>
                  <a:lnTo>
                    <a:pt x="2326" y="3566"/>
                  </a:lnTo>
                  <a:cubicBezTo>
                    <a:pt x="2385" y="3554"/>
                    <a:pt x="2444" y="3538"/>
                    <a:pt x="2501" y="3519"/>
                  </a:cubicBezTo>
                  <a:lnTo>
                    <a:pt x="2740" y="3783"/>
                  </a:lnTo>
                  <a:cubicBezTo>
                    <a:pt x="2770" y="3816"/>
                    <a:pt x="2817" y="3825"/>
                    <a:pt x="2857" y="3806"/>
                  </a:cubicBezTo>
                  <a:cubicBezTo>
                    <a:pt x="2959" y="3758"/>
                    <a:pt x="3052" y="3704"/>
                    <a:pt x="3136" y="3646"/>
                  </a:cubicBezTo>
                  <a:cubicBezTo>
                    <a:pt x="3172" y="3621"/>
                    <a:pt x="3188" y="3575"/>
                    <a:pt x="3174" y="3534"/>
                  </a:cubicBezTo>
                  <a:lnTo>
                    <a:pt x="3065" y="3195"/>
                  </a:lnTo>
                  <a:cubicBezTo>
                    <a:pt x="3110" y="3154"/>
                    <a:pt x="3153" y="3111"/>
                    <a:pt x="3194" y="3066"/>
                  </a:cubicBezTo>
                  <a:lnTo>
                    <a:pt x="3533" y="3175"/>
                  </a:lnTo>
                  <a:cubicBezTo>
                    <a:pt x="3574" y="3189"/>
                    <a:pt x="3620" y="3173"/>
                    <a:pt x="3646" y="3137"/>
                  </a:cubicBezTo>
                  <a:cubicBezTo>
                    <a:pt x="3703" y="3053"/>
                    <a:pt x="3757" y="2960"/>
                    <a:pt x="3805" y="2858"/>
                  </a:cubicBezTo>
                  <a:cubicBezTo>
                    <a:pt x="3824" y="2818"/>
                    <a:pt x="3815" y="2771"/>
                    <a:pt x="3782" y="2741"/>
                  </a:cubicBezTo>
                  <a:lnTo>
                    <a:pt x="3518" y="2502"/>
                  </a:lnTo>
                  <a:cubicBezTo>
                    <a:pt x="3537" y="2445"/>
                    <a:pt x="3553" y="2386"/>
                    <a:pt x="3565" y="2327"/>
                  </a:cubicBezTo>
                  <a:lnTo>
                    <a:pt x="3914" y="2252"/>
                  </a:lnTo>
                  <a:cubicBezTo>
                    <a:pt x="3957" y="2242"/>
                    <a:pt x="3989" y="2206"/>
                    <a:pt x="3992" y="2162"/>
                  </a:cubicBezTo>
                  <a:cubicBezTo>
                    <a:pt x="3996" y="2109"/>
                    <a:pt x="4000" y="2055"/>
                    <a:pt x="4000" y="2001"/>
                  </a:cubicBezTo>
                  <a:cubicBezTo>
                    <a:pt x="4000" y="1947"/>
                    <a:pt x="3996" y="1893"/>
                    <a:pt x="3992" y="1840"/>
                  </a:cubicBezTo>
                  <a:cubicBezTo>
                    <a:pt x="3989" y="1796"/>
                    <a:pt x="3957" y="1760"/>
                    <a:pt x="3913" y="1750"/>
                  </a:cubicBezTo>
                  <a:lnTo>
                    <a:pt x="3565" y="1675"/>
                  </a:lnTo>
                  <a:cubicBezTo>
                    <a:pt x="3553" y="1616"/>
                    <a:pt x="3537" y="1557"/>
                    <a:pt x="3518" y="1500"/>
                  </a:cubicBezTo>
                  <a:lnTo>
                    <a:pt x="3782" y="1261"/>
                  </a:lnTo>
                  <a:cubicBezTo>
                    <a:pt x="3815" y="1231"/>
                    <a:pt x="3824" y="1184"/>
                    <a:pt x="3805" y="1144"/>
                  </a:cubicBezTo>
                  <a:cubicBezTo>
                    <a:pt x="3757" y="1042"/>
                    <a:pt x="3703" y="949"/>
                    <a:pt x="3645" y="865"/>
                  </a:cubicBezTo>
                  <a:cubicBezTo>
                    <a:pt x="3620" y="829"/>
                    <a:pt x="3574" y="813"/>
                    <a:pt x="3533" y="827"/>
                  </a:cubicBezTo>
                  <a:lnTo>
                    <a:pt x="3194" y="936"/>
                  </a:lnTo>
                  <a:cubicBezTo>
                    <a:pt x="3153" y="891"/>
                    <a:pt x="3110" y="848"/>
                    <a:pt x="3065" y="807"/>
                  </a:cubicBezTo>
                  <a:lnTo>
                    <a:pt x="3174" y="468"/>
                  </a:lnTo>
                  <a:cubicBezTo>
                    <a:pt x="3187" y="427"/>
                    <a:pt x="3172" y="381"/>
                    <a:pt x="3136" y="356"/>
                  </a:cubicBezTo>
                  <a:cubicBezTo>
                    <a:pt x="3052" y="298"/>
                    <a:pt x="2959" y="244"/>
                    <a:pt x="2857" y="196"/>
                  </a:cubicBezTo>
                  <a:cubicBezTo>
                    <a:pt x="2817" y="177"/>
                    <a:pt x="2770" y="186"/>
                    <a:pt x="2740" y="219"/>
                  </a:cubicBezTo>
                  <a:lnTo>
                    <a:pt x="2501" y="483"/>
                  </a:lnTo>
                  <a:cubicBezTo>
                    <a:pt x="2444" y="464"/>
                    <a:pt x="2385" y="448"/>
                    <a:pt x="2326" y="436"/>
                  </a:cubicBezTo>
                  <a:lnTo>
                    <a:pt x="2251" y="88"/>
                  </a:lnTo>
                  <a:cubicBezTo>
                    <a:pt x="2241" y="44"/>
                    <a:pt x="2205" y="13"/>
                    <a:pt x="2161" y="9"/>
                  </a:cubicBezTo>
                  <a:cubicBezTo>
                    <a:pt x="2054" y="0"/>
                    <a:pt x="1946" y="0"/>
                    <a:pt x="1839" y="9"/>
                  </a:cubicBezTo>
                  <a:cubicBezTo>
                    <a:pt x="1795" y="12"/>
                    <a:pt x="1759" y="44"/>
                    <a:pt x="1749" y="88"/>
                  </a:cubicBezTo>
                  <a:lnTo>
                    <a:pt x="1674" y="436"/>
                  </a:lnTo>
                  <a:cubicBezTo>
                    <a:pt x="1615" y="448"/>
                    <a:pt x="1556" y="464"/>
                    <a:pt x="1499" y="483"/>
                  </a:cubicBezTo>
                  <a:lnTo>
                    <a:pt x="1260" y="219"/>
                  </a:lnTo>
                  <a:cubicBezTo>
                    <a:pt x="1230" y="186"/>
                    <a:pt x="1183" y="177"/>
                    <a:pt x="1143" y="196"/>
                  </a:cubicBezTo>
                  <a:cubicBezTo>
                    <a:pt x="1041" y="244"/>
                    <a:pt x="948" y="298"/>
                    <a:pt x="864" y="356"/>
                  </a:cubicBezTo>
                  <a:cubicBezTo>
                    <a:pt x="828" y="381"/>
                    <a:pt x="813" y="427"/>
                    <a:pt x="826" y="468"/>
                  </a:cubicBezTo>
                  <a:lnTo>
                    <a:pt x="935" y="807"/>
                  </a:lnTo>
                  <a:cubicBezTo>
                    <a:pt x="890" y="848"/>
                    <a:pt x="847" y="891"/>
                    <a:pt x="806" y="936"/>
                  </a:cubicBezTo>
                  <a:lnTo>
                    <a:pt x="468" y="827"/>
                  </a:lnTo>
                  <a:cubicBezTo>
                    <a:pt x="426" y="813"/>
                    <a:pt x="380" y="829"/>
                    <a:pt x="355" y="865"/>
                  </a:cubicBezTo>
                  <a:cubicBezTo>
                    <a:pt x="297" y="949"/>
                    <a:pt x="243" y="1042"/>
                    <a:pt x="195" y="1144"/>
                  </a:cubicBezTo>
                  <a:cubicBezTo>
                    <a:pt x="176" y="1184"/>
                    <a:pt x="185" y="1231"/>
                    <a:pt x="218" y="1261"/>
                  </a:cubicBezTo>
                  <a:lnTo>
                    <a:pt x="482" y="1500"/>
                  </a:lnTo>
                  <a:cubicBezTo>
                    <a:pt x="463" y="1557"/>
                    <a:pt x="447" y="1616"/>
                    <a:pt x="435" y="1675"/>
                  </a:cubicBezTo>
                  <a:lnTo>
                    <a:pt x="87" y="1750"/>
                  </a:lnTo>
                  <a:cubicBezTo>
                    <a:pt x="44" y="1760"/>
                    <a:pt x="12" y="1796"/>
                    <a:pt x="8" y="1840"/>
                  </a:cubicBezTo>
                  <a:cubicBezTo>
                    <a:pt x="4" y="1893"/>
                    <a:pt x="0" y="1947"/>
                    <a:pt x="0" y="2001"/>
                  </a:cubicBezTo>
                  <a:cubicBezTo>
                    <a:pt x="0" y="2055"/>
                    <a:pt x="4" y="2109"/>
                    <a:pt x="8" y="2162"/>
                  </a:cubicBezTo>
                  <a:close/>
                  <a:moveTo>
                    <a:pt x="202" y="1930"/>
                  </a:moveTo>
                  <a:lnTo>
                    <a:pt x="542" y="1857"/>
                  </a:lnTo>
                  <a:cubicBezTo>
                    <a:pt x="583" y="1848"/>
                    <a:pt x="613" y="1815"/>
                    <a:pt x="620" y="1775"/>
                  </a:cubicBezTo>
                  <a:cubicBezTo>
                    <a:pt x="635" y="1683"/>
                    <a:pt x="659" y="1592"/>
                    <a:pt x="692" y="1506"/>
                  </a:cubicBezTo>
                  <a:cubicBezTo>
                    <a:pt x="706" y="1467"/>
                    <a:pt x="696" y="1424"/>
                    <a:pt x="665" y="1396"/>
                  </a:cubicBezTo>
                  <a:lnTo>
                    <a:pt x="409" y="1163"/>
                  </a:lnTo>
                  <a:cubicBezTo>
                    <a:pt x="431" y="1121"/>
                    <a:pt x="454" y="1079"/>
                    <a:pt x="479" y="1041"/>
                  </a:cubicBezTo>
                  <a:lnTo>
                    <a:pt x="808" y="1147"/>
                  </a:lnTo>
                  <a:cubicBezTo>
                    <a:pt x="847" y="1159"/>
                    <a:pt x="890" y="1147"/>
                    <a:pt x="916" y="1115"/>
                  </a:cubicBezTo>
                  <a:cubicBezTo>
                    <a:pt x="975" y="1043"/>
                    <a:pt x="1042" y="976"/>
                    <a:pt x="1114" y="917"/>
                  </a:cubicBezTo>
                  <a:cubicBezTo>
                    <a:pt x="1146" y="891"/>
                    <a:pt x="1159" y="848"/>
                    <a:pt x="1146" y="809"/>
                  </a:cubicBezTo>
                  <a:lnTo>
                    <a:pt x="1040" y="479"/>
                  </a:lnTo>
                  <a:cubicBezTo>
                    <a:pt x="1078" y="455"/>
                    <a:pt x="1119" y="432"/>
                    <a:pt x="1163" y="409"/>
                  </a:cubicBezTo>
                  <a:lnTo>
                    <a:pt x="1395" y="666"/>
                  </a:lnTo>
                  <a:cubicBezTo>
                    <a:pt x="1423" y="697"/>
                    <a:pt x="1467" y="707"/>
                    <a:pt x="1505" y="693"/>
                  </a:cubicBezTo>
                  <a:cubicBezTo>
                    <a:pt x="1591" y="660"/>
                    <a:pt x="1682" y="636"/>
                    <a:pt x="1774" y="621"/>
                  </a:cubicBezTo>
                  <a:cubicBezTo>
                    <a:pt x="1815" y="614"/>
                    <a:pt x="1847" y="584"/>
                    <a:pt x="1856" y="543"/>
                  </a:cubicBezTo>
                  <a:lnTo>
                    <a:pt x="1929" y="203"/>
                  </a:lnTo>
                  <a:cubicBezTo>
                    <a:pt x="1976" y="201"/>
                    <a:pt x="2024" y="201"/>
                    <a:pt x="2071" y="203"/>
                  </a:cubicBezTo>
                  <a:lnTo>
                    <a:pt x="2144" y="543"/>
                  </a:lnTo>
                  <a:cubicBezTo>
                    <a:pt x="2153" y="584"/>
                    <a:pt x="2186" y="614"/>
                    <a:pt x="2226" y="621"/>
                  </a:cubicBezTo>
                  <a:cubicBezTo>
                    <a:pt x="2318" y="636"/>
                    <a:pt x="2409" y="660"/>
                    <a:pt x="2495" y="693"/>
                  </a:cubicBezTo>
                  <a:cubicBezTo>
                    <a:pt x="2533" y="707"/>
                    <a:pt x="2577" y="697"/>
                    <a:pt x="2605" y="666"/>
                  </a:cubicBezTo>
                  <a:lnTo>
                    <a:pt x="2837" y="410"/>
                  </a:lnTo>
                  <a:cubicBezTo>
                    <a:pt x="2880" y="432"/>
                    <a:pt x="2921" y="455"/>
                    <a:pt x="2960" y="480"/>
                  </a:cubicBezTo>
                  <a:lnTo>
                    <a:pt x="2854" y="809"/>
                  </a:lnTo>
                  <a:cubicBezTo>
                    <a:pt x="2842" y="848"/>
                    <a:pt x="2854" y="891"/>
                    <a:pt x="2886" y="917"/>
                  </a:cubicBezTo>
                  <a:cubicBezTo>
                    <a:pt x="2958" y="976"/>
                    <a:pt x="3025" y="1043"/>
                    <a:pt x="3084" y="1115"/>
                  </a:cubicBezTo>
                  <a:cubicBezTo>
                    <a:pt x="3110" y="1147"/>
                    <a:pt x="3153" y="1160"/>
                    <a:pt x="3192" y="1147"/>
                  </a:cubicBezTo>
                  <a:lnTo>
                    <a:pt x="3521" y="1041"/>
                  </a:lnTo>
                  <a:cubicBezTo>
                    <a:pt x="3546" y="1080"/>
                    <a:pt x="3569" y="1121"/>
                    <a:pt x="3592" y="1163"/>
                  </a:cubicBezTo>
                  <a:lnTo>
                    <a:pt x="3335" y="1396"/>
                  </a:lnTo>
                  <a:cubicBezTo>
                    <a:pt x="3304" y="1424"/>
                    <a:pt x="3294" y="1467"/>
                    <a:pt x="3308" y="1506"/>
                  </a:cubicBezTo>
                  <a:cubicBezTo>
                    <a:pt x="3341" y="1592"/>
                    <a:pt x="3365" y="1683"/>
                    <a:pt x="3380" y="1775"/>
                  </a:cubicBezTo>
                  <a:cubicBezTo>
                    <a:pt x="3387" y="1815"/>
                    <a:pt x="3417" y="1848"/>
                    <a:pt x="3458" y="1857"/>
                  </a:cubicBezTo>
                  <a:lnTo>
                    <a:pt x="3798" y="1930"/>
                  </a:lnTo>
                  <a:cubicBezTo>
                    <a:pt x="3799" y="1953"/>
                    <a:pt x="3800" y="1977"/>
                    <a:pt x="3800" y="2001"/>
                  </a:cubicBezTo>
                  <a:cubicBezTo>
                    <a:pt x="3800" y="2025"/>
                    <a:pt x="3799" y="2048"/>
                    <a:pt x="3798" y="2072"/>
                  </a:cubicBezTo>
                  <a:lnTo>
                    <a:pt x="3458" y="2145"/>
                  </a:lnTo>
                  <a:cubicBezTo>
                    <a:pt x="3417" y="2154"/>
                    <a:pt x="3387" y="2187"/>
                    <a:pt x="3380" y="2227"/>
                  </a:cubicBezTo>
                  <a:cubicBezTo>
                    <a:pt x="3365" y="2319"/>
                    <a:pt x="3341" y="2410"/>
                    <a:pt x="3308" y="2496"/>
                  </a:cubicBezTo>
                  <a:cubicBezTo>
                    <a:pt x="3294" y="2535"/>
                    <a:pt x="3304" y="2578"/>
                    <a:pt x="3335" y="2606"/>
                  </a:cubicBezTo>
                  <a:lnTo>
                    <a:pt x="3592" y="2839"/>
                  </a:lnTo>
                  <a:cubicBezTo>
                    <a:pt x="3569" y="2881"/>
                    <a:pt x="3546" y="2923"/>
                    <a:pt x="3521" y="2961"/>
                  </a:cubicBezTo>
                  <a:lnTo>
                    <a:pt x="3192" y="2855"/>
                  </a:lnTo>
                  <a:cubicBezTo>
                    <a:pt x="3153" y="2842"/>
                    <a:pt x="3110" y="2855"/>
                    <a:pt x="3084" y="2887"/>
                  </a:cubicBezTo>
                  <a:cubicBezTo>
                    <a:pt x="3025" y="2959"/>
                    <a:pt x="2958" y="3026"/>
                    <a:pt x="2886" y="3085"/>
                  </a:cubicBezTo>
                  <a:cubicBezTo>
                    <a:pt x="2854" y="3111"/>
                    <a:pt x="2842" y="3154"/>
                    <a:pt x="2854" y="3193"/>
                  </a:cubicBezTo>
                  <a:lnTo>
                    <a:pt x="2960" y="3522"/>
                  </a:lnTo>
                  <a:cubicBezTo>
                    <a:pt x="2921" y="3547"/>
                    <a:pt x="2880" y="3570"/>
                    <a:pt x="2838" y="3592"/>
                  </a:cubicBezTo>
                  <a:lnTo>
                    <a:pt x="2605" y="3335"/>
                  </a:lnTo>
                  <a:cubicBezTo>
                    <a:pt x="2577" y="3305"/>
                    <a:pt x="2534" y="3295"/>
                    <a:pt x="2495" y="3309"/>
                  </a:cubicBezTo>
                  <a:cubicBezTo>
                    <a:pt x="2409" y="3342"/>
                    <a:pt x="2318" y="3366"/>
                    <a:pt x="2226" y="3381"/>
                  </a:cubicBezTo>
                  <a:cubicBezTo>
                    <a:pt x="2186" y="3388"/>
                    <a:pt x="2153" y="3418"/>
                    <a:pt x="2144" y="3459"/>
                  </a:cubicBezTo>
                  <a:lnTo>
                    <a:pt x="2071" y="3799"/>
                  </a:lnTo>
                  <a:cubicBezTo>
                    <a:pt x="2024" y="3801"/>
                    <a:pt x="1976" y="3801"/>
                    <a:pt x="1929" y="3799"/>
                  </a:cubicBezTo>
                  <a:lnTo>
                    <a:pt x="1856" y="3459"/>
                  </a:lnTo>
                  <a:cubicBezTo>
                    <a:pt x="1847" y="3418"/>
                    <a:pt x="1815" y="3388"/>
                    <a:pt x="1774" y="3381"/>
                  </a:cubicBezTo>
                  <a:cubicBezTo>
                    <a:pt x="1682" y="3366"/>
                    <a:pt x="1591" y="3342"/>
                    <a:pt x="1505" y="3309"/>
                  </a:cubicBezTo>
                  <a:cubicBezTo>
                    <a:pt x="1467" y="3294"/>
                    <a:pt x="1423" y="3305"/>
                    <a:pt x="1395" y="3335"/>
                  </a:cubicBezTo>
                  <a:lnTo>
                    <a:pt x="1163" y="3592"/>
                  </a:lnTo>
                  <a:cubicBezTo>
                    <a:pt x="1120" y="3570"/>
                    <a:pt x="1079" y="3547"/>
                    <a:pt x="1040" y="3522"/>
                  </a:cubicBezTo>
                  <a:lnTo>
                    <a:pt x="1146" y="3193"/>
                  </a:lnTo>
                  <a:cubicBezTo>
                    <a:pt x="1158" y="3154"/>
                    <a:pt x="1146" y="3111"/>
                    <a:pt x="1114" y="3085"/>
                  </a:cubicBezTo>
                  <a:cubicBezTo>
                    <a:pt x="1042" y="3026"/>
                    <a:pt x="975" y="2959"/>
                    <a:pt x="916" y="2887"/>
                  </a:cubicBezTo>
                  <a:cubicBezTo>
                    <a:pt x="890" y="2855"/>
                    <a:pt x="847" y="2842"/>
                    <a:pt x="808" y="2855"/>
                  </a:cubicBezTo>
                  <a:lnTo>
                    <a:pt x="479" y="2961"/>
                  </a:lnTo>
                  <a:cubicBezTo>
                    <a:pt x="454" y="2922"/>
                    <a:pt x="431" y="2881"/>
                    <a:pt x="409" y="2838"/>
                  </a:cubicBezTo>
                  <a:lnTo>
                    <a:pt x="666" y="2605"/>
                  </a:lnTo>
                  <a:cubicBezTo>
                    <a:pt x="696" y="2578"/>
                    <a:pt x="707" y="2534"/>
                    <a:pt x="692" y="2496"/>
                  </a:cubicBezTo>
                  <a:cubicBezTo>
                    <a:pt x="659" y="2410"/>
                    <a:pt x="635" y="2319"/>
                    <a:pt x="620" y="2227"/>
                  </a:cubicBezTo>
                  <a:cubicBezTo>
                    <a:pt x="613" y="2186"/>
                    <a:pt x="583" y="2154"/>
                    <a:pt x="542" y="2145"/>
                  </a:cubicBezTo>
                  <a:lnTo>
                    <a:pt x="202" y="2072"/>
                  </a:lnTo>
                  <a:cubicBezTo>
                    <a:pt x="201" y="2049"/>
                    <a:pt x="200" y="2025"/>
                    <a:pt x="200" y="2001"/>
                  </a:cubicBezTo>
                  <a:cubicBezTo>
                    <a:pt x="200" y="1977"/>
                    <a:pt x="201" y="1954"/>
                    <a:pt x="202" y="193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2" name="Freeform 6"/>
            <p:cNvSpPr>
              <a:spLocks noEditPoints="1"/>
            </p:cNvSpPr>
            <p:nvPr/>
          </p:nvSpPr>
          <p:spPr bwMode="auto">
            <a:xfrm>
              <a:off x="3786" y="713"/>
              <a:ext cx="1152" cy="1153"/>
            </a:xfrm>
            <a:custGeom>
              <a:avLst/>
              <a:gdLst>
                <a:gd name="T0" fmla="*/ 2391 w 2400"/>
                <a:gd name="T1" fmla="*/ 1343 h 2403"/>
                <a:gd name="T2" fmla="*/ 2391 w 2400"/>
                <a:gd name="T3" fmla="*/ 1063 h 2403"/>
                <a:gd name="T4" fmla="*/ 2045 w 2400"/>
                <a:gd name="T5" fmla="*/ 892 h 2403"/>
                <a:gd name="T6" fmla="*/ 2151 w 2400"/>
                <a:gd name="T7" fmla="*/ 568 h 2403"/>
                <a:gd name="T8" fmla="*/ 1943 w 2400"/>
                <a:gd name="T9" fmla="*/ 262 h 2403"/>
                <a:gd name="T10" fmla="*/ 1577 w 2400"/>
                <a:gd name="T11" fmla="*/ 386 h 2403"/>
                <a:gd name="T12" fmla="*/ 1424 w 2400"/>
                <a:gd name="T13" fmla="*/ 81 h 2403"/>
                <a:gd name="T14" fmla="*/ 1060 w 2400"/>
                <a:gd name="T15" fmla="*/ 12 h 2403"/>
                <a:gd name="T16" fmla="*/ 889 w 2400"/>
                <a:gd name="T17" fmla="*/ 358 h 2403"/>
                <a:gd name="T18" fmla="*/ 565 w 2400"/>
                <a:gd name="T19" fmla="*/ 252 h 2403"/>
                <a:gd name="T20" fmla="*/ 259 w 2400"/>
                <a:gd name="T21" fmla="*/ 460 h 2403"/>
                <a:gd name="T22" fmla="*/ 383 w 2400"/>
                <a:gd name="T23" fmla="*/ 826 h 2403"/>
                <a:gd name="T24" fmla="*/ 78 w 2400"/>
                <a:gd name="T25" fmla="*/ 979 h 2403"/>
                <a:gd name="T26" fmla="*/ 0 w 2400"/>
                <a:gd name="T27" fmla="*/ 1203 h 2403"/>
                <a:gd name="T28" fmla="*/ 78 w 2400"/>
                <a:gd name="T29" fmla="*/ 1427 h 2403"/>
                <a:gd name="T30" fmla="*/ 383 w 2400"/>
                <a:gd name="T31" fmla="*/ 1580 h 2403"/>
                <a:gd name="T32" fmla="*/ 259 w 2400"/>
                <a:gd name="T33" fmla="*/ 1946 h 2403"/>
                <a:gd name="T34" fmla="*/ 565 w 2400"/>
                <a:gd name="T35" fmla="*/ 2154 h 2403"/>
                <a:gd name="T36" fmla="*/ 889 w 2400"/>
                <a:gd name="T37" fmla="*/ 2048 h 2403"/>
                <a:gd name="T38" fmla="*/ 1060 w 2400"/>
                <a:gd name="T39" fmla="*/ 2394 h 2403"/>
                <a:gd name="T40" fmla="*/ 1340 w 2400"/>
                <a:gd name="T41" fmla="*/ 2394 h 2403"/>
                <a:gd name="T42" fmla="*/ 1511 w 2400"/>
                <a:gd name="T43" fmla="*/ 2048 h 2403"/>
                <a:gd name="T44" fmla="*/ 1835 w 2400"/>
                <a:gd name="T45" fmla="*/ 2154 h 2403"/>
                <a:gd name="T46" fmla="*/ 2141 w 2400"/>
                <a:gd name="T47" fmla="*/ 1946 h 2403"/>
                <a:gd name="T48" fmla="*/ 2017 w 2400"/>
                <a:gd name="T49" fmla="*/ 1581 h 2403"/>
                <a:gd name="T50" fmla="*/ 2322 w 2400"/>
                <a:gd name="T51" fmla="*/ 1427 h 2403"/>
                <a:gd name="T52" fmla="*/ 1870 w 2400"/>
                <a:gd name="T53" fmla="*/ 1405 h 2403"/>
                <a:gd name="T54" fmla="*/ 1816 w 2400"/>
                <a:gd name="T55" fmla="*/ 1628 h 2403"/>
                <a:gd name="T56" fmla="*/ 1868 w 2400"/>
                <a:gd name="T57" fmla="*/ 1946 h 2403"/>
                <a:gd name="T58" fmla="*/ 1531 w 2400"/>
                <a:gd name="T59" fmla="*/ 1820 h 2403"/>
                <a:gd name="T60" fmla="*/ 1335 w 2400"/>
                <a:gd name="T61" fmla="*/ 1939 h 2403"/>
                <a:gd name="T62" fmla="*/ 1147 w 2400"/>
                <a:gd name="T63" fmla="*/ 2201 h 2403"/>
                <a:gd name="T64" fmla="*/ 998 w 2400"/>
                <a:gd name="T65" fmla="*/ 1873 h 2403"/>
                <a:gd name="T66" fmla="*/ 775 w 2400"/>
                <a:gd name="T67" fmla="*/ 1819 h 2403"/>
                <a:gd name="T68" fmla="*/ 457 w 2400"/>
                <a:gd name="T69" fmla="*/ 1871 h 2403"/>
                <a:gd name="T70" fmla="*/ 583 w 2400"/>
                <a:gd name="T71" fmla="*/ 1534 h 2403"/>
                <a:gd name="T72" fmla="*/ 464 w 2400"/>
                <a:gd name="T73" fmla="*/ 1338 h 2403"/>
                <a:gd name="T74" fmla="*/ 200 w 2400"/>
                <a:gd name="T75" fmla="*/ 1203 h 2403"/>
                <a:gd name="T76" fmla="*/ 464 w 2400"/>
                <a:gd name="T77" fmla="*/ 1068 h 2403"/>
                <a:gd name="T78" fmla="*/ 583 w 2400"/>
                <a:gd name="T79" fmla="*/ 872 h 2403"/>
                <a:gd name="T80" fmla="*/ 457 w 2400"/>
                <a:gd name="T81" fmla="*/ 535 h 2403"/>
                <a:gd name="T82" fmla="*/ 775 w 2400"/>
                <a:gd name="T83" fmla="*/ 587 h 2403"/>
                <a:gd name="T84" fmla="*/ 998 w 2400"/>
                <a:gd name="T85" fmla="*/ 533 h 2403"/>
                <a:gd name="T86" fmla="*/ 1147 w 2400"/>
                <a:gd name="T87" fmla="*/ 205 h 2403"/>
                <a:gd name="T88" fmla="*/ 1335 w 2400"/>
                <a:gd name="T89" fmla="*/ 467 h 2403"/>
                <a:gd name="T90" fmla="*/ 1531 w 2400"/>
                <a:gd name="T91" fmla="*/ 586 h 2403"/>
                <a:gd name="T92" fmla="*/ 1868 w 2400"/>
                <a:gd name="T93" fmla="*/ 460 h 2403"/>
                <a:gd name="T94" fmla="*/ 1816 w 2400"/>
                <a:gd name="T95" fmla="*/ 778 h 2403"/>
                <a:gd name="T96" fmla="*/ 1870 w 2400"/>
                <a:gd name="T97" fmla="*/ 1001 h 2403"/>
                <a:gd name="T98" fmla="*/ 2198 w 2400"/>
                <a:gd name="T99" fmla="*/ 1150 h 2403"/>
                <a:gd name="T100" fmla="*/ 2198 w 2400"/>
                <a:gd name="T101" fmla="*/ 1256 h 2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00" h="2403">
                  <a:moveTo>
                    <a:pt x="2322" y="1427"/>
                  </a:moveTo>
                  <a:cubicBezTo>
                    <a:pt x="2360" y="1415"/>
                    <a:pt x="2387" y="1382"/>
                    <a:pt x="2391" y="1343"/>
                  </a:cubicBezTo>
                  <a:cubicBezTo>
                    <a:pt x="2397" y="1292"/>
                    <a:pt x="2400" y="1246"/>
                    <a:pt x="2400" y="1203"/>
                  </a:cubicBezTo>
                  <a:cubicBezTo>
                    <a:pt x="2400" y="1160"/>
                    <a:pt x="2397" y="1114"/>
                    <a:pt x="2391" y="1063"/>
                  </a:cubicBezTo>
                  <a:cubicBezTo>
                    <a:pt x="2387" y="1024"/>
                    <a:pt x="2360" y="991"/>
                    <a:pt x="2322" y="979"/>
                  </a:cubicBezTo>
                  <a:lnTo>
                    <a:pt x="2045" y="892"/>
                  </a:lnTo>
                  <a:cubicBezTo>
                    <a:pt x="2036" y="870"/>
                    <a:pt x="2027" y="847"/>
                    <a:pt x="2017" y="826"/>
                  </a:cubicBezTo>
                  <a:lnTo>
                    <a:pt x="2151" y="568"/>
                  </a:lnTo>
                  <a:cubicBezTo>
                    <a:pt x="2170" y="533"/>
                    <a:pt x="2166" y="491"/>
                    <a:pt x="2141" y="460"/>
                  </a:cubicBezTo>
                  <a:cubicBezTo>
                    <a:pt x="2083" y="387"/>
                    <a:pt x="2017" y="320"/>
                    <a:pt x="1943" y="262"/>
                  </a:cubicBezTo>
                  <a:cubicBezTo>
                    <a:pt x="1912" y="237"/>
                    <a:pt x="1870" y="233"/>
                    <a:pt x="1835" y="252"/>
                  </a:cubicBezTo>
                  <a:lnTo>
                    <a:pt x="1577" y="386"/>
                  </a:lnTo>
                  <a:cubicBezTo>
                    <a:pt x="1556" y="376"/>
                    <a:pt x="1533" y="367"/>
                    <a:pt x="1511" y="358"/>
                  </a:cubicBezTo>
                  <a:lnTo>
                    <a:pt x="1424" y="81"/>
                  </a:lnTo>
                  <a:cubicBezTo>
                    <a:pt x="1412" y="44"/>
                    <a:pt x="1379" y="16"/>
                    <a:pt x="1340" y="12"/>
                  </a:cubicBezTo>
                  <a:cubicBezTo>
                    <a:pt x="1238" y="0"/>
                    <a:pt x="1162" y="0"/>
                    <a:pt x="1060" y="12"/>
                  </a:cubicBezTo>
                  <a:cubicBezTo>
                    <a:pt x="1021" y="16"/>
                    <a:pt x="988" y="44"/>
                    <a:pt x="976" y="81"/>
                  </a:cubicBezTo>
                  <a:lnTo>
                    <a:pt x="889" y="358"/>
                  </a:lnTo>
                  <a:cubicBezTo>
                    <a:pt x="867" y="367"/>
                    <a:pt x="844" y="376"/>
                    <a:pt x="823" y="386"/>
                  </a:cubicBezTo>
                  <a:lnTo>
                    <a:pt x="565" y="252"/>
                  </a:lnTo>
                  <a:cubicBezTo>
                    <a:pt x="530" y="234"/>
                    <a:pt x="488" y="237"/>
                    <a:pt x="457" y="262"/>
                  </a:cubicBezTo>
                  <a:cubicBezTo>
                    <a:pt x="384" y="320"/>
                    <a:pt x="317" y="386"/>
                    <a:pt x="259" y="460"/>
                  </a:cubicBezTo>
                  <a:cubicBezTo>
                    <a:pt x="234" y="491"/>
                    <a:pt x="230" y="533"/>
                    <a:pt x="249" y="568"/>
                  </a:cubicBezTo>
                  <a:lnTo>
                    <a:pt x="383" y="826"/>
                  </a:lnTo>
                  <a:cubicBezTo>
                    <a:pt x="373" y="847"/>
                    <a:pt x="364" y="870"/>
                    <a:pt x="355" y="892"/>
                  </a:cubicBezTo>
                  <a:lnTo>
                    <a:pt x="78" y="979"/>
                  </a:lnTo>
                  <a:cubicBezTo>
                    <a:pt x="40" y="991"/>
                    <a:pt x="13" y="1024"/>
                    <a:pt x="9" y="1063"/>
                  </a:cubicBezTo>
                  <a:cubicBezTo>
                    <a:pt x="3" y="1114"/>
                    <a:pt x="0" y="1160"/>
                    <a:pt x="0" y="1203"/>
                  </a:cubicBezTo>
                  <a:cubicBezTo>
                    <a:pt x="0" y="1246"/>
                    <a:pt x="3" y="1292"/>
                    <a:pt x="9" y="1343"/>
                  </a:cubicBezTo>
                  <a:cubicBezTo>
                    <a:pt x="13" y="1382"/>
                    <a:pt x="40" y="1415"/>
                    <a:pt x="78" y="1427"/>
                  </a:cubicBezTo>
                  <a:lnTo>
                    <a:pt x="355" y="1514"/>
                  </a:lnTo>
                  <a:cubicBezTo>
                    <a:pt x="364" y="1536"/>
                    <a:pt x="373" y="1559"/>
                    <a:pt x="383" y="1580"/>
                  </a:cubicBezTo>
                  <a:lnTo>
                    <a:pt x="249" y="1838"/>
                  </a:lnTo>
                  <a:cubicBezTo>
                    <a:pt x="230" y="1873"/>
                    <a:pt x="234" y="1915"/>
                    <a:pt x="259" y="1946"/>
                  </a:cubicBezTo>
                  <a:cubicBezTo>
                    <a:pt x="317" y="2019"/>
                    <a:pt x="383" y="2086"/>
                    <a:pt x="457" y="2144"/>
                  </a:cubicBezTo>
                  <a:cubicBezTo>
                    <a:pt x="488" y="2169"/>
                    <a:pt x="530" y="2172"/>
                    <a:pt x="565" y="2154"/>
                  </a:cubicBezTo>
                  <a:lnTo>
                    <a:pt x="822" y="2020"/>
                  </a:lnTo>
                  <a:cubicBezTo>
                    <a:pt x="844" y="2030"/>
                    <a:pt x="867" y="2039"/>
                    <a:pt x="889" y="2048"/>
                  </a:cubicBezTo>
                  <a:lnTo>
                    <a:pt x="976" y="2325"/>
                  </a:lnTo>
                  <a:cubicBezTo>
                    <a:pt x="988" y="2362"/>
                    <a:pt x="1021" y="2390"/>
                    <a:pt x="1060" y="2394"/>
                  </a:cubicBezTo>
                  <a:cubicBezTo>
                    <a:pt x="1111" y="2400"/>
                    <a:pt x="1157" y="2403"/>
                    <a:pt x="1200" y="2403"/>
                  </a:cubicBezTo>
                  <a:cubicBezTo>
                    <a:pt x="1243" y="2403"/>
                    <a:pt x="1289" y="2400"/>
                    <a:pt x="1340" y="2394"/>
                  </a:cubicBezTo>
                  <a:cubicBezTo>
                    <a:pt x="1379" y="2390"/>
                    <a:pt x="1412" y="2363"/>
                    <a:pt x="1424" y="2325"/>
                  </a:cubicBezTo>
                  <a:lnTo>
                    <a:pt x="1511" y="2048"/>
                  </a:lnTo>
                  <a:cubicBezTo>
                    <a:pt x="1533" y="2039"/>
                    <a:pt x="1556" y="2030"/>
                    <a:pt x="1577" y="2020"/>
                  </a:cubicBezTo>
                  <a:lnTo>
                    <a:pt x="1835" y="2154"/>
                  </a:lnTo>
                  <a:cubicBezTo>
                    <a:pt x="1870" y="2173"/>
                    <a:pt x="1912" y="2169"/>
                    <a:pt x="1943" y="2144"/>
                  </a:cubicBezTo>
                  <a:cubicBezTo>
                    <a:pt x="2016" y="2086"/>
                    <a:pt x="2083" y="2020"/>
                    <a:pt x="2141" y="1946"/>
                  </a:cubicBezTo>
                  <a:cubicBezTo>
                    <a:pt x="2166" y="1915"/>
                    <a:pt x="2170" y="1873"/>
                    <a:pt x="2151" y="1838"/>
                  </a:cubicBezTo>
                  <a:lnTo>
                    <a:pt x="2017" y="1581"/>
                  </a:lnTo>
                  <a:cubicBezTo>
                    <a:pt x="2027" y="1559"/>
                    <a:pt x="2036" y="1537"/>
                    <a:pt x="2045" y="1514"/>
                  </a:cubicBezTo>
                  <a:lnTo>
                    <a:pt x="2322" y="1427"/>
                  </a:lnTo>
                  <a:close/>
                  <a:moveTo>
                    <a:pt x="1936" y="1338"/>
                  </a:moveTo>
                  <a:cubicBezTo>
                    <a:pt x="1904" y="1348"/>
                    <a:pt x="1880" y="1373"/>
                    <a:pt x="1870" y="1405"/>
                  </a:cubicBezTo>
                  <a:cubicBezTo>
                    <a:pt x="1857" y="1450"/>
                    <a:pt x="1839" y="1494"/>
                    <a:pt x="1817" y="1534"/>
                  </a:cubicBezTo>
                  <a:cubicBezTo>
                    <a:pt x="1801" y="1563"/>
                    <a:pt x="1801" y="1599"/>
                    <a:pt x="1816" y="1628"/>
                  </a:cubicBezTo>
                  <a:lnTo>
                    <a:pt x="1943" y="1871"/>
                  </a:lnTo>
                  <a:cubicBezTo>
                    <a:pt x="1919" y="1897"/>
                    <a:pt x="1894" y="1922"/>
                    <a:pt x="1868" y="1946"/>
                  </a:cubicBezTo>
                  <a:lnTo>
                    <a:pt x="1625" y="1819"/>
                  </a:lnTo>
                  <a:cubicBezTo>
                    <a:pt x="1595" y="1804"/>
                    <a:pt x="1560" y="1804"/>
                    <a:pt x="1531" y="1820"/>
                  </a:cubicBezTo>
                  <a:cubicBezTo>
                    <a:pt x="1491" y="1842"/>
                    <a:pt x="1447" y="1860"/>
                    <a:pt x="1402" y="1873"/>
                  </a:cubicBezTo>
                  <a:cubicBezTo>
                    <a:pt x="1370" y="1883"/>
                    <a:pt x="1345" y="1907"/>
                    <a:pt x="1335" y="1939"/>
                  </a:cubicBezTo>
                  <a:lnTo>
                    <a:pt x="1253" y="2201"/>
                  </a:lnTo>
                  <a:cubicBezTo>
                    <a:pt x="1216" y="2204"/>
                    <a:pt x="1184" y="2204"/>
                    <a:pt x="1147" y="2201"/>
                  </a:cubicBezTo>
                  <a:lnTo>
                    <a:pt x="1065" y="1939"/>
                  </a:lnTo>
                  <a:cubicBezTo>
                    <a:pt x="1055" y="1907"/>
                    <a:pt x="1030" y="1883"/>
                    <a:pt x="998" y="1873"/>
                  </a:cubicBezTo>
                  <a:cubicBezTo>
                    <a:pt x="953" y="1860"/>
                    <a:pt x="909" y="1842"/>
                    <a:pt x="869" y="1820"/>
                  </a:cubicBezTo>
                  <a:cubicBezTo>
                    <a:pt x="840" y="1804"/>
                    <a:pt x="805" y="1804"/>
                    <a:pt x="775" y="1819"/>
                  </a:cubicBezTo>
                  <a:lnTo>
                    <a:pt x="532" y="1946"/>
                  </a:lnTo>
                  <a:cubicBezTo>
                    <a:pt x="506" y="1922"/>
                    <a:pt x="481" y="1897"/>
                    <a:pt x="457" y="1871"/>
                  </a:cubicBezTo>
                  <a:lnTo>
                    <a:pt x="584" y="1628"/>
                  </a:lnTo>
                  <a:cubicBezTo>
                    <a:pt x="599" y="1599"/>
                    <a:pt x="599" y="1563"/>
                    <a:pt x="583" y="1534"/>
                  </a:cubicBezTo>
                  <a:cubicBezTo>
                    <a:pt x="561" y="1494"/>
                    <a:pt x="543" y="1450"/>
                    <a:pt x="530" y="1405"/>
                  </a:cubicBezTo>
                  <a:cubicBezTo>
                    <a:pt x="520" y="1373"/>
                    <a:pt x="496" y="1348"/>
                    <a:pt x="464" y="1338"/>
                  </a:cubicBezTo>
                  <a:lnTo>
                    <a:pt x="202" y="1256"/>
                  </a:lnTo>
                  <a:cubicBezTo>
                    <a:pt x="200" y="1237"/>
                    <a:pt x="200" y="1220"/>
                    <a:pt x="200" y="1203"/>
                  </a:cubicBezTo>
                  <a:cubicBezTo>
                    <a:pt x="200" y="1186"/>
                    <a:pt x="200" y="1169"/>
                    <a:pt x="202" y="1150"/>
                  </a:cubicBezTo>
                  <a:lnTo>
                    <a:pt x="464" y="1068"/>
                  </a:lnTo>
                  <a:cubicBezTo>
                    <a:pt x="496" y="1058"/>
                    <a:pt x="520" y="1033"/>
                    <a:pt x="530" y="1001"/>
                  </a:cubicBezTo>
                  <a:cubicBezTo>
                    <a:pt x="544" y="956"/>
                    <a:pt x="562" y="912"/>
                    <a:pt x="583" y="872"/>
                  </a:cubicBezTo>
                  <a:cubicBezTo>
                    <a:pt x="599" y="843"/>
                    <a:pt x="599" y="808"/>
                    <a:pt x="584" y="778"/>
                  </a:cubicBezTo>
                  <a:lnTo>
                    <a:pt x="457" y="535"/>
                  </a:lnTo>
                  <a:cubicBezTo>
                    <a:pt x="481" y="509"/>
                    <a:pt x="506" y="484"/>
                    <a:pt x="532" y="460"/>
                  </a:cubicBezTo>
                  <a:lnTo>
                    <a:pt x="775" y="587"/>
                  </a:lnTo>
                  <a:cubicBezTo>
                    <a:pt x="805" y="602"/>
                    <a:pt x="840" y="602"/>
                    <a:pt x="869" y="586"/>
                  </a:cubicBezTo>
                  <a:cubicBezTo>
                    <a:pt x="910" y="565"/>
                    <a:pt x="953" y="547"/>
                    <a:pt x="998" y="533"/>
                  </a:cubicBezTo>
                  <a:cubicBezTo>
                    <a:pt x="1030" y="523"/>
                    <a:pt x="1055" y="499"/>
                    <a:pt x="1065" y="467"/>
                  </a:cubicBezTo>
                  <a:lnTo>
                    <a:pt x="1147" y="205"/>
                  </a:lnTo>
                  <a:cubicBezTo>
                    <a:pt x="1184" y="203"/>
                    <a:pt x="1216" y="203"/>
                    <a:pt x="1253" y="205"/>
                  </a:cubicBezTo>
                  <a:lnTo>
                    <a:pt x="1335" y="467"/>
                  </a:lnTo>
                  <a:cubicBezTo>
                    <a:pt x="1345" y="499"/>
                    <a:pt x="1370" y="523"/>
                    <a:pt x="1402" y="533"/>
                  </a:cubicBezTo>
                  <a:cubicBezTo>
                    <a:pt x="1447" y="547"/>
                    <a:pt x="1491" y="565"/>
                    <a:pt x="1531" y="586"/>
                  </a:cubicBezTo>
                  <a:cubicBezTo>
                    <a:pt x="1560" y="602"/>
                    <a:pt x="1595" y="602"/>
                    <a:pt x="1625" y="587"/>
                  </a:cubicBezTo>
                  <a:lnTo>
                    <a:pt x="1868" y="460"/>
                  </a:lnTo>
                  <a:cubicBezTo>
                    <a:pt x="1894" y="484"/>
                    <a:pt x="1919" y="509"/>
                    <a:pt x="1943" y="535"/>
                  </a:cubicBezTo>
                  <a:lnTo>
                    <a:pt x="1816" y="778"/>
                  </a:lnTo>
                  <a:cubicBezTo>
                    <a:pt x="1801" y="808"/>
                    <a:pt x="1801" y="843"/>
                    <a:pt x="1817" y="872"/>
                  </a:cubicBezTo>
                  <a:cubicBezTo>
                    <a:pt x="1839" y="913"/>
                    <a:pt x="1857" y="956"/>
                    <a:pt x="1870" y="1001"/>
                  </a:cubicBezTo>
                  <a:cubicBezTo>
                    <a:pt x="1880" y="1033"/>
                    <a:pt x="1904" y="1058"/>
                    <a:pt x="1936" y="1068"/>
                  </a:cubicBezTo>
                  <a:lnTo>
                    <a:pt x="2198" y="1150"/>
                  </a:lnTo>
                  <a:cubicBezTo>
                    <a:pt x="2200" y="1169"/>
                    <a:pt x="2200" y="1186"/>
                    <a:pt x="2200" y="1203"/>
                  </a:cubicBezTo>
                  <a:cubicBezTo>
                    <a:pt x="2200" y="1220"/>
                    <a:pt x="2200" y="1237"/>
                    <a:pt x="2198" y="1256"/>
                  </a:cubicBezTo>
                  <a:lnTo>
                    <a:pt x="1936" y="133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3" name="Freeform 7"/>
            <p:cNvSpPr>
              <a:spLocks noEditPoints="1"/>
            </p:cNvSpPr>
            <p:nvPr/>
          </p:nvSpPr>
          <p:spPr bwMode="auto">
            <a:xfrm>
              <a:off x="4314" y="1913"/>
              <a:ext cx="960" cy="961"/>
            </a:xfrm>
            <a:custGeom>
              <a:avLst/>
              <a:gdLst>
                <a:gd name="T0" fmla="*/ 1754 w 2000"/>
                <a:gd name="T1" fmla="*/ 738 h 2003"/>
                <a:gd name="T2" fmla="*/ 1799 w 2000"/>
                <a:gd name="T3" fmla="*/ 492 h 2003"/>
                <a:gd name="T4" fmla="*/ 1615 w 2000"/>
                <a:gd name="T5" fmla="*/ 216 h 2003"/>
                <a:gd name="T6" fmla="*/ 1346 w 2000"/>
                <a:gd name="T7" fmla="*/ 282 h 2003"/>
                <a:gd name="T8" fmla="*/ 1203 w 2000"/>
                <a:gd name="T9" fmla="*/ 77 h 2003"/>
                <a:gd name="T10" fmla="*/ 879 w 2000"/>
                <a:gd name="T11" fmla="*/ 11 h 2003"/>
                <a:gd name="T12" fmla="*/ 735 w 2000"/>
                <a:gd name="T13" fmla="*/ 249 h 2003"/>
                <a:gd name="T14" fmla="*/ 489 w 2000"/>
                <a:gd name="T15" fmla="*/ 204 h 2003"/>
                <a:gd name="T16" fmla="*/ 213 w 2000"/>
                <a:gd name="T17" fmla="*/ 388 h 2003"/>
                <a:gd name="T18" fmla="*/ 279 w 2000"/>
                <a:gd name="T19" fmla="*/ 657 h 2003"/>
                <a:gd name="T20" fmla="*/ 74 w 2000"/>
                <a:gd name="T21" fmla="*/ 800 h 2003"/>
                <a:gd name="T22" fmla="*/ 0 w 2000"/>
                <a:gd name="T23" fmla="*/ 1003 h 2003"/>
                <a:gd name="T24" fmla="*/ 74 w 2000"/>
                <a:gd name="T25" fmla="*/ 1207 h 2003"/>
                <a:gd name="T26" fmla="*/ 279 w 2000"/>
                <a:gd name="T27" fmla="*/ 1349 h 2003"/>
                <a:gd name="T28" fmla="*/ 213 w 2000"/>
                <a:gd name="T29" fmla="*/ 1618 h 2003"/>
                <a:gd name="T30" fmla="*/ 489 w 2000"/>
                <a:gd name="T31" fmla="*/ 1802 h 2003"/>
                <a:gd name="T32" fmla="*/ 735 w 2000"/>
                <a:gd name="T33" fmla="*/ 1757 h 2003"/>
                <a:gd name="T34" fmla="*/ 879 w 2000"/>
                <a:gd name="T35" fmla="*/ 1995 h 2003"/>
                <a:gd name="T36" fmla="*/ 1121 w 2000"/>
                <a:gd name="T37" fmla="*/ 1995 h 2003"/>
                <a:gd name="T38" fmla="*/ 1265 w 2000"/>
                <a:gd name="T39" fmla="*/ 1757 h 2003"/>
                <a:gd name="T40" fmla="*/ 1511 w 2000"/>
                <a:gd name="T41" fmla="*/ 1802 h 2003"/>
                <a:gd name="T42" fmla="*/ 1787 w 2000"/>
                <a:gd name="T43" fmla="*/ 1618 h 2003"/>
                <a:gd name="T44" fmla="*/ 1721 w 2000"/>
                <a:gd name="T45" fmla="*/ 1349 h 2003"/>
                <a:gd name="T46" fmla="*/ 1926 w 2000"/>
                <a:gd name="T47" fmla="*/ 1207 h 2003"/>
                <a:gd name="T48" fmla="*/ 2000 w 2000"/>
                <a:gd name="T49" fmla="*/ 1003 h 2003"/>
                <a:gd name="T50" fmla="*/ 1926 w 2000"/>
                <a:gd name="T51" fmla="*/ 799 h 2003"/>
                <a:gd name="T52" fmla="*/ 1641 w 2000"/>
                <a:gd name="T53" fmla="*/ 1096 h 2003"/>
                <a:gd name="T54" fmla="*/ 1522 w 2000"/>
                <a:gd name="T55" fmla="*/ 1298 h 2003"/>
                <a:gd name="T56" fmla="*/ 1591 w 2000"/>
                <a:gd name="T57" fmla="*/ 1541 h 2003"/>
                <a:gd name="T58" fmla="*/ 1387 w 2000"/>
                <a:gd name="T59" fmla="*/ 1522 h 2003"/>
                <a:gd name="T60" fmla="*/ 1161 w 2000"/>
                <a:gd name="T61" fmla="*/ 1581 h 2003"/>
                <a:gd name="T62" fmla="*/ 1037 w 2000"/>
                <a:gd name="T63" fmla="*/ 1802 h 2003"/>
                <a:gd name="T64" fmla="*/ 907 w 2000"/>
                <a:gd name="T65" fmla="*/ 1643 h 2003"/>
                <a:gd name="T66" fmla="*/ 705 w 2000"/>
                <a:gd name="T67" fmla="*/ 1525 h 2003"/>
                <a:gd name="T68" fmla="*/ 462 w 2000"/>
                <a:gd name="T69" fmla="*/ 1594 h 2003"/>
                <a:gd name="T70" fmla="*/ 481 w 2000"/>
                <a:gd name="T71" fmla="*/ 1390 h 2003"/>
                <a:gd name="T72" fmla="*/ 423 w 2000"/>
                <a:gd name="T73" fmla="*/ 1163 h 2003"/>
                <a:gd name="T74" fmla="*/ 201 w 2000"/>
                <a:gd name="T75" fmla="*/ 1039 h 2003"/>
                <a:gd name="T76" fmla="*/ 201 w 2000"/>
                <a:gd name="T77" fmla="*/ 966 h 2003"/>
                <a:gd name="T78" fmla="*/ 422 w 2000"/>
                <a:gd name="T79" fmla="*/ 843 h 2003"/>
                <a:gd name="T80" fmla="*/ 481 w 2000"/>
                <a:gd name="T81" fmla="*/ 616 h 2003"/>
                <a:gd name="T82" fmla="*/ 462 w 2000"/>
                <a:gd name="T83" fmla="*/ 412 h 2003"/>
                <a:gd name="T84" fmla="*/ 705 w 2000"/>
                <a:gd name="T85" fmla="*/ 481 h 2003"/>
                <a:gd name="T86" fmla="*/ 907 w 2000"/>
                <a:gd name="T87" fmla="*/ 362 h 2003"/>
                <a:gd name="T88" fmla="*/ 1036 w 2000"/>
                <a:gd name="T89" fmla="*/ 204 h 2003"/>
                <a:gd name="T90" fmla="*/ 1160 w 2000"/>
                <a:gd name="T91" fmla="*/ 425 h 2003"/>
                <a:gd name="T92" fmla="*/ 1387 w 2000"/>
                <a:gd name="T93" fmla="*/ 484 h 2003"/>
                <a:gd name="T94" fmla="*/ 1590 w 2000"/>
                <a:gd name="T95" fmla="*/ 464 h 2003"/>
                <a:gd name="T96" fmla="*/ 1522 w 2000"/>
                <a:gd name="T97" fmla="*/ 708 h 2003"/>
                <a:gd name="T98" fmla="*/ 1640 w 2000"/>
                <a:gd name="T99" fmla="*/ 910 h 2003"/>
                <a:gd name="T100" fmla="*/ 1800 w 2000"/>
                <a:gd name="T101" fmla="*/ 1003 h 2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00" h="2003">
                  <a:moveTo>
                    <a:pt x="1926" y="799"/>
                  </a:moveTo>
                  <a:lnTo>
                    <a:pt x="1754" y="738"/>
                  </a:lnTo>
                  <a:cubicBezTo>
                    <a:pt x="1745" y="710"/>
                    <a:pt x="1733" y="683"/>
                    <a:pt x="1721" y="657"/>
                  </a:cubicBezTo>
                  <a:lnTo>
                    <a:pt x="1799" y="492"/>
                  </a:lnTo>
                  <a:cubicBezTo>
                    <a:pt x="1815" y="458"/>
                    <a:pt x="1811" y="418"/>
                    <a:pt x="1787" y="388"/>
                  </a:cubicBezTo>
                  <a:cubicBezTo>
                    <a:pt x="1737" y="324"/>
                    <a:pt x="1679" y="266"/>
                    <a:pt x="1615" y="216"/>
                  </a:cubicBezTo>
                  <a:cubicBezTo>
                    <a:pt x="1585" y="192"/>
                    <a:pt x="1545" y="188"/>
                    <a:pt x="1511" y="204"/>
                  </a:cubicBezTo>
                  <a:lnTo>
                    <a:pt x="1346" y="282"/>
                  </a:lnTo>
                  <a:cubicBezTo>
                    <a:pt x="1320" y="270"/>
                    <a:pt x="1292" y="258"/>
                    <a:pt x="1265" y="249"/>
                  </a:cubicBezTo>
                  <a:lnTo>
                    <a:pt x="1203" y="77"/>
                  </a:lnTo>
                  <a:cubicBezTo>
                    <a:pt x="1191" y="41"/>
                    <a:pt x="1159" y="16"/>
                    <a:pt x="1121" y="11"/>
                  </a:cubicBezTo>
                  <a:cubicBezTo>
                    <a:pt x="1032" y="0"/>
                    <a:pt x="968" y="0"/>
                    <a:pt x="879" y="11"/>
                  </a:cubicBezTo>
                  <a:cubicBezTo>
                    <a:pt x="841" y="16"/>
                    <a:pt x="809" y="41"/>
                    <a:pt x="796" y="77"/>
                  </a:cubicBezTo>
                  <a:lnTo>
                    <a:pt x="735" y="249"/>
                  </a:lnTo>
                  <a:cubicBezTo>
                    <a:pt x="707" y="259"/>
                    <a:pt x="680" y="270"/>
                    <a:pt x="654" y="282"/>
                  </a:cubicBezTo>
                  <a:lnTo>
                    <a:pt x="489" y="204"/>
                  </a:lnTo>
                  <a:cubicBezTo>
                    <a:pt x="455" y="188"/>
                    <a:pt x="415" y="193"/>
                    <a:pt x="385" y="216"/>
                  </a:cubicBezTo>
                  <a:cubicBezTo>
                    <a:pt x="321" y="266"/>
                    <a:pt x="263" y="324"/>
                    <a:pt x="213" y="388"/>
                  </a:cubicBezTo>
                  <a:cubicBezTo>
                    <a:pt x="189" y="418"/>
                    <a:pt x="185" y="458"/>
                    <a:pt x="201" y="492"/>
                  </a:cubicBezTo>
                  <a:lnTo>
                    <a:pt x="279" y="657"/>
                  </a:lnTo>
                  <a:cubicBezTo>
                    <a:pt x="267" y="683"/>
                    <a:pt x="255" y="711"/>
                    <a:pt x="246" y="739"/>
                  </a:cubicBezTo>
                  <a:lnTo>
                    <a:pt x="74" y="800"/>
                  </a:lnTo>
                  <a:cubicBezTo>
                    <a:pt x="38" y="812"/>
                    <a:pt x="13" y="844"/>
                    <a:pt x="8" y="882"/>
                  </a:cubicBezTo>
                  <a:cubicBezTo>
                    <a:pt x="3" y="926"/>
                    <a:pt x="0" y="966"/>
                    <a:pt x="0" y="1003"/>
                  </a:cubicBezTo>
                  <a:cubicBezTo>
                    <a:pt x="0" y="1040"/>
                    <a:pt x="3" y="1080"/>
                    <a:pt x="8" y="1124"/>
                  </a:cubicBezTo>
                  <a:cubicBezTo>
                    <a:pt x="12" y="1162"/>
                    <a:pt x="38" y="1194"/>
                    <a:pt x="74" y="1207"/>
                  </a:cubicBezTo>
                  <a:lnTo>
                    <a:pt x="246" y="1268"/>
                  </a:lnTo>
                  <a:cubicBezTo>
                    <a:pt x="255" y="1295"/>
                    <a:pt x="267" y="1323"/>
                    <a:pt x="279" y="1349"/>
                  </a:cubicBezTo>
                  <a:lnTo>
                    <a:pt x="201" y="1514"/>
                  </a:lnTo>
                  <a:cubicBezTo>
                    <a:pt x="185" y="1548"/>
                    <a:pt x="189" y="1588"/>
                    <a:pt x="213" y="1618"/>
                  </a:cubicBezTo>
                  <a:cubicBezTo>
                    <a:pt x="263" y="1682"/>
                    <a:pt x="321" y="1740"/>
                    <a:pt x="385" y="1790"/>
                  </a:cubicBezTo>
                  <a:cubicBezTo>
                    <a:pt x="415" y="1813"/>
                    <a:pt x="455" y="1818"/>
                    <a:pt x="489" y="1802"/>
                  </a:cubicBezTo>
                  <a:lnTo>
                    <a:pt x="654" y="1724"/>
                  </a:lnTo>
                  <a:cubicBezTo>
                    <a:pt x="680" y="1736"/>
                    <a:pt x="708" y="1748"/>
                    <a:pt x="735" y="1757"/>
                  </a:cubicBezTo>
                  <a:lnTo>
                    <a:pt x="797" y="1929"/>
                  </a:lnTo>
                  <a:cubicBezTo>
                    <a:pt x="809" y="1965"/>
                    <a:pt x="841" y="1990"/>
                    <a:pt x="879" y="1995"/>
                  </a:cubicBezTo>
                  <a:cubicBezTo>
                    <a:pt x="923" y="2000"/>
                    <a:pt x="963" y="2003"/>
                    <a:pt x="1000" y="2003"/>
                  </a:cubicBezTo>
                  <a:cubicBezTo>
                    <a:pt x="1037" y="2003"/>
                    <a:pt x="1077" y="2000"/>
                    <a:pt x="1121" y="1995"/>
                  </a:cubicBezTo>
                  <a:cubicBezTo>
                    <a:pt x="1159" y="1991"/>
                    <a:pt x="1191" y="1965"/>
                    <a:pt x="1204" y="1929"/>
                  </a:cubicBezTo>
                  <a:lnTo>
                    <a:pt x="1265" y="1757"/>
                  </a:lnTo>
                  <a:cubicBezTo>
                    <a:pt x="1292" y="1748"/>
                    <a:pt x="1320" y="1736"/>
                    <a:pt x="1346" y="1724"/>
                  </a:cubicBezTo>
                  <a:lnTo>
                    <a:pt x="1511" y="1802"/>
                  </a:lnTo>
                  <a:cubicBezTo>
                    <a:pt x="1545" y="1818"/>
                    <a:pt x="1585" y="1814"/>
                    <a:pt x="1615" y="1790"/>
                  </a:cubicBezTo>
                  <a:cubicBezTo>
                    <a:pt x="1679" y="1740"/>
                    <a:pt x="1737" y="1682"/>
                    <a:pt x="1787" y="1618"/>
                  </a:cubicBezTo>
                  <a:cubicBezTo>
                    <a:pt x="1810" y="1589"/>
                    <a:pt x="1815" y="1548"/>
                    <a:pt x="1799" y="1514"/>
                  </a:cubicBezTo>
                  <a:lnTo>
                    <a:pt x="1721" y="1349"/>
                  </a:lnTo>
                  <a:cubicBezTo>
                    <a:pt x="1733" y="1323"/>
                    <a:pt x="1745" y="1296"/>
                    <a:pt x="1754" y="1268"/>
                  </a:cubicBezTo>
                  <a:lnTo>
                    <a:pt x="1926" y="1207"/>
                  </a:lnTo>
                  <a:cubicBezTo>
                    <a:pt x="1962" y="1194"/>
                    <a:pt x="1987" y="1162"/>
                    <a:pt x="1992" y="1124"/>
                  </a:cubicBezTo>
                  <a:cubicBezTo>
                    <a:pt x="1997" y="1080"/>
                    <a:pt x="2000" y="1040"/>
                    <a:pt x="2000" y="1003"/>
                  </a:cubicBezTo>
                  <a:cubicBezTo>
                    <a:pt x="2000" y="966"/>
                    <a:pt x="1997" y="926"/>
                    <a:pt x="1992" y="882"/>
                  </a:cubicBezTo>
                  <a:cubicBezTo>
                    <a:pt x="1988" y="844"/>
                    <a:pt x="1962" y="812"/>
                    <a:pt x="1926" y="799"/>
                  </a:cubicBezTo>
                  <a:close/>
                  <a:moveTo>
                    <a:pt x="1799" y="1039"/>
                  </a:moveTo>
                  <a:lnTo>
                    <a:pt x="1641" y="1096"/>
                  </a:lnTo>
                  <a:cubicBezTo>
                    <a:pt x="1610" y="1107"/>
                    <a:pt x="1586" y="1132"/>
                    <a:pt x="1578" y="1163"/>
                  </a:cubicBezTo>
                  <a:cubicBezTo>
                    <a:pt x="1565" y="1211"/>
                    <a:pt x="1546" y="1256"/>
                    <a:pt x="1522" y="1298"/>
                  </a:cubicBezTo>
                  <a:cubicBezTo>
                    <a:pt x="1506" y="1326"/>
                    <a:pt x="1505" y="1361"/>
                    <a:pt x="1519" y="1390"/>
                  </a:cubicBezTo>
                  <a:lnTo>
                    <a:pt x="1591" y="1541"/>
                  </a:lnTo>
                  <a:cubicBezTo>
                    <a:pt x="1574" y="1560"/>
                    <a:pt x="1557" y="1577"/>
                    <a:pt x="1539" y="1593"/>
                  </a:cubicBezTo>
                  <a:lnTo>
                    <a:pt x="1387" y="1522"/>
                  </a:lnTo>
                  <a:cubicBezTo>
                    <a:pt x="1358" y="1508"/>
                    <a:pt x="1324" y="1509"/>
                    <a:pt x="1295" y="1525"/>
                  </a:cubicBezTo>
                  <a:cubicBezTo>
                    <a:pt x="1253" y="1549"/>
                    <a:pt x="1208" y="1567"/>
                    <a:pt x="1161" y="1581"/>
                  </a:cubicBezTo>
                  <a:cubicBezTo>
                    <a:pt x="1129" y="1589"/>
                    <a:pt x="1104" y="1613"/>
                    <a:pt x="1093" y="1643"/>
                  </a:cubicBezTo>
                  <a:lnTo>
                    <a:pt x="1037" y="1802"/>
                  </a:lnTo>
                  <a:cubicBezTo>
                    <a:pt x="1012" y="1803"/>
                    <a:pt x="988" y="1803"/>
                    <a:pt x="964" y="1802"/>
                  </a:cubicBezTo>
                  <a:lnTo>
                    <a:pt x="907" y="1643"/>
                  </a:lnTo>
                  <a:cubicBezTo>
                    <a:pt x="896" y="1613"/>
                    <a:pt x="871" y="1589"/>
                    <a:pt x="840" y="1581"/>
                  </a:cubicBezTo>
                  <a:cubicBezTo>
                    <a:pt x="792" y="1567"/>
                    <a:pt x="747" y="1549"/>
                    <a:pt x="705" y="1525"/>
                  </a:cubicBezTo>
                  <a:cubicBezTo>
                    <a:pt x="677" y="1509"/>
                    <a:pt x="643" y="1508"/>
                    <a:pt x="613" y="1522"/>
                  </a:cubicBezTo>
                  <a:lnTo>
                    <a:pt x="462" y="1594"/>
                  </a:lnTo>
                  <a:cubicBezTo>
                    <a:pt x="444" y="1577"/>
                    <a:pt x="426" y="1560"/>
                    <a:pt x="410" y="1541"/>
                  </a:cubicBezTo>
                  <a:lnTo>
                    <a:pt x="481" y="1390"/>
                  </a:lnTo>
                  <a:cubicBezTo>
                    <a:pt x="495" y="1361"/>
                    <a:pt x="494" y="1326"/>
                    <a:pt x="478" y="1298"/>
                  </a:cubicBezTo>
                  <a:cubicBezTo>
                    <a:pt x="454" y="1256"/>
                    <a:pt x="436" y="1211"/>
                    <a:pt x="423" y="1163"/>
                  </a:cubicBezTo>
                  <a:cubicBezTo>
                    <a:pt x="414" y="1132"/>
                    <a:pt x="390" y="1107"/>
                    <a:pt x="360" y="1096"/>
                  </a:cubicBezTo>
                  <a:lnTo>
                    <a:pt x="201" y="1039"/>
                  </a:lnTo>
                  <a:cubicBezTo>
                    <a:pt x="200" y="1027"/>
                    <a:pt x="200" y="1015"/>
                    <a:pt x="200" y="1003"/>
                  </a:cubicBezTo>
                  <a:cubicBezTo>
                    <a:pt x="200" y="991"/>
                    <a:pt x="200" y="978"/>
                    <a:pt x="201" y="966"/>
                  </a:cubicBezTo>
                  <a:lnTo>
                    <a:pt x="360" y="910"/>
                  </a:lnTo>
                  <a:cubicBezTo>
                    <a:pt x="390" y="899"/>
                    <a:pt x="414" y="874"/>
                    <a:pt x="422" y="843"/>
                  </a:cubicBezTo>
                  <a:cubicBezTo>
                    <a:pt x="436" y="795"/>
                    <a:pt x="454" y="750"/>
                    <a:pt x="478" y="708"/>
                  </a:cubicBezTo>
                  <a:cubicBezTo>
                    <a:pt x="494" y="680"/>
                    <a:pt x="495" y="645"/>
                    <a:pt x="481" y="616"/>
                  </a:cubicBezTo>
                  <a:lnTo>
                    <a:pt x="409" y="464"/>
                  </a:lnTo>
                  <a:cubicBezTo>
                    <a:pt x="426" y="446"/>
                    <a:pt x="443" y="429"/>
                    <a:pt x="462" y="412"/>
                  </a:cubicBezTo>
                  <a:lnTo>
                    <a:pt x="613" y="484"/>
                  </a:lnTo>
                  <a:cubicBezTo>
                    <a:pt x="642" y="498"/>
                    <a:pt x="677" y="497"/>
                    <a:pt x="705" y="481"/>
                  </a:cubicBezTo>
                  <a:cubicBezTo>
                    <a:pt x="747" y="457"/>
                    <a:pt x="792" y="438"/>
                    <a:pt x="840" y="425"/>
                  </a:cubicBezTo>
                  <a:cubicBezTo>
                    <a:pt x="871" y="417"/>
                    <a:pt x="896" y="393"/>
                    <a:pt x="907" y="362"/>
                  </a:cubicBezTo>
                  <a:lnTo>
                    <a:pt x="963" y="204"/>
                  </a:lnTo>
                  <a:cubicBezTo>
                    <a:pt x="988" y="203"/>
                    <a:pt x="1012" y="203"/>
                    <a:pt x="1036" y="204"/>
                  </a:cubicBezTo>
                  <a:lnTo>
                    <a:pt x="1093" y="362"/>
                  </a:lnTo>
                  <a:cubicBezTo>
                    <a:pt x="1104" y="393"/>
                    <a:pt x="1129" y="417"/>
                    <a:pt x="1160" y="425"/>
                  </a:cubicBezTo>
                  <a:cubicBezTo>
                    <a:pt x="1208" y="438"/>
                    <a:pt x="1253" y="457"/>
                    <a:pt x="1295" y="481"/>
                  </a:cubicBezTo>
                  <a:cubicBezTo>
                    <a:pt x="1323" y="497"/>
                    <a:pt x="1358" y="498"/>
                    <a:pt x="1387" y="484"/>
                  </a:cubicBezTo>
                  <a:lnTo>
                    <a:pt x="1538" y="412"/>
                  </a:lnTo>
                  <a:cubicBezTo>
                    <a:pt x="1557" y="429"/>
                    <a:pt x="1574" y="446"/>
                    <a:pt x="1590" y="464"/>
                  </a:cubicBezTo>
                  <a:lnTo>
                    <a:pt x="1519" y="616"/>
                  </a:lnTo>
                  <a:cubicBezTo>
                    <a:pt x="1505" y="645"/>
                    <a:pt x="1506" y="680"/>
                    <a:pt x="1522" y="708"/>
                  </a:cubicBezTo>
                  <a:cubicBezTo>
                    <a:pt x="1546" y="750"/>
                    <a:pt x="1564" y="795"/>
                    <a:pt x="1577" y="842"/>
                  </a:cubicBezTo>
                  <a:cubicBezTo>
                    <a:pt x="1586" y="874"/>
                    <a:pt x="1610" y="899"/>
                    <a:pt x="1640" y="910"/>
                  </a:cubicBezTo>
                  <a:lnTo>
                    <a:pt x="1799" y="966"/>
                  </a:lnTo>
                  <a:cubicBezTo>
                    <a:pt x="1800" y="979"/>
                    <a:pt x="1800" y="991"/>
                    <a:pt x="1800" y="1003"/>
                  </a:cubicBezTo>
                  <a:cubicBezTo>
                    <a:pt x="1800" y="1015"/>
                    <a:pt x="1800" y="1027"/>
                    <a:pt x="1799" y="10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4" name="Freeform 8"/>
            <p:cNvSpPr>
              <a:spLocks noEditPoints="1"/>
            </p:cNvSpPr>
            <p:nvPr/>
          </p:nvSpPr>
          <p:spPr bwMode="auto">
            <a:xfrm>
              <a:off x="2826" y="2106"/>
              <a:ext cx="1056" cy="1056"/>
            </a:xfrm>
            <a:custGeom>
              <a:avLst/>
              <a:gdLst>
                <a:gd name="T0" fmla="*/ 1100 w 2200"/>
                <a:gd name="T1" fmla="*/ 2200 h 2200"/>
                <a:gd name="T2" fmla="*/ 2200 w 2200"/>
                <a:gd name="T3" fmla="*/ 1100 h 2200"/>
                <a:gd name="T4" fmla="*/ 1100 w 2200"/>
                <a:gd name="T5" fmla="*/ 0 h 2200"/>
                <a:gd name="T6" fmla="*/ 0 w 2200"/>
                <a:gd name="T7" fmla="*/ 1100 h 2200"/>
                <a:gd name="T8" fmla="*/ 1100 w 2200"/>
                <a:gd name="T9" fmla="*/ 2200 h 2200"/>
                <a:gd name="T10" fmla="*/ 1100 w 2200"/>
                <a:gd name="T11" fmla="*/ 200 h 2200"/>
                <a:gd name="T12" fmla="*/ 2000 w 2200"/>
                <a:gd name="T13" fmla="*/ 1100 h 2200"/>
                <a:gd name="T14" fmla="*/ 1100 w 2200"/>
                <a:gd name="T15" fmla="*/ 2000 h 2200"/>
                <a:gd name="T16" fmla="*/ 200 w 2200"/>
                <a:gd name="T17" fmla="*/ 1100 h 2200"/>
                <a:gd name="T18" fmla="*/ 1100 w 2200"/>
                <a:gd name="T19" fmla="*/ 200 h 2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0" h="2200">
                  <a:moveTo>
                    <a:pt x="1100" y="2200"/>
                  </a:moveTo>
                  <a:cubicBezTo>
                    <a:pt x="1707" y="2200"/>
                    <a:pt x="2200" y="1707"/>
                    <a:pt x="2200" y="1100"/>
                  </a:cubicBezTo>
                  <a:cubicBezTo>
                    <a:pt x="2200" y="494"/>
                    <a:pt x="1707" y="0"/>
                    <a:pt x="1100" y="0"/>
                  </a:cubicBezTo>
                  <a:cubicBezTo>
                    <a:pt x="493" y="0"/>
                    <a:pt x="0" y="494"/>
                    <a:pt x="0" y="1100"/>
                  </a:cubicBezTo>
                  <a:cubicBezTo>
                    <a:pt x="0" y="1707"/>
                    <a:pt x="493" y="2200"/>
                    <a:pt x="1100" y="2200"/>
                  </a:cubicBezTo>
                  <a:close/>
                  <a:moveTo>
                    <a:pt x="1100" y="200"/>
                  </a:moveTo>
                  <a:cubicBezTo>
                    <a:pt x="1596" y="200"/>
                    <a:pt x="2000" y="604"/>
                    <a:pt x="2000" y="1100"/>
                  </a:cubicBezTo>
                  <a:cubicBezTo>
                    <a:pt x="2000" y="1596"/>
                    <a:pt x="1596" y="2000"/>
                    <a:pt x="1100" y="2000"/>
                  </a:cubicBezTo>
                  <a:cubicBezTo>
                    <a:pt x="604" y="2000"/>
                    <a:pt x="200" y="1596"/>
                    <a:pt x="200" y="1100"/>
                  </a:cubicBezTo>
                  <a:cubicBezTo>
                    <a:pt x="200" y="604"/>
                    <a:pt x="604" y="200"/>
                    <a:pt x="1100" y="2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5" name="Freeform 9"/>
            <p:cNvSpPr>
              <a:spLocks/>
            </p:cNvSpPr>
            <p:nvPr/>
          </p:nvSpPr>
          <p:spPr bwMode="auto">
            <a:xfrm>
              <a:off x="2395" y="1256"/>
              <a:ext cx="1204" cy="641"/>
            </a:xfrm>
            <a:custGeom>
              <a:avLst/>
              <a:gdLst>
                <a:gd name="T0" fmla="*/ 0 w 2508"/>
                <a:gd name="T1" fmla="*/ 1207 h 1335"/>
                <a:gd name="T2" fmla="*/ 154 w 2508"/>
                <a:gd name="T3" fmla="*/ 1335 h 1335"/>
                <a:gd name="T4" fmla="*/ 1998 w 2508"/>
                <a:gd name="T5" fmla="*/ 471 h 1335"/>
                <a:gd name="T6" fmla="*/ 2151 w 2508"/>
                <a:gd name="T7" fmla="*/ 477 h 1335"/>
                <a:gd name="T8" fmla="*/ 2027 w 2508"/>
                <a:gd name="T9" fmla="*/ 600 h 1335"/>
                <a:gd name="T10" fmla="*/ 2169 w 2508"/>
                <a:gd name="T11" fmla="*/ 742 h 1335"/>
                <a:gd name="T12" fmla="*/ 2469 w 2508"/>
                <a:gd name="T13" fmla="*/ 442 h 1335"/>
                <a:gd name="T14" fmla="*/ 2469 w 2508"/>
                <a:gd name="T15" fmla="*/ 300 h 1335"/>
                <a:gd name="T16" fmla="*/ 2169 w 2508"/>
                <a:gd name="T17" fmla="*/ 0 h 1335"/>
                <a:gd name="T18" fmla="*/ 2027 w 2508"/>
                <a:gd name="T19" fmla="*/ 142 h 1335"/>
                <a:gd name="T20" fmla="*/ 2163 w 2508"/>
                <a:gd name="T21" fmla="*/ 278 h 1335"/>
                <a:gd name="T22" fmla="*/ 1998 w 2508"/>
                <a:gd name="T23" fmla="*/ 271 h 1335"/>
                <a:gd name="T24" fmla="*/ 0 w 2508"/>
                <a:gd name="T25" fmla="*/ 1207 h 1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08" h="1335">
                  <a:moveTo>
                    <a:pt x="0" y="1207"/>
                  </a:moveTo>
                  <a:lnTo>
                    <a:pt x="154" y="1335"/>
                  </a:lnTo>
                  <a:cubicBezTo>
                    <a:pt x="612" y="786"/>
                    <a:pt x="1284" y="471"/>
                    <a:pt x="1998" y="471"/>
                  </a:cubicBezTo>
                  <a:cubicBezTo>
                    <a:pt x="2049" y="471"/>
                    <a:pt x="2100" y="474"/>
                    <a:pt x="2151" y="477"/>
                  </a:cubicBezTo>
                  <a:lnTo>
                    <a:pt x="2027" y="600"/>
                  </a:lnTo>
                  <a:lnTo>
                    <a:pt x="2169" y="742"/>
                  </a:lnTo>
                  <a:lnTo>
                    <a:pt x="2469" y="442"/>
                  </a:lnTo>
                  <a:cubicBezTo>
                    <a:pt x="2508" y="403"/>
                    <a:pt x="2508" y="339"/>
                    <a:pt x="2469" y="300"/>
                  </a:cubicBezTo>
                  <a:lnTo>
                    <a:pt x="2169" y="0"/>
                  </a:lnTo>
                  <a:lnTo>
                    <a:pt x="2027" y="142"/>
                  </a:lnTo>
                  <a:lnTo>
                    <a:pt x="2163" y="278"/>
                  </a:lnTo>
                  <a:cubicBezTo>
                    <a:pt x="2108" y="274"/>
                    <a:pt x="2053" y="271"/>
                    <a:pt x="1998" y="271"/>
                  </a:cubicBezTo>
                  <a:cubicBezTo>
                    <a:pt x="1224" y="271"/>
                    <a:pt x="496" y="612"/>
                    <a:pt x="0" y="120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6" name="Freeform 10"/>
            <p:cNvSpPr>
              <a:spLocks noEditPoints="1"/>
            </p:cNvSpPr>
            <p:nvPr/>
          </p:nvSpPr>
          <p:spPr bwMode="auto">
            <a:xfrm>
              <a:off x="4122" y="1050"/>
              <a:ext cx="480" cy="480"/>
            </a:xfrm>
            <a:custGeom>
              <a:avLst/>
              <a:gdLst>
                <a:gd name="T0" fmla="*/ 500 w 1000"/>
                <a:gd name="T1" fmla="*/ 0 h 1000"/>
                <a:gd name="T2" fmla="*/ 0 w 1000"/>
                <a:gd name="T3" fmla="*/ 500 h 1000"/>
                <a:gd name="T4" fmla="*/ 500 w 1000"/>
                <a:gd name="T5" fmla="*/ 1000 h 1000"/>
                <a:gd name="T6" fmla="*/ 1000 w 1000"/>
                <a:gd name="T7" fmla="*/ 500 h 1000"/>
                <a:gd name="T8" fmla="*/ 500 w 1000"/>
                <a:gd name="T9" fmla="*/ 0 h 1000"/>
                <a:gd name="T10" fmla="*/ 500 w 1000"/>
                <a:gd name="T11" fmla="*/ 800 h 1000"/>
                <a:gd name="T12" fmla="*/ 200 w 1000"/>
                <a:gd name="T13" fmla="*/ 500 h 1000"/>
                <a:gd name="T14" fmla="*/ 500 w 1000"/>
                <a:gd name="T15" fmla="*/ 200 h 1000"/>
                <a:gd name="T16" fmla="*/ 800 w 1000"/>
                <a:gd name="T17" fmla="*/ 500 h 1000"/>
                <a:gd name="T18" fmla="*/ 500 w 1000"/>
                <a:gd name="T19" fmla="*/ 80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0" h="1000">
                  <a:moveTo>
                    <a:pt x="500" y="0"/>
                  </a:moveTo>
                  <a:cubicBezTo>
                    <a:pt x="224" y="0"/>
                    <a:pt x="0" y="224"/>
                    <a:pt x="0" y="500"/>
                  </a:cubicBezTo>
                  <a:cubicBezTo>
                    <a:pt x="0" y="776"/>
                    <a:pt x="224" y="1000"/>
                    <a:pt x="500" y="1000"/>
                  </a:cubicBezTo>
                  <a:cubicBezTo>
                    <a:pt x="776" y="1000"/>
                    <a:pt x="1000" y="776"/>
                    <a:pt x="1000" y="500"/>
                  </a:cubicBezTo>
                  <a:cubicBezTo>
                    <a:pt x="1000" y="224"/>
                    <a:pt x="776" y="0"/>
                    <a:pt x="500" y="0"/>
                  </a:cubicBezTo>
                  <a:close/>
                  <a:moveTo>
                    <a:pt x="500" y="800"/>
                  </a:moveTo>
                  <a:cubicBezTo>
                    <a:pt x="335" y="800"/>
                    <a:pt x="200" y="665"/>
                    <a:pt x="200" y="500"/>
                  </a:cubicBezTo>
                  <a:cubicBezTo>
                    <a:pt x="200" y="335"/>
                    <a:pt x="335" y="200"/>
                    <a:pt x="500" y="200"/>
                  </a:cubicBezTo>
                  <a:cubicBezTo>
                    <a:pt x="665" y="200"/>
                    <a:pt x="800" y="335"/>
                    <a:pt x="800" y="500"/>
                  </a:cubicBezTo>
                  <a:cubicBezTo>
                    <a:pt x="800" y="665"/>
                    <a:pt x="665" y="800"/>
                    <a:pt x="500" y="8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7" name="Freeform 11"/>
            <p:cNvSpPr>
              <a:spLocks noEditPoints="1"/>
            </p:cNvSpPr>
            <p:nvPr/>
          </p:nvSpPr>
          <p:spPr bwMode="auto">
            <a:xfrm>
              <a:off x="4602" y="2202"/>
              <a:ext cx="384" cy="384"/>
            </a:xfrm>
            <a:custGeom>
              <a:avLst/>
              <a:gdLst>
                <a:gd name="T0" fmla="*/ 400 w 800"/>
                <a:gd name="T1" fmla="*/ 0 h 800"/>
                <a:gd name="T2" fmla="*/ 0 w 800"/>
                <a:gd name="T3" fmla="*/ 400 h 800"/>
                <a:gd name="T4" fmla="*/ 400 w 800"/>
                <a:gd name="T5" fmla="*/ 800 h 800"/>
                <a:gd name="T6" fmla="*/ 800 w 800"/>
                <a:gd name="T7" fmla="*/ 400 h 800"/>
                <a:gd name="T8" fmla="*/ 400 w 800"/>
                <a:gd name="T9" fmla="*/ 0 h 800"/>
                <a:gd name="T10" fmla="*/ 400 w 800"/>
                <a:gd name="T11" fmla="*/ 600 h 800"/>
                <a:gd name="T12" fmla="*/ 200 w 800"/>
                <a:gd name="T13" fmla="*/ 400 h 800"/>
                <a:gd name="T14" fmla="*/ 400 w 800"/>
                <a:gd name="T15" fmla="*/ 200 h 800"/>
                <a:gd name="T16" fmla="*/ 600 w 800"/>
                <a:gd name="T17" fmla="*/ 400 h 800"/>
                <a:gd name="T18" fmla="*/ 400 w 800"/>
                <a:gd name="T19" fmla="*/ 60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0" h="800">
                  <a:moveTo>
                    <a:pt x="400" y="0"/>
                  </a:moveTo>
                  <a:cubicBezTo>
                    <a:pt x="179" y="0"/>
                    <a:pt x="0" y="179"/>
                    <a:pt x="0" y="400"/>
                  </a:cubicBezTo>
                  <a:cubicBezTo>
                    <a:pt x="0" y="621"/>
                    <a:pt x="179" y="800"/>
                    <a:pt x="400" y="800"/>
                  </a:cubicBezTo>
                  <a:cubicBezTo>
                    <a:pt x="621" y="800"/>
                    <a:pt x="800" y="621"/>
                    <a:pt x="800" y="400"/>
                  </a:cubicBezTo>
                  <a:cubicBezTo>
                    <a:pt x="800" y="179"/>
                    <a:pt x="621" y="0"/>
                    <a:pt x="400" y="0"/>
                  </a:cubicBezTo>
                  <a:close/>
                  <a:moveTo>
                    <a:pt x="400" y="600"/>
                  </a:moveTo>
                  <a:cubicBezTo>
                    <a:pt x="290" y="600"/>
                    <a:pt x="200" y="510"/>
                    <a:pt x="200" y="400"/>
                  </a:cubicBezTo>
                  <a:cubicBezTo>
                    <a:pt x="200" y="290"/>
                    <a:pt x="290" y="200"/>
                    <a:pt x="400" y="200"/>
                  </a:cubicBezTo>
                  <a:cubicBezTo>
                    <a:pt x="510" y="200"/>
                    <a:pt x="600" y="290"/>
                    <a:pt x="600" y="400"/>
                  </a:cubicBezTo>
                  <a:cubicBezTo>
                    <a:pt x="600" y="510"/>
                    <a:pt x="510" y="600"/>
                    <a:pt x="400" y="6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8" name="Freeform 12"/>
            <p:cNvSpPr>
              <a:spLocks/>
            </p:cNvSpPr>
            <p:nvPr/>
          </p:nvSpPr>
          <p:spPr bwMode="auto">
            <a:xfrm>
              <a:off x="4891" y="806"/>
              <a:ext cx="345" cy="994"/>
            </a:xfrm>
            <a:custGeom>
              <a:avLst/>
              <a:gdLst>
                <a:gd name="T0" fmla="*/ 718 w 718"/>
                <a:gd name="T1" fmla="*/ 111 h 2072"/>
                <a:gd name="T2" fmla="*/ 218 w 718"/>
                <a:gd name="T3" fmla="*/ 11 h 2072"/>
                <a:gd name="T4" fmla="*/ 100 w 718"/>
                <a:gd name="T5" fmla="*/ 89 h 2072"/>
                <a:gd name="T6" fmla="*/ 0 w 718"/>
                <a:gd name="T7" fmla="*/ 589 h 2072"/>
                <a:gd name="T8" fmla="*/ 196 w 718"/>
                <a:gd name="T9" fmla="*/ 629 h 2072"/>
                <a:gd name="T10" fmla="*/ 250 w 718"/>
                <a:gd name="T11" fmla="*/ 359 h 2072"/>
                <a:gd name="T12" fmla="*/ 398 w 718"/>
                <a:gd name="T13" fmla="*/ 1009 h 2072"/>
                <a:gd name="T14" fmla="*/ 69 w 718"/>
                <a:gd name="T15" fmla="*/ 1947 h 2072"/>
                <a:gd name="T16" fmla="*/ 225 w 718"/>
                <a:gd name="T17" fmla="*/ 2072 h 2072"/>
                <a:gd name="T18" fmla="*/ 598 w 718"/>
                <a:gd name="T19" fmla="*/ 1009 h 2072"/>
                <a:gd name="T20" fmla="*/ 422 w 718"/>
                <a:gd name="T21" fmla="*/ 256 h 2072"/>
                <a:gd name="T22" fmla="*/ 678 w 718"/>
                <a:gd name="T23" fmla="*/ 307 h 2072"/>
                <a:gd name="T24" fmla="*/ 718 w 718"/>
                <a:gd name="T25" fmla="*/ 111 h 2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18" h="2072">
                  <a:moveTo>
                    <a:pt x="718" y="111"/>
                  </a:moveTo>
                  <a:lnTo>
                    <a:pt x="218" y="11"/>
                  </a:lnTo>
                  <a:cubicBezTo>
                    <a:pt x="163" y="0"/>
                    <a:pt x="111" y="35"/>
                    <a:pt x="100" y="89"/>
                  </a:cubicBezTo>
                  <a:lnTo>
                    <a:pt x="0" y="589"/>
                  </a:lnTo>
                  <a:lnTo>
                    <a:pt x="196" y="629"/>
                  </a:lnTo>
                  <a:lnTo>
                    <a:pt x="250" y="359"/>
                  </a:lnTo>
                  <a:cubicBezTo>
                    <a:pt x="347" y="561"/>
                    <a:pt x="398" y="783"/>
                    <a:pt x="398" y="1009"/>
                  </a:cubicBezTo>
                  <a:cubicBezTo>
                    <a:pt x="398" y="1354"/>
                    <a:pt x="284" y="1678"/>
                    <a:pt x="69" y="1947"/>
                  </a:cubicBezTo>
                  <a:lnTo>
                    <a:pt x="225" y="2072"/>
                  </a:lnTo>
                  <a:cubicBezTo>
                    <a:pt x="466" y="1772"/>
                    <a:pt x="598" y="1394"/>
                    <a:pt x="598" y="1009"/>
                  </a:cubicBezTo>
                  <a:cubicBezTo>
                    <a:pt x="598" y="747"/>
                    <a:pt x="538" y="489"/>
                    <a:pt x="422" y="256"/>
                  </a:cubicBezTo>
                  <a:lnTo>
                    <a:pt x="678" y="307"/>
                  </a:lnTo>
                  <a:lnTo>
                    <a:pt x="718" y="11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2590441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9" name="Diapositive think-cell" r:id="rId4" imgW="592" imgH="595" progId="TCLayout.ActiveDocument.1">
                  <p:embed/>
                </p:oleObj>
              </mc:Choice>
              <mc:Fallback>
                <p:oleObj name="Diapositive think-cell" r:id="rId4" imgW="592" imgH="595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5" name="Title 1">
            <a:extLst>
              <a:ext uri="{FF2B5EF4-FFF2-40B4-BE49-F238E27FC236}">
                <a16:creationId xmlns:a16="http://schemas.microsoft.com/office/drawing/2014/main" id="{A233DAD5-D6D6-8040-99DF-5245EC11C37B}"/>
              </a:ext>
            </a:extLst>
          </p:cNvPr>
          <p:cNvSpPr txBox="1">
            <a:spLocks/>
          </p:cNvSpPr>
          <p:nvPr/>
        </p:nvSpPr>
        <p:spPr>
          <a:xfrm>
            <a:off x="4500291" y="2719781"/>
            <a:ext cx="5185283" cy="72828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rgbClr val="A136A0"/>
                </a:solidFill>
                <a:latin typeface="Montserrat" panose="00000500000000000000" pitchFamily="50" charset="0"/>
              </a:rPr>
              <a:t>Tony Davies </a:t>
            </a:r>
          </a:p>
        </p:txBody>
      </p:sp>
      <p:sp>
        <p:nvSpPr>
          <p:cNvPr id="256" name="Subtitle 2">
            <a:extLst>
              <a:ext uri="{FF2B5EF4-FFF2-40B4-BE49-F238E27FC236}">
                <a16:creationId xmlns:a16="http://schemas.microsoft.com/office/drawing/2014/main" id="{6CE30125-17F5-D447-9B2B-0D915B8C807D}"/>
              </a:ext>
            </a:extLst>
          </p:cNvPr>
          <p:cNvSpPr txBox="1">
            <a:spLocks/>
          </p:cNvSpPr>
          <p:nvPr/>
        </p:nvSpPr>
        <p:spPr>
          <a:xfrm>
            <a:off x="4500291" y="3415564"/>
            <a:ext cx="6399938" cy="3798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rgbClr val="E57518"/>
                </a:solidFill>
                <a:latin typeface="Montserrat" panose="00000500000000000000" pitchFamily="50" charset="0"/>
              </a:rPr>
              <a:t>Central Roofing South Wales - Managing Director </a:t>
            </a:r>
          </a:p>
        </p:txBody>
      </p:sp>
      <p:sp>
        <p:nvSpPr>
          <p:cNvPr id="31896" name="Ellipse 31895"/>
          <p:cNvSpPr/>
          <p:nvPr/>
        </p:nvSpPr>
        <p:spPr>
          <a:xfrm>
            <a:off x="1320801" y="2010004"/>
            <a:ext cx="2801074" cy="2801074"/>
          </a:xfrm>
          <a:prstGeom prst="ellipse">
            <a:avLst/>
          </a:pr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649"/>
          <p:cNvGrpSpPr>
            <a:grpSpLocks noChangeAspect="1"/>
          </p:cNvGrpSpPr>
          <p:nvPr/>
        </p:nvGrpSpPr>
        <p:grpSpPr bwMode="auto">
          <a:xfrm>
            <a:off x="1512484" y="2201391"/>
            <a:ext cx="2417709" cy="2418301"/>
            <a:chOff x="1788" y="108"/>
            <a:chExt cx="4095" cy="4096"/>
          </a:xfrm>
          <a:solidFill>
            <a:srgbClr val="E57518"/>
          </a:solidFill>
        </p:grpSpPr>
        <p:sp>
          <p:nvSpPr>
            <p:cNvPr id="11" name="Freeform 650"/>
            <p:cNvSpPr>
              <a:spLocks noEditPoints="1"/>
            </p:cNvSpPr>
            <p:nvPr/>
          </p:nvSpPr>
          <p:spPr bwMode="auto">
            <a:xfrm>
              <a:off x="1788" y="108"/>
              <a:ext cx="4095" cy="4096"/>
            </a:xfrm>
            <a:custGeom>
              <a:avLst/>
              <a:gdLst>
                <a:gd name="T0" fmla="*/ 8533 w 8533"/>
                <a:gd name="T1" fmla="*/ 4267 h 8533"/>
                <a:gd name="T2" fmla="*/ 4267 w 8533"/>
                <a:gd name="T3" fmla="*/ 0 h 8533"/>
                <a:gd name="T4" fmla="*/ 0 w 8533"/>
                <a:gd name="T5" fmla="*/ 4267 h 8533"/>
                <a:gd name="T6" fmla="*/ 4267 w 8533"/>
                <a:gd name="T7" fmla="*/ 8533 h 8533"/>
                <a:gd name="T8" fmla="*/ 8533 w 8533"/>
                <a:gd name="T9" fmla="*/ 4267 h 8533"/>
                <a:gd name="T10" fmla="*/ 4267 w 8533"/>
                <a:gd name="T11" fmla="*/ 500 h 8533"/>
                <a:gd name="T12" fmla="*/ 8033 w 8533"/>
                <a:gd name="T13" fmla="*/ 4267 h 8533"/>
                <a:gd name="T14" fmla="*/ 7388 w 8533"/>
                <a:gd name="T15" fmla="*/ 6375 h 8533"/>
                <a:gd name="T16" fmla="*/ 1145 w 8533"/>
                <a:gd name="T17" fmla="*/ 6375 h 8533"/>
                <a:gd name="T18" fmla="*/ 500 w 8533"/>
                <a:gd name="T19" fmla="*/ 4267 h 8533"/>
                <a:gd name="T20" fmla="*/ 4267 w 8533"/>
                <a:gd name="T21" fmla="*/ 500 h 8533"/>
                <a:gd name="T22" fmla="*/ 1457 w 8533"/>
                <a:gd name="T23" fmla="*/ 6775 h 8533"/>
                <a:gd name="T24" fmla="*/ 7076 w 8533"/>
                <a:gd name="T25" fmla="*/ 6775 h 8533"/>
                <a:gd name="T26" fmla="*/ 1457 w 8533"/>
                <a:gd name="T27" fmla="*/ 6775 h 8533"/>
                <a:gd name="T28" fmla="*/ 1457 w 8533"/>
                <a:gd name="T29" fmla="*/ 6775 h 8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33" h="8533">
                  <a:moveTo>
                    <a:pt x="8533" y="4267"/>
                  </a:moveTo>
                  <a:cubicBezTo>
                    <a:pt x="8533" y="1909"/>
                    <a:pt x="6625" y="0"/>
                    <a:pt x="4267" y="0"/>
                  </a:cubicBezTo>
                  <a:cubicBezTo>
                    <a:pt x="1909" y="0"/>
                    <a:pt x="0" y="1908"/>
                    <a:pt x="0" y="4267"/>
                  </a:cubicBezTo>
                  <a:cubicBezTo>
                    <a:pt x="0" y="6604"/>
                    <a:pt x="1892" y="8533"/>
                    <a:pt x="4267" y="8533"/>
                  </a:cubicBezTo>
                  <a:cubicBezTo>
                    <a:pt x="6631" y="8533"/>
                    <a:pt x="8533" y="6615"/>
                    <a:pt x="8533" y="4267"/>
                  </a:cubicBezTo>
                  <a:close/>
                  <a:moveTo>
                    <a:pt x="4267" y="500"/>
                  </a:moveTo>
                  <a:cubicBezTo>
                    <a:pt x="6344" y="500"/>
                    <a:pt x="8033" y="2190"/>
                    <a:pt x="8033" y="4267"/>
                  </a:cubicBezTo>
                  <a:cubicBezTo>
                    <a:pt x="8033" y="5026"/>
                    <a:pt x="7807" y="5757"/>
                    <a:pt x="7388" y="6375"/>
                  </a:cubicBezTo>
                  <a:cubicBezTo>
                    <a:pt x="5705" y="4565"/>
                    <a:pt x="2831" y="4562"/>
                    <a:pt x="1145" y="6375"/>
                  </a:cubicBezTo>
                  <a:cubicBezTo>
                    <a:pt x="726" y="5757"/>
                    <a:pt x="500" y="5026"/>
                    <a:pt x="500" y="4267"/>
                  </a:cubicBezTo>
                  <a:cubicBezTo>
                    <a:pt x="500" y="2190"/>
                    <a:pt x="2190" y="500"/>
                    <a:pt x="4267" y="500"/>
                  </a:cubicBezTo>
                  <a:close/>
                  <a:moveTo>
                    <a:pt x="1457" y="6775"/>
                  </a:moveTo>
                  <a:cubicBezTo>
                    <a:pt x="2953" y="5097"/>
                    <a:pt x="5581" y="5097"/>
                    <a:pt x="7076" y="6775"/>
                  </a:cubicBezTo>
                  <a:cubicBezTo>
                    <a:pt x="5575" y="8455"/>
                    <a:pt x="2959" y="8455"/>
                    <a:pt x="1457" y="6775"/>
                  </a:cubicBezTo>
                  <a:close/>
                  <a:moveTo>
                    <a:pt x="1457" y="6775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51"/>
            <p:cNvSpPr>
              <a:spLocks noEditPoints="1"/>
            </p:cNvSpPr>
            <p:nvPr/>
          </p:nvSpPr>
          <p:spPr bwMode="auto">
            <a:xfrm>
              <a:off x="3116" y="596"/>
              <a:ext cx="1440" cy="1680"/>
            </a:xfrm>
            <a:custGeom>
              <a:avLst/>
              <a:gdLst>
                <a:gd name="T0" fmla="*/ 1500 w 3000"/>
                <a:gd name="T1" fmla="*/ 3500 h 3500"/>
                <a:gd name="T2" fmla="*/ 3000 w 3000"/>
                <a:gd name="T3" fmla="*/ 2000 h 3500"/>
                <a:gd name="T4" fmla="*/ 3000 w 3000"/>
                <a:gd name="T5" fmla="*/ 1500 h 3500"/>
                <a:gd name="T6" fmla="*/ 1500 w 3000"/>
                <a:gd name="T7" fmla="*/ 0 h 3500"/>
                <a:gd name="T8" fmla="*/ 0 w 3000"/>
                <a:gd name="T9" fmla="*/ 1500 h 3500"/>
                <a:gd name="T10" fmla="*/ 0 w 3000"/>
                <a:gd name="T11" fmla="*/ 2000 h 3500"/>
                <a:gd name="T12" fmla="*/ 1500 w 3000"/>
                <a:gd name="T13" fmla="*/ 3500 h 3500"/>
                <a:gd name="T14" fmla="*/ 500 w 3000"/>
                <a:gd name="T15" fmla="*/ 1500 h 3500"/>
                <a:gd name="T16" fmla="*/ 1500 w 3000"/>
                <a:gd name="T17" fmla="*/ 500 h 3500"/>
                <a:gd name="T18" fmla="*/ 2500 w 3000"/>
                <a:gd name="T19" fmla="*/ 1500 h 3500"/>
                <a:gd name="T20" fmla="*/ 2500 w 3000"/>
                <a:gd name="T21" fmla="*/ 2000 h 3500"/>
                <a:gd name="T22" fmla="*/ 1500 w 3000"/>
                <a:gd name="T23" fmla="*/ 3000 h 3500"/>
                <a:gd name="T24" fmla="*/ 500 w 3000"/>
                <a:gd name="T25" fmla="*/ 2000 h 3500"/>
                <a:gd name="T26" fmla="*/ 500 w 3000"/>
                <a:gd name="T27" fmla="*/ 1500 h 3500"/>
                <a:gd name="T28" fmla="*/ 500 w 3000"/>
                <a:gd name="T29" fmla="*/ 1500 h 3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00" h="3500">
                  <a:moveTo>
                    <a:pt x="1500" y="3500"/>
                  </a:moveTo>
                  <a:cubicBezTo>
                    <a:pt x="2327" y="3500"/>
                    <a:pt x="3000" y="2827"/>
                    <a:pt x="3000" y="2000"/>
                  </a:cubicBezTo>
                  <a:lnTo>
                    <a:pt x="3000" y="1500"/>
                  </a:lnTo>
                  <a:cubicBezTo>
                    <a:pt x="3000" y="673"/>
                    <a:pt x="2327" y="0"/>
                    <a:pt x="1500" y="0"/>
                  </a:cubicBezTo>
                  <a:cubicBezTo>
                    <a:pt x="673" y="0"/>
                    <a:pt x="0" y="673"/>
                    <a:pt x="0" y="1500"/>
                  </a:cubicBezTo>
                  <a:lnTo>
                    <a:pt x="0" y="2000"/>
                  </a:lnTo>
                  <a:cubicBezTo>
                    <a:pt x="0" y="2827"/>
                    <a:pt x="673" y="3500"/>
                    <a:pt x="1500" y="3500"/>
                  </a:cubicBezTo>
                  <a:close/>
                  <a:moveTo>
                    <a:pt x="500" y="1500"/>
                  </a:moveTo>
                  <a:cubicBezTo>
                    <a:pt x="500" y="948"/>
                    <a:pt x="948" y="500"/>
                    <a:pt x="1500" y="500"/>
                  </a:cubicBezTo>
                  <a:cubicBezTo>
                    <a:pt x="2051" y="500"/>
                    <a:pt x="2500" y="948"/>
                    <a:pt x="2500" y="1500"/>
                  </a:cubicBezTo>
                  <a:lnTo>
                    <a:pt x="2500" y="2000"/>
                  </a:lnTo>
                  <a:cubicBezTo>
                    <a:pt x="2500" y="2551"/>
                    <a:pt x="2051" y="3000"/>
                    <a:pt x="1500" y="3000"/>
                  </a:cubicBezTo>
                  <a:cubicBezTo>
                    <a:pt x="948" y="3000"/>
                    <a:pt x="500" y="2551"/>
                    <a:pt x="500" y="2000"/>
                  </a:cubicBezTo>
                  <a:lnTo>
                    <a:pt x="500" y="1500"/>
                  </a:lnTo>
                  <a:close/>
                  <a:moveTo>
                    <a:pt x="500" y="150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11460163" y="6314400"/>
            <a:ext cx="553334" cy="365125"/>
          </a:xfrm>
        </p:spPr>
        <p:txBody>
          <a:bodyPr/>
          <a:lstStyle/>
          <a:p>
            <a:pPr rtl="1"/>
            <a:r>
              <a:rPr lang="en-US" b="1" dirty="0">
                <a:solidFill>
                  <a:srgbClr val="FEC232"/>
                </a:solidFill>
                <a:latin typeface="Montserrat" panose="00000500000000000000" pitchFamily="50" charset="0"/>
              </a:rPr>
              <a:t>| </a:t>
            </a:r>
            <a:fld id="{DABD2AA5-CABB-4467-8A69-C511B00C377E}" type="slidenum">
              <a:rPr lang="en-US" b="1" smtClean="0">
                <a:solidFill>
                  <a:srgbClr val="A136A0"/>
                </a:solidFill>
                <a:latin typeface="Montserrat" panose="00000500000000000000" pitchFamily="50" charset="0"/>
              </a:rPr>
              <a:pPr rtl="1"/>
              <a:t>19</a:t>
            </a:fld>
            <a:endParaRPr lang="en-US" b="1" dirty="0">
              <a:solidFill>
                <a:srgbClr val="A136A0"/>
              </a:solidFill>
              <a:latin typeface="Montserrat" panose="00000500000000000000" pitchFamily="50" charset="0"/>
            </a:endParaRP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9" t="32727" r="10153"/>
          <a:stretch/>
        </p:blipFill>
        <p:spPr>
          <a:xfrm>
            <a:off x="342668" y="6011553"/>
            <a:ext cx="999049" cy="5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958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90"/>
    </mc:Choice>
    <mc:Fallback xmlns="">
      <p:transition spd="slow" advTm="19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rgbClr val="EAEAEA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73378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2" name="Diapositive think-cell" r:id="rId5" imgW="592" imgH="595" progId="TCLayout.ActiveDocument.1">
                  <p:embed/>
                </p:oleObj>
              </mc:Choice>
              <mc:Fallback>
                <p:oleObj name="Diapositive think-cell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0" name="Rectangle 529"/>
          <p:cNvSpPr/>
          <p:nvPr/>
        </p:nvSpPr>
        <p:spPr>
          <a:xfrm>
            <a:off x="2956240" y="197998"/>
            <a:ext cx="627952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The Compliance Genie™ </a:t>
            </a:r>
          </a:p>
          <a:p>
            <a:pPr algn="ctr"/>
            <a:r>
              <a:rPr lang="en-US" sz="28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- What Does It do - 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rgbClr val="A136A0"/>
                </a:solidFill>
                <a:latin typeface="Lato Medium"/>
                <a:ea typeface="Lato Medium"/>
                <a:cs typeface="Lato Medium"/>
              </a:rPr>
              <a:t>be-safetechn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.c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</a:t>
            </a:r>
            <a:r>
              <a:rPr lang="en-US" b="1" dirty="0">
                <a:solidFill>
                  <a:srgbClr val="FEC232"/>
                </a:solidFill>
                <a:latin typeface="Montserrat"/>
              </a:rPr>
              <a:t>| </a:t>
            </a:r>
            <a:fld id="{DABD2AA5-CABB-4467-8A69-C511B00C377E}" type="slidenum">
              <a:rPr lang="en-US" b="1" dirty="0" smtClean="0">
                <a:solidFill>
                  <a:srgbClr val="A136A0"/>
                </a:solidFill>
                <a:latin typeface="Montserrat"/>
              </a:rPr>
              <a:pPr algn="l" rtl="1"/>
              <a:t>2</a:t>
            </a:fld>
            <a:endParaRPr lang="en-US" b="1" dirty="0">
              <a:solidFill>
                <a:srgbClr val="A136A0"/>
              </a:solidFill>
              <a:latin typeface="Montserra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16922" y="3443742"/>
            <a:ext cx="237118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GB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 ‘’state of the art’’, all in one digital H&amp;S application which works both at your HQ and on site</a:t>
            </a:r>
          </a:p>
        </p:txBody>
      </p:sp>
      <p:sp>
        <p:nvSpPr>
          <p:cNvPr id="51" name="Rectangle 50"/>
          <p:cNvSpPr/>
          <p:nvPr/>
        </p:nvSpPr>
        <p:spPr>
          <a:xfrm>
            <a:off x="3480568" y="3443742"/>
            <a:ext cx="23711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The service works via any mobile device or on your desktop</a:t>
            </a:r>
          </a:p>
        </p:txBody>
      </p:sp>
      <p:sp>
        <p:nvSpPr>
          <p:cNvPr id="56" name="Rectangle 55"/>
          <p:cNvSpPr/>
          <p:nvPr/>
        </p:nvSpPr>
        <p:spPr>
          <a:xfrm>
            <a:off x="6344214" y="3443742"/>
            <a:ext cx="237118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The Compliance Genie™ will enable your organization to be fully compliant in </a:t>
            </a:r>
            <a:r>
              <a:rPr lang="en-US" sz="1600" dirty="0">
                <a:solidFill>
                  <a:srgbClr val="A136A0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ll H&amp;S work scenarios </a:t>
            </a:r>
          </a:p>
        </p:txBody>
      </p:sp>
      <p:sp>
        <p:nvSpPr>
          <p:cNvPr id="61" name="Rectangle 60"/>
          <p:cNvSpPr/>
          <p:nvPr/>
        </p:nvSpPr>
        <p:spPr>
          <a:xfrm>
            <a:off x="9168085" y="3443742"/>
            <a:ext cx="2450739" cy="11798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Providing first class real-time reporting and data</a:t>
            </a:r>
          </a:p>
          <a:p>
            <a:pPr algn="ctr">
              <a:spcAft>
                <a:spcPts val="800"/>
              </a:spcAft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Significant Return On Investment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982373"/>
            <a:ext cx="1174243" cy="542252"/>
          </a:xfrm>
          <a:prstGeom prst="rect">
            <a:avLst/>
          </a:prstGeom>
        </p:spPr>
      </p:pic>
      <p:sp>
        <p:nvSpPr>
          <p:cNvPr id="15" name="Freeform 14"/>
          <p:cNvSpPr>
            <a:spLocks/>
          </p:cNvSpPr>
          <p:nvPr/>
        </p:nvSpPr>
        <p:spPr bwMode="auto">
          <a:xfrm>
            <a:off x="1350178" y="2156791"/>
            <a:ext cx="809179" cy="1018800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>
            <a:gsLst>
              <a:gs pos="0">
                <a:srgbClr val="A136A0"/>
              </a:gs>
              <a:gs pos="100000">
                <a:srgbClr val="7030A0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EC232"/>
              </a:solidFill>
              <a:latin typeface="Montserrat Black" panose="00000A00000000000000" pitchFamily="50" charset="0"/>
            </a:endParaRPr>
          </a:p>
        </p:txBody>
      </p:sp>
      <p:grpSp>
        <p:nvGrpSpPr>
          <p:cNvPr id="18" name="Group 35"/>
          <p:cNvGrpSpPr>
            <a:grpSpLocks noChangeAspect="1"/>
          </p:cNvGrpSpPr>
          <p:nvPr/>
        </p:nvGrpSpPr>
        <p:grpSpPr bwMode="auto">
          <a:xfrm>
            <a:off x="1517730" y="2333954"/>
            <a:ext cx="474075" cy="664475"/>
            <a:chOff x="4592" y="-5"/>
            <a:chExt cx="6155" cy="8627"/>
          </a:xfrm>
          <a:gradFill>
            <a:gsLst>
              <a:gs pos="0">
                <a:srgbClr val="DF6F51"/>
              </a:gs>
              <a:gs pos="100000">
                <a:srgbClr val="FEC232"/>
              </a:gs>
            </a:gsLst>
            <a:lin ang="12600000" scaled="0"/>
          </a:gradFill>
        </p:grpSpPr>
        <p:sp>
          <p:nvSpPr>
            <p:cNvPr id="19" name="Freeform 36"/>
            <p:cNvSpPr>
              <a:spLocks noEditPoints="1"/>
            </p:cNvSpPr>
            <p:nvPr/>
          </p:nvSpPr>
          <p:spPr bwMode="auto">
            <a:xfrm>
              <a:off x="4592" y="-5"/>
              <a:ext cx="2952" cy="5623"/>
            </a:xfrm>
            <a:custGeom>
              <a:avLst/>
              <a:gdLst>
                <a:gd name="T0" fmla="*/ 1519 w 2908"/>
                <a:gd name="T1" fmla="*/ 5379 h 5565"/>
                <a:gd name="T2" fmla="*/ 1519 w 2908"/>
                <a:gd name="T3" fmla="*/ 4483 h 5565"/>
                <a:gd name="T4" fmla="*/ 1071 w 2908"/>
                <a:gd name="T5" fmla="*/ 4297 h 5565"/>
                <a:gd name="T6" fmla="*/ 793 w 2908"/>
                <a:gd name="T7" fmla="*/ 4361 h 5565"/>
                <a:gd name="T8" fmla="*/ 334 w 2908"/>
                <a:gd name="T9" fmla="*/ 2897 h 5565"/>
                <a:gd name="T10" fmla="*/ 2746 w 2908"/>
                <a:gd name="T11" fmla="*/ 338 h 5565"/>
                <a:gd name="T12" fmla="*/ 2903 w 2908"/>
                <a:gd name="T13" fmla="*/ 162 h 5565"/>
                <a:gd name="T14" fmla="*/ 2727 w 2908"/>
                <a:gd name="T15" fmla="*/ 5 h 5565"/>
                <a:gd name="T16" fmla="*/ 0 w 2908"/>
                <a:gd name="T17" fmla="*/ 2897 h 5565"/>
                <a:gd name="T18" fmla="*/ 542 w 2908"/>
                <a:gd name="T19" fmla="*/ 4582 h 5565"/>
                <a:gd name="T20" fmla="*/ 623 w 2908"/>
                <a:gd name="T21" fmla="*/ 5379 h 5565"/>
                <a:gd name="T22" fmla="*/ 1071 w 2908"/>
                <a:gd name="T23" fmla="*/ 5565 h 5565"/>
                <a:gd name="T24" fmla="*/ 1519 w 2908"/>
                <a:gd name="T25" fmla="*/ 5379 h 5565"/>
                <a:gd name="T26" fmla="*/ 859 w 2908"/>
                <a:gd name="T27" fmla="*/ 4719 h 5565"/>
                <a:gd name="T28" fmla="*/ 1071 w 2908"/>
                <a:gd name="T29" fmla="*/ 4631 h 5565"/>
                <a:gd name="T30" fmla="*/ 1283 w 2908"/>
                <a:gd name="T31" fmla="*/ 4719 h 5565"/>
                <a:gd name="T32" fmla="*/ 1283 w 2908"/>
                <a:gd name="T33" fmla="*/ 5143 h 5565"/>
                <a:gd name="T34" fmla="*/ 859 w 2908"/>
                <a:gd name="T35" fmla="*/ 5143 h 5565"/>
                <a:gd name="T36" fmla="*/ 859 w 2908"/>
                <a:gd name="T37" fmla="*/ 4719 h 5565"/>
                <a:gd name="T38" fmla="*/ 859 w 2908"/>
                <a:gd name="T39" fmla="*/ 4719 h 5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08" h="5565">
                  <a:moveTo>
                    <a:pt x="1519" y="5379"/>
                  </a:moveTo>
                  <a:cubicBezTo>
                    <a:pt x="1766" y="5132"/>
                    <a:pt x="1766" y="4730"/>
                    <a:pt x="1519" y="4483"/>
                  </a:cubicBezTo>
                  <a:cubicBezTo>
                    <a:pt x="1399" y="4363"/>
                    <a:pt x="1240" y="4297"/>
                    <a:pt x="1071" y="4297"/>
                  </a:cubicBezTo>
                  <a:cubicBezTo>
                    <a:pt x="973" y="4297"/>
                    <a:pt x="879" y="4319"/>
                    <a:pt x="793" y="4361"/>
                  </a:cubicBezTo>
                  <a:cubicBezTo>
                    <a:pt x="492" y="3930"/>
                    <a:pt x="334" y="3427"/>
                    <a:pt x="334" y="2897"/>
                  </a:cubicBezTo>
                  <a:cubicBezTo>
                    <a:pt x="334" y="1540"/>
                    <a:pt x="1393" y="416"/>
                    <a:pt x="2746" y="338"/>
                  </a:cubicBezTo>
                  <a:cubicBezTo>
                    <a:pt x="2838" y="333"/>
                    <a:pt x="2908" y="254"/>
                    <a:pt x="2903" y="162"/>
                  </a:cubicBezTo>
                  <a:cubicBezTo>
                    <a:pt x="2898" y="70"/>
                    <a:pt x="2819" y="0"/>
                    <a:pt x="2727" y="5"/>
                  </a:cubicBezTo>
                  <a:cubicBezTo>
                    <a:pt x="1198" y="94"/>
                    <a:pt x="0" y="1364"/>
                    <a:pt x="0" y="2897"/>
                  </a:cubicBezTo>
                  <a:cubicBezTo>
                    <a:pt x="0" y="3508"/>
                    <a:pt x="187" y="4089"/>
                    <a:pt x="542" y="4582"/>
                  </a:cubicBezTo>
                  <a:cubicBezTo>
                    <a:pt x="380" y="4828"/>
                    <a:pt x="407" y="5163"/>
                    <a:pt x="623" y="5379"/>
                  </a:cubicBezTo>
                  <a:cubicBezTo>
                    <a:pt x="743" y="5499"/>
                    <a:pt x="902" y="5565"/>
                    <a:pt x="1071" y="5565"/>
                  </a:cubicBezTo>
                  <a:cubicBezTo>
                    <a:pt x="1240" y="5565"/>
                    <a:pt x="1399" y="5499"/>
                    <a:pt x="1519" y="5379"/>
                  </a:cubicBezTo>
                  <a:close/>
                  <a:moveTo>
                    <a:pt x="859" y="4719"/>
                  </a:moveTo>
                  <a:cubicBezTo>
                    <a:pt x="917" y="4660"/>
                    <a:pt x="994" y="4631"/>
                    <a:pt x="1071" y="4631"/>
                  </a:cubicBezTo>
                  <a:cubicBezTo>
                    <a:pt x="1148" y="4631"/>
                    <a:pt x="1225" y="4660"/>
                    <a:pt x="1283" y="4719"/>
                  </a:cubicBezTo>
                  <a:cubicBezTo>
                    <a:pt x="1400" y="4836"/>
                    <a:pt x="1400" y="5026"/>
                    <a:pt x="1283" y="5143"/>
                  </a:cubicBezTo>
                  <a:cubicBezTo>
                    <a:pt x="1166" y="5260"/>
                    <a:pt x="976" y="5260"/>
                    <a:pt x="859" y="5143"/>
                  </a:cubicBezTo>
                  <a:cubicBezTo>
                    <a:pt x="742" y="5026"/>
                    <a:pt x="742" y="4836"/>
                    <a:pt x="859" y="4719"/>
                  </a:cubicBezTo>
                  <a:close/>
                  <a:moveTo>
                    <a:pt x="859" y="471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37"/>
            <p:cNvSpPr>
              <a:spLocks noEditPoints="1"/>
            </p:cNvSpPr>
            <p:nvPr/>
          </p:nvSpPr>
          <p:spPr bwMode="auto">
            <a:xfrm>
              <a:off x="5464" y="164"/>
              <a:ext cx="5283" cy="8458"/>
            </a:xfrm>
            <a:custGeom>
              <a:avLst/>
              <a:gdLst>
                <a:gd name="T0" fmla="*/ 4318 w 5205"/>
                <a:gd name="T1" fmla="*/ 5691 h 8371"/>
                <a:gd name="T2" fmla="*/ 3319 w 5205"/>
                <a:gd name="T3" fmla="*/ 5457 h 8371"/>
                <a:gd name="T4" fmla="*/ 4229 w 5205"/>
                <a:gd name="T5" fmla="*/ 4622 h 8371"/>
                <a:gd name="T6" fmla="*/ 4392 w 5205"/>
                <a:gd name="T7" fmla="*/ 1044 h 8371"/>
                <a:gd name="T8" fmla="*/ 3415 w 5205"/>
                <a:gd name="T9" fmla="*/ 247 h 8371"/>
                <a:gd name="T10" fmla="*/ 3863 w 5205"/>
                <a:gd name="T11" fmla="*/ 1329 h 8371"/>
                <a:gd name="T12" fmla="*/ 4600 w 5205"/>
                <a:gd name="T13" fmla="*/ 2730 h 8371"/>
                <a:gd name="T14" fmla="*/ 2626 w 5205"/>
                <a:gd name="T15" fmla="*/ 4327 h 8371"/>
                <a:gd name="T16" fmla="*/ 2037 w 5205"/>
                <a:gd name="T17" fmla="*/ 1028 h 8371"/>
                <a:gd name="T18" fmla="*/ 674 w 5205"/>
                <a:gd name="T19" fmla="*/ 3748 h 8371"/>
                <a:gd name="T20" fmla="*/ 1433 w 5205"/>
                <a:gd name="T21" fmla="*/ 6774 h 8371"/>
                <a:gd name="T22" fmla="*/ 387 w 5205"/>
                <a:gd name="T23" fmla="*/ 6216 h 8371"/>
                <a:gd name="T24" fmla="*/ 762 w 5205"/>
                <a:gd name="T25" fmla="*/ 8278 h 8371"/>
                <a:gd name="T26" fmla="*/ 986 w 5205"/>
                <a:gd name="T27" fmla="*/ 8354 h 8371"/>
                <a:gd name="T28" fmla="*/ 440 w 5205"/>
                <a:gd name="T29" fmla="*/ 6875 h 8371"/>
                <a:gd name="T30" fmla="*/ 939 w 5205"/>
                <a:gd name="T31" fmla="*/ 6604 h 8371"/>
                <a:gd name="T32" fmla="*/ 1645 w 5205"/>
                <a:gd name="T33" fmla="*/ 7528 h 8371"/>
                <a:gd name="T34" fmla="*/ 1767 w 5205"/>
                <a:gd name="T35" fmla="*/ 3541 h 8371"/>
                <a:gd name="T36" fmla="*/ 2293 w 5205"/>
                <a:gd name="T37" fmla="*/ 3541 h 8371"/>
                <a:gd name="T38" fmla="*/ 2293 w 5205"/>
                <a:gd name="T39" fmla="*/ 4205 h 8371"/>
                <a:gd name="T40" fmla="*/ 2460 w 5205"/>
                <a:gd name="T41" fmla="*/ 6875 h 8371"/>
                <a:gd name="T42" fmla="*/ 2626 w 5205"/>
                <a:gd name="T43" fmla="*/ 5871 h 8371"/>
                <a:gd name="T44" fmla="*/ 3152 w 5205"/>
                <a:gd name="T45" fmla="*/ 5871 h 8371"/>
                <a:gd name="T46" fmla="*/ 3319 w 5205"/>
                <a:gd name="T47" fmla="*/ 6936 h 8371"/>
                <a:gd name="T48" fmla="*/ 3486 w 5205"/>
                <a:gd name="T49" fmla="*/ 5871 h 8371"/>
                <a:gd name="T50" fmla="*/ 4012 w 5205"/>
                <a:gd name="T51" fmla="*/ 5871 h 8371"/>
                <a:gd name="T52" fmla="*/ 4179 w 5205"/>
                <a:gd name="T53" fmla="*/ 6947 h 8371"/>
                <a:gd name="T54" fmla="*/ 4346 w 5205"/>
                <a:gd name="T55" fmla="*/ 6212 h 8371"/>
                <a:gd name="T56" fmla="*/ 4872 w 5205"/>
                <a:gd name="T57" fmla="*/ 6212 h 8371"/>
                <a:gd name="T58" fmla="*/ 5039 w 5205"/>
                <a:gd name="T59" fmla="*/ 8371 h 8371"/>
                <a:gd name="T60" fmla="*/ 5205 w 5205"/>
                <a:gd name="T61" fmla="*/ 6212 h 8371"/>
                <a:gd name="T62" fmla="*/ 3651 w 5205"/>
                <a:gd name="T63" fmla="*/ 907 h 8371"/>
                <a:gd name="T64" fmla="*/ 3863 w 5205"/>
                <a:gd name="T65" fmla="*/ 395 h 8371"/>
                <a:gd name="T66" fmla="*/ 4075 w 5205"/>
                <a:gd name="T67" fmla="*/ 907 h 8371"/>
                <a:gd name="T68" fmla="*/ 669 w 5205"/>
                <a:gd name="T69" fmla="*/ 2730 h 8371"/>
                <a:gd name="T70" fmla="*/ 3406 w 5205"/>
                <a:gd name="T71" fmla="*/ 2730 h 8371"/>
                <a:gd name="T72" fmla="*/ 2626 w 5205"/>
                <a:gd name="T73" fmla="*/ 3541 h 8371"/>
                <a:gd name="T74" fmla="*/ 2801 w 5205"/>
                <a:gd name="T75" fmla="*/ 2730 h 8371"/>
                <a:gd name="T76" fmla="*/ 1274 w 5205"/>
                <a:gd name="T77" fmla="*/ 2730 h 8371"/>
                <a:gd name="T78" fmla="*/ 1433 w 5205"/>
                <a:gd name="T79" fmla="*/ 3541 h 8371"/>
                <a:gd name="T80" fmla="*/ 669 w 5205"/>
                <a:gd name="T81" fmla="*/ 2730 h 8371"/>
                <a:gd name="T82" fmla="*/ 1607 w 5205"/>
                <a:gd name="T83" fmla="*/ 2730 h 8371"/>
                <a:gd name="T84" fmla="*/ 2468 w 5205"/>
                <a:gd name="T85" fmla="*/ 2730 h 8371"/>
                <a:gd name="T86" fmla="*/ 2030 w 5205"/>
                <a:gd name="T87" fmla="*/ 2945 h 8371"/>
                <a:gd name="T88" fmla="*/ 1727 w 5205"/>
                <a:gd name="T89" fmla="*/ 3028 h 8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205" h="8371">
                  <a:moveTo>
                    <a:pt x="4609" y="5616"/>
                  </a:moveTo>
                  <a:cubicBezTo>
                    <a:pt x="4503" y="5616"/>
                    <a:pt x="4404" y="5643"/>
                    <a:pt x="4318" y="5691"/>
                  </a:cubicBezTo>
                  <a:cubicBezTo>
                    <a:pt x="4242" y="5450"/>
                    <a:pt x="4016" y="5274"/>
                    <a:pt x="3749" y="5274"/>
                  </a:cubicBezTo>
                  <a:cubicBezTo>
                    <a:pt x="3580" y="5274"/>
                    <a:pt x="3428" y="5344"/>
                    <a:pt x="3319" y="5457"/>
                  </a:cubicBezTo>
                  <a:cubicBezTo>
                    <a:pt x="3289" y="5426"/>
                    <a:pt x="3256" y="5398"/>
                    <a:pt x="3219" y="5374"/>
                  </a:cubicBezTo>
                  <a:cubicBezTo>
                    <a:pt x="3604" y="5202"/>
                    <a:pt x="3950" y="4946"/>
                    <a:pt x="4229" y="4622"/>
                  </a:cubicBezTo>
                  <a:cubicBezTo>
                    <a:pt x="4684" y="4097"/>
                    <a:pt x="4934" y="3425"/>
                    <a:pt x="4934" y="2730"/>
                  </a:cubicBezTo>
                  <a:cubicBezTo>
                    <a:pt x="4934" y="2118"/>
                    <a:pt x="4747" y="1537"/>
                    <a:pt x="4392" y="1044"/>
                  </a:cubicBezTo>
                  <a:cubicBezTo>
                    <a:pt x="4554" y="798"/>
                    <a:pt x="4527" y="463"/>
                    <a:pt x="4311" y="247"/>
                  </a:cubicBezTo>
                  <a:cubicBezTo>
                    <a:pt x="4064" y="0"/>
                    <a:pt x="3662" y="0"/>
                    <a:pt x="3415" y="247"/>
                  </a:cubicBezTo>
                  <a:cubicBezTo>
                    <a:pt x="3168" y="494"/>
                    <a:pt x="3168" y="896"/>
                    <a:pt x="3415" y="1143"/>
                  </a:cubicBezTo>
                  <a:cubicBezTo>
                    <a:pt x="3538" y="1267"/>
                    <a:pt x="3701" y="1329"/>
                    <a:pt x="3863" y="1329"/>
                  </a:cubicBezTo>
                  <a:cubicBezTo>
                    <a:pt x="3958" y="1329"/>
                    <a:pt x="4053" y="1307"/>
                    <a:pt x="4140" y="1265"/>
                  </a:cubicBezTo>
                  <a:cubicBezTo>
                    <a:pt x="4441" y="1695"/>
                    <a:pt x="4600" y="2200"/>
                    <a:pt x="4600" y="2730"/>
                  </a:cubicBezTo>
                  <a:cubicBezTo>
                    <a:pt x="4600" y="3936"/>
                    <a:pt x="3781" y="4956"/>
                    <a:pt x="2626" y="5224"/>
                  </a:cubicBezTo>
                  <a:lnTo>
                    <a:pt x="2626" y="4327"/>
                  </a:lnTo>
                  <a:cubicBezTo>
                    <a:pt x="3288" y="4082"/>
                    <a:pt x="3740" y="3443"/>
                    <a:pt x="3740" y="2730"/>
                  </a:cubicBezTo>
                  <a:cubicBezTo>
                    <a:pt x="3740" y="1791"/>
                    <a:pt x="2976" y="1028"/>
                    <a:pt x="2037" y="1028"/>
                  </a:cubicBezTo>
                  <a:cubicBezTo>
                    <a:pt x="1099" y="1028"/>
                    <a:pt x="335" y="1791"/>
                    <a:pt x="335" y="2730"/>
                  </a:cubicBezTo>
                  <a:cubicBezTo>
                    <a:pt x="335" y="3100"/>
                    <a:pt x="452" y="3452"/>
                    <a:pt x="674" y="3748"/>
                  </a:cubicBezTo>
                  <a:cubicBezTo>
                    <a:pt x="867" y="4006"/>
                    <a:pt x="1134" y="4206"/>
                    <a:pt x="1433" y="4321"/>
                  </a:cubicBezTo>
                  <a:lnTo>
                    <a:pt x="1433" y="6774"/>
                  </a:lnTo>
                  <a:lnTo>
                    <a:pt x="1224" y="6430"/>
                  </a:lnTo>
                  <a:cubicBezTo>
                    <a:pt x="1048" y="6141"/>
                    <a:pt x="680" y="6047"/>
                    <a:pt x="387" y="6216"/>
                  </a:cubicBezTo>
                  <a:cubicBezTo>
                    <a:pt x="108" y="6377"/>
                    <a:pt x="0" y="6731"/>
                    <a:pt x="140" y="7022"/>
                  </a:cubicBezTo>
                  <a:lnTo>
                    <a:pt x="762" y="8278"/>
                  </a:lnTo>
                  <a:cubicBezTo>
                    <a:pt x="791" y="8337"/>
                    <a:pt x="851" y="8371"/>
                    <a:pt x="912" y="8371"/>
                  </a:cubicBezTo>
                  <a:cubicBezTo>
                    <a:pt x="937" y="8371"/>
                    <a:pt x="962" y="8366"/>
                    <a:pt x="986" y="8354"/>
                  </a:cubicBezTo>
                  <a:cubicBezTo>
                    <a:pt x="1068" y="8313"/>
                    <a:pt x="1102" y="8213"/>
                    <a:pt x="1061" y="8131"/>
                  </a:cubicBezTo>
                  <a:lnTo>
                    <a:pt x="440" y="6875"/>
                  </a:lnTo>
                  <a:cubicBezTo>
                    <a:pt x="376" y="6742"/>
                    <a:pt x="426" y="6579"/>
                    <a:pt x="554" y="6505"/>
                  </a:cubicBezTo>
                  <a:cubicBezTo>
                    <a:pt x="686" y="6429"/>
                    <a:pt x="859" y="6473"/>
                    <a:pt x="939" y="6604"/>
                  </a:cubicBezTo>
                  <a:lnTo>
                    <a:pt x="1457" y="7455"/>
                  </a:lnTo>
                  <a:cubicBezTo>
                    <a:pt x="1496" y="7518"/>
                    <a:pt x="1573" y="7549"/>
                    <a:pt x="1645" y="7528"/>
                  </a:cubicBezTo>
                  <a:cubicBezTo>
                    <a:pt x="1717" y="7508"/>
                    <a:pt x="1767" y="7443"/>
                    <a:pt x="1767" y="7368"/>
                  </a:cubicBezTo>
                  <a:lnTo>
                    <a:pt x="1767" y="3541"/>
                  </a:lnTo>
                  <a:cubicBezTo>
                    <a:pt x="1767" y="3396"/>
                    <a:pt x="1885" y="3278"/>
                    <a:pt x="2030" y="3278"/>
                  </a:cubicBezTo>
                  <a:cubicBezTo>
                    <a:pt x="2175" y="3278"/>
                    <a:pt x="2293" y="3396"/>
                    <a:pt x="2293" y="3541"/>
                  </a:cubicBezTo>
                  <a:lnTo>
                    <a:pt x="2293" y="4201"/>
                  </a:lnTo>
                  <a:cubicBezTo>
                    <a:pt x="2293" y="4202"/>
                    <a:pt x="2293" y="4203"/>
                    <a:pt x="2293" y="4205"/>
                  </a:cubicBezTo>
                  <a:lnTo>
                    <a:pt x="2293" y="6709"/>
                  </a:lnTo>
                  <a:cubicBezTo>
                    <a:pt x="2293" y="6801"/>
                    <a:pt x="2367" y="6875"/>
                    <a:pt x="2460" y="6875"/>
                  </a:cubicBezTo>
                  <a:cubicBezTo>
                    <a:pt x="2552" y="6875"/>
                    <a:pt x="2626" y="6801"/>
                    <a:pt x="2626" y="6709"/>
                  </a:cubicBezTo>
                  <a:lnTo>
                    <a:pt x="2626" y="5871"/>
                  </a:lnTo>
                  <a:cubicBezTo>
                    <a:pt x="2626" y="5725"/>
                    <a:pt x="2744" y="5607"/>
                    <a:pt x="2889" y="5607"/>
                  </a:cubicBezTo>
                  <a:cubicBezTo>
                    <a:pt x="3034" y="5607"/>
                    <a:pt x="3152" y="5725"/>
                    <a:pt x="3152" y="5871"/>
                  </a:cubicBezTo>
                  <a:lnTo>
                    <a:pt x="3152" y="6769"/>
                  </a:lnTo>
                  <a:cubicBezTo>
                    <a:pt x="3152" y="6861"/>
                    <a:pt x="3227" y="6936"/>
                    <a:pt x="3319" y="6936"/>
                  </a:cubicBezTo>
                  <a:cubicBezTo>
                    <a:pt x="3411" y="6936"/>
                    <a:pt x="3486" y="6861"/>
                    <a:pt x="3486" y="6769"/>
                  </a:cubicBezTo>
                  <a:lnTo>
                    <a:pt x="3486" y="5871"/>
                  </a:lnTo>
                  <a:cubicBezTo>
                    <a:pt x="3486" y="5725"/>
                    <a:pt x="3604" y="5607"/>
                    <a:pt x="3749" y="5607"/>
                  </a:cubicBezTo>
                  <a:cubicBezTo>
                    <a:pt x="3894" y="5607"/>
                    <a:pt x="4012" y="5725"/>
                    <a:pt x="4012" y="5871"/>
                  </a:cubicBezTo>
                  <a:lnTo>
                    <a:pt x="4012" y="6781"/>
                  </a:lnTo>
                  <a:cubicBezTo>
                    <a:pt x="4012" y="6873"/>
                    <a:pt x="4087" y="6947"/>
                    <a:pt x="4179" y="6947"/>
                  </a:cubicBezTo>
                  <a:cubicBezTo>
                    <a:pt x="4271" y="6947"/>
                    <a:pt x="4346" y="6873"/>
                    <a:pt x="4346" y="6781"/>
                  </a:cubicBezTo>
                  <a:lnTo>
                    <a:pt x="4346" y="6212"/>
                  </a:lnTo>
                  <a:cubicBezTo>
                    <a:pt x="4346" y="6067"/>
                    <a:pt x="4464" y="5949"/>
                    <a:pt x="4609" y="5949"/>
                  </a:cubicBezTo>
                  <a:cubicBezTo>
                    <a:pt x="4754" y="5949"/>
                    <a:pt x="4872" y="6067"/>
                    <a:pt x="4872" y="6212"/>
                  </a:cubicBezTo>
                  <a:lnTo>
                    <a:pt x="4872" y="8204"/>
                  </a:lnTo>
                  <a:cubicBezTo>
                    <a:pt x="4872" y="8297"/>
                    <a:pt x="4946" y="8371"/>
                    <a:pt x="5039" y="8371"/>
                  </a:cubicBezTo>
                  <a:cubicBezTo>
                    <a:pt x="5131" y="8371"/>
                    <a:pt x="5205" y="8297"/>
                    <a:pt x="5205" y="8204"/>
                  </a:cubicBezTo>
                  <a:lnTo>
                    <a:pt x="5205" y="6212"/>
                  </a:lnTo>
                  <a:cubicBezTo>
                    <a:pt x="5205" y="5883"/>
                    <a:pt x="4938" y="5616"/>
                    <a:pt x="4609" y="5616"/>
                  </a:cubicBezTo>
                  <a:close/>
                  <a:moveTo>
                    <a:pt x="3651" y="907"/>
                  </a:moveTo>
                  <a:cubicBezTo>
                    <a:pt x="3534" y="790"/>
                    <a:pt x="3534" y="600"/>
                    <a:pt x="3651" y="483"/>
                  </a:cubicBezTo>
                  <a:cubicBezTo>
                    <a:pt x="3709" y="424"/>
                    <a:pt x="3786" y="395"/>
                    <a:pt x="3863" y="395"/>
                  </a:cubicBezTo>
                  <a:cubicBezTo>
                    <a:pt x="3940" y="395"/>
                    <a:pt x="4017" y="424"/>
                    <a:pt x="4075" y="483"/>
                  </a:cubicBezTo>
                  <a:cubicBezTo>
                    <a:pt x="4192" y="600"/>
                    <a:pt x="4192" y="790"/>
                    <a:pt x="4075" y="907"/>
                  </a:cubicBezTo>
                  <a:cubicBezTo>
                    <a:pt x="3958" y="1024"/>
                    <a:pt x="3768" y="1024"/>
                    <a:pt x="3651" y="907"/>
                  </a:cubicBezTo>
                  <a:close/>
                  <a:moveTo>
                    <a:pt x="669" y="2730"/>
                  </a:moveTo>
                  <a:cubicBezTo>
                    <a:pt x="669" y="1975"/>
                    <a:pt x="1283" y="1361"/>
                    <a:pt x="2037" y="1361"/>
                  </a:cubicBezTo>
                  <a:cubicBezTo>
                    <a:pt x="2792" y="1361"/>
                    <a:pt x="3406" y="1975"/>
                    <a:pt x="3406" y="2730"/>
                  </a:cubicBezTo>
                  <a:cubicBezTo>
                    <a:pt x="3406" y="3261"/>
                    <a:pt x="3095" y="3741"/>
                    <a:pt x="2626" y="3965"/>
                  </a:cubicBezTo>
                  <a:lnTo>
                    <a:pt x="2626" y="3541"/>
                  </a:lnTo>
                  <a:cubicBezTo>
                    <a:pt x="2626" y="3448"/>
                    <a:pt x="2605" y="3359"/>
                    <a:pt x="2566" y="3280"/>
                  </a:cubicBezTo>
                  <a:cubicBezTo>
                    <a:pt x="2714" y="3138"/>
                    <a:pt x="2801" y="2939"/>
                    <a:pt x="2801" y="2730"/>
                  </a:cubicBezTo>
                  <a:cubicBezTo>
                    <a:pt x="2801" y="2308"/>
                    <a:pt x="2459" y="1966"/>
                    <a:pt x="2037" y="1966"/>
                  </a:cubicBezTo>
                  <a:cubicBezTo>
                    <a:pt x="1616" y="1966"/>
                    <a:pt x="1274" y="2308"/>
                    <a:pt x="1274" y="2730"/>
                  </a:cubicBezTo>
                  <a:cubicBezTo>
                    <a:pt x="1274" y="2933"/>
                    <a:pt x="1356" y="3128"/>
                    <a:pt x="1499" y="3270"/>
                  </a:cubicBezTo>
                  <a:cubicBezTo>
                    <a:pt x="1457" y="3352"/>
                    <a:pt x="1433" y="3444"/>
                    <a:pt x="1433" y="3541"/>
                  </a:cubicBezTo>
                  <a:lnTo>
                    <a:pt x="1433" y="3958"/>
                  </a:lnTo>
                  <a:cubicBezTo>
                    <a:pt x="969" y="3731"/>
                    <a:pt x="669" y="3260"/>
                    <a:pt x="669" y="2730"/>
                  </a:cubicBezTo>
                  <a:close/>
                  <a:moveTo>
                    <a:pt x="1727" y="3028"/>
                  </a:moveTo>
                  <a:cubicBezTo>
                    <a:pt x="1650" y="2948"/>
                    <a:pt x="1607" y="2843"/>
                    <a:pt x="1607" y="2730"/>
                  </a:cubicBezTo>
                  <a:cubicBezTo>
                    <a:pt x="1607" y="2492"/>
                    <a:pt x="1800" y="2299"/>
                    <a:pt x="2037" y="2299"/>
                  </a:cubicBezTo>
                  <a:cubicBezTo>
                    <a:pt x="2275" y="2299"/>
                    <a:pt x="2468" y="2492"/>
                    <a:pt x="2468" y="2730"/>
                  </a:cubicBezTo>
                  <a:cubicBezTo>
                    <a:pt x="2468" y="2844"/>
                    <a:pt x="2421" y="2953"/>
                    <a:pt x="2342" y="3033"/>
                  </a:cubicBezTo>
                  <a:cubicBezTo>
                    <a:pt x="2251" y="2977"/>
                    <a:pt x="2144" y="2945"/>
                    <a:pt x="2030" y="2945"/>
                  </a:cubicBezTo>
                  <a:cubicBezTo>
                    <a:pt x="1919" y="2945"/>
                    <a:pt x="1816" y="2975"/>
                    <a:pt x="1727" y="3028"/>
                  </a:cubicBezTo>
                  <a:close/>
                  <a:moveTo>
                    <a:pt x="1727" y="302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38"/>
            <p:cNvSpPr>
              <a:spLocks noEditPoints="1"/>
            </p:cNvSpPr>
            <p:nvPr/>
          </p:nvSpPr>
          <p:spPr bwMode="auto">
            <a:xfrm>
              <a:off x="7962" y="60"/>
              <a:ext cx="339" cy="337"/>
            </a:xfrm>
            <a:custGeom>
              <a:avLst/>
              <a:gdLst>
                <a:gd name="T0" fmla="*/ 167 w 334"/>
                <a:gd name="T1" fmla="*/ 334 h 334"/>
                <a:gd name="T2" fmla="*/ 285 w 334"/>
                <a:gd name="T3" fmla="*/ 285 h 334"/>
                <a:gd name="T4" fmla="*/ 334 w 334"/>
                <a:gd name="T5" fmla="*/ 167 h 334"/>
                <a:gd name="T6" fmla="*/ 285 w 334"/>
                <a:gd name="T7" fmla="*/ 49 h 334"/>
                <a:gd name="T8" fmla="*/ 167 w 334"/>
                <a:gd name="T9" fmla="*/ 0 h 334"/>
                <a:gd name="T10" fmla="*/ 49 w 334"/>
                <a:gd name="T11" fmla="*/ 49 h 334"/>
                <a:gd name="T12" fmla="*/ 0 w 334"/>
                <a:gd name="T13" fmla="*/ 167 h 334"/>
                <a:gd name="T14" fmla="*/ 49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211" y="334"/>
                    <a:pt x="254" y="316"/>
                    <a:pt x="285" y="285"/>
                  </a:cubicBezTo>
                  <a:cubicBezTo>
                    <a:pt x="316" y="254"/>
                    <a:pt x="334" y="211"/>
                    <a:pt x="334" y="167"/>
                  </a:cubicBezTo>
                  <a:cubicBezTo>
                    <a:pt x="334" y="123"/>
                    <a:pt x="316" y="80"/>
                    <a:pt x="285" y="49"/>
                  </a:cubicBezTo>
                  <a:cubicBezTo>
                    <a:pt x="254" y="18"/>
                    <a:pt x="211" y="0"/>
                    <a:pt x="167" y="0"/>
                  </a:cubicBezTo>
                  <a:cubicBezTo>
                    <a:pt x="123" y="0"/>
                    <a:pt x="80" y="18"/>
                    <a:pt x="49" y="49"/>
                  </a:cubicBezTo>
                  <a:cubicBezTo>
                    <a:pt x="18" y="80"/>
                    <a:pt x="0" y="123"/>
                    <a:pt x="0" y="167"/>
                  </a:cubicBezTo>
                  <a:cubicBezTo>
                    <a:pt x="0" y="211"/>
                    <a:pt x="18" y="254"/>
                    <a:pt x="49" y="285"/>
                  </a:cubicBezTo>
                  <a:cubicBezTo>
                    <a:pt x="80" y="316"/>
                    <a:pt x="123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3" name="Freeform 14"/>
          <p:cNvSpPr>
            <a:spLocks/>
          </p:cNvSpPr>
          <p:nvPr/>
        </p:nvSpPr>
        <p:spPr bwMode="auto">
          <a:xfrm>
            <a:off x="4224088" y="2156791"/>
            <a:ext cx="809179" cy="1018800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>
            <a:gsLst>
              <a:gs pos="0">
                <a:srgbClr val="A136A0"/>
              </a:gs>
              <a:gs pos="100000">
                <a:srgbClr val="7030A0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EC232"/>
              </a:solidFill>
              <a:latin typeface="Montserrat Black" panose="00000A00000000000000" pitchFamily="50" charset="0"/>
            </a:endParaRPr>
          </a:p>
        </p:txBody>
      </p:sp>
      <p:sp>
        <p:nvSpPr>
          <p:cNvPr id="28" name="Freeform 14"/>
          <p:cNvSpPr>
            <a:spLocks/>
          </p:cNvSpPr>
          <p:nvPr/>
        </p:nvSpPr>
        <p:spPr bwMode="auto">
          <a:xfrm>
            <a:off x="7120526" y="2156791"/>
            <a:ext cx="809179" cy="1018800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>
            <a:gsLst>
              <a:gs pos="0">
                <a:srgbClr val="A136A0"/>
              </a:gs>
              <a:gs pos="100000">
                <a:srgbClr val="7030A0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EC232"/>
              </a:solidFill>
              <a:latin typeface="Montserrat Black" panose="00000A00000000000000" pitchFamily="50" charset="0"/>
            </a:endParaRPr>
          </a:p>
        </p:txBody>
      </p:sp>
      <p:sp>
        <p:nvSpPr>
          <p:cNvPr id="33" name="Freeform 14"/>
          <p:cNvSpPr>
            <a:spLocks/>
          </p:cNvSpPr>
          <p:nvPr/>
        </p:nvSpPr>
        <p:spPr bwMode="auto">
          <a:xfrm>
            <a:off x="9988866" y="2156791"/>
            <a:ext cx="809179" cy="1018800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>
            <a:gsLst>
              <a:gs pos="0">
                <a:srgbClr val="A136A0"/>
              </a:gs>
              <a:gs pos="100000">
                <a:srgbClr val="7030A0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EC232"/>
              </a:solidFill>
              <a:latin typeface="Montserrat Black" panose="00000A00000000000000" pitchFamily="50" charset="0"/>
            </a:endParaRPr>
          </a:p>
        </p:txBody>
      </p:sp>
      <p:grpSp>
        <p:nvGrpSpPr>
          <p:cNvPr id="22" name="Group 551"/>
          <p:cNvGrpSpPr>
            <a:grpSpLocks noChangeAspect="1"/>
          </p:cNvGrpSpPr>
          <p:nvPr/>
        </p:nvGrpSpPr>
        <p:grpSpPr bwMode="auto">
          <a:xfrm flipH="1">
            <a:off x="4334781" y="2333954"/>
            <a:ext cx="587791" cy="587791"/>
            <a:chOff x="2298" y="618"/>
            <a:chExt cx="3072" cy="3072"/>
          </a:xfrm>
          <a:gradFill>
            <a:gsLst>
              <a:gs pos="0">
                <a:srgbClr val="DF6F51"/>
              </a:gs>
              <a:gs pos="100000">
                <a:srgbClr val="FEC232"/>
              </a:gs>
            </a:gsLst>
            <a:lin ang="12600000" scaled="0"/>
          </a:gradFill>
        </p:grpSpPr>
        <p:sp>
          <p:nvSpPr>
            <p:cNvPr id="39" name="Freeform 552"/>
            <p:cNvSpPr>
              <a:spLocks/>
            </p:cNvSpPr>
            <p:nvPr/>
          </p:nvSpPr>
          <p:spPr bwMode="auto">
            <a:xfrm>
              <a:off x="3322" y="2858"/>
              <a:ext cx="384" cy="576"/>
            </a:xfrm>
            <a:custGeom>
              <a:avLst/>
              <a:gdLst>
                <a:gd name="T0" fmla="*/ 267 w 800"/>
                <a:gd name="T1" fmla="*/ 933 h 1200"/>
                <a:gd name="T2" fmla="*/ 267 w 800"/>
                <a:gd name="T3" fmla="*/ 0 h 1200"/>
                <a:gd name="T4" fmla="*/ 0 w 800"/>
                <a:gd name="T5" fmla="*/ 0 h 1200"/>
                <a:gd name="T6" fmla="*/ 0 w 800"/>
                <a:gd name="T7" fmla="*/ 1066 h 1200"/>
                <a:gd name="T8" fmla="*/ 134 w 800"/>
                <a:gd name="T9" fmla="*/ 1200 h 1200"/>
                <a:gd name="T10" fmla="*/ 800 w 800"/>
                <a:gd name="T11" fmla="*/ 1200 h 1200"/>
                <a:gd name="T12" fmla="*/ 800 w 800"/>
                <a:gd name="T13" fmla="*/ 933 h 1200"/>
                <a:gd name="T14" fmla="*/ 267 w 800"/>
                <a:gd name="T15" fmla="*/ 933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0" h="1200">
                  <a:moveTo>
                    <a:pt x="267" y="933"/>
                  </a:moveTo>
                  <a:lnTo>
                    <a:pt x="267" y="0"/>
                  </a:lnTo>
                  <a:lnTo>
                    <a:pt x="0" y="0"/>
                  </a:lnTo>
                  <a:lnTo>
                    <a:pt x="0" y="1066"/>
                  </a:lnTo>
                  <a:cubicBezTo>
                    <a:pt x="0" y="1140"/>
                    <a:pt x="60" y="1200"/>
                    <a:pt x="134" y="1200"/>
                  </a:cubicBezTo>
                  <a:lnTo>
                    <a:pt x="800" y="1200"/>
                  </a:lnTo>
                  <a:lnTo>
                    <a:pt x="800" y="933"/>
                  </a:lnTo>
                  <a:lnTo>
                    <a:pt x="267" y="9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553"/>
            <p:cNvSpPr>
              <a:spLocks/>
            </p:cNvSpPr>
            <p:nvPr/>
          </p:nvSpPr>
          <p:spPr bwMode="auto">
            <a:xfrm>
              <a:off x="3130" y="3306"/>
              <a:ext cx="576" cy="384"/>
            </a:xfrm>
            <a:custGeom>
              <a:avLst/>
              <a:gdLst>
                <a:gd name="T0" fmla="*/ 267 w 1200"/>
                <a:gd name="T1" fmla="*/ 533 h 800"/>
                <a:gd name="T2" fmla="*/ 267 w 1200"/>
                <a:gd name="T3" fmla="*/ 267 h 800"/>
                <a:gd name="T4" fmla="*/ 534 w 1200"/>
                <a:gd name="T5" fmla="*/ 267 h 800"/>
                <a:gd name="T6" fmla="*/ 534 w 1200"/>
                <a:gd name="T7" fmla="*/ 0 h 800"/>
                <a:gd name="T8" fmla="*/ 134 w 1200"/>
                <a:gd name="T9" fmla="*/ 0 h 800"/>
                <a:gd name="T10" fmla="*/ 0 w 1200"/>
                <a:gd name="T11" fmla="*/ 133 h 800"/>
                <a:gd name="T12" fmla="*/ 0 w 1200"/>
                <a:gd name="T13" fmla="*/ 533 h 800"/>
                <a:gd name="T14" fmla="*/ 267 w 1200"/>
                <a:gd name="T15" fmla="*/ 800 h 800"/>
                <a:gd name="T16" fmla="*/ 1200 w 1200"/>
                <a:gd name="T17" fmla="*/ 800 h 800"/>
                <a:gd name="T18" fmla="*/ 1200 w 1200"/>
                <a:gd name="T19" fmla="*/ 533 h 800"/>
                <a:gd name="T20" fmla="*/ 267 w 1200"/>
                <a:gd name="T21" fmla="*/ 533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0" h="800">
                  <a:moveTo>
                    <a:pt x="267" y="533"/>
                  </a:moveTo>
                  <a:lnTo>
                    <a:pt x="267" y="267"/>
                  </a:lnTo>
                  <a:lnTo>
                    <a:pt x="534" y="267"/>
                  </a:lnTo>
                  <a:lnTo>
                    <a:pt x="534" y="0"/>
                  </a:lnTo>
                  <a:lnTo>
                    <a:pt x="134" y="0"/>
                  </a:lnTo>
                  <a:cubicBezTo>
                    <a:pt x="60" y="0"/>
                    <a:pt x="0" y="60"/>
                    <a:pt x="0" y="133"/>
                  </a:cubicBezTo>
                  <a:lnTo>
                    <a:pt x="0" y="533"/>
                  </a:lnTo>
                  <a:cubicBezTo>
                    <a:pt x="0" y="681"/>
                    <a:pt x="120" y="800"/>
                    <a:pt x="267" y="800"/>
                  </a:cubicBezTo>
                  <a:lnTo>
                    <a:pt x="1200" y="800"/>
                  </a:lnTo>
                  <a:lnTo>
                    <a:pt x="1200" y="533"/>
                  </a:lnTo>
                  <a:lnTo>
                    <a:pt x="267" y="5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554"/>
            <p:cNvSpPr>
              <a:spLocks/>
            </p:cNvSpPr>
            <p:nvPr/>
          </p:nvSpPr>
          <p:spPr bwMode="auto">
            <a:xfrm>
              <a:off x="2298" y="618"/>
              <a:ext cx="3072" cy="2304"/>
            </a:xfrm>
            <a:custGeom>
              <a:avLst/>
              <a:gdLst>
                <a:gd name="T0" fmla="*/ 6000 w 6400"/>
                <a:gd name="T1" fmla="*/ 0 h 4800"/>
                <a:gd name="T2" fmla="*/ 400 w 6400"/>
                <a:gd name="T3" fmla="*/ 0 h 4800"/>
                <a:gd name="T4" fmla="*/ 0 w 6400"/>
                <a:gd name="T5" fmla="*/ 400 h 4800"/>
                <a:gd name="T6" fmla="*/ 0 w 6400"/>
                <a:gd name="T7" fmla="*/ 4400 h 4800"/>
                <a:gd name="T8" fmla="*/ 400 w 6400"/>
                <a:gd name="T9" fmla="*/ 4800 h 4800"/>
                <a:gd name="T10" fmla="*/ 2933 w 6400"/>
                <a:gd name="T11" fmla="*/ 4800 h 4800"/>
                <a:gd name="T12" fmla="*/ 2933 w 6400"/>
                <a:gd name="T13" fmla="*/ 4533 h 4800"/>
                <a:gd name="T14" fmla="*/ 400 w 6400"/>
                <a:gd name="T15" fmla="*/ 4533 h 4800"/>
                <a:gd name="T16" fmla="*/ 267 w 6400"/>
                <a:gd name="T17" fmla="*/ 4400 h 4800"/>
                <a:gd name="T18" fmla="*/ 267 w 6400"/>
                <a:gd name="T19" fmla="*/ 400 h 4800"/>
                <a:gd name="T20" fmla="*/ 400 w 6400"/>
                <a:gd name="T21" fmla="*/ 267 h 4800"/>
                <a:gd name="T22" fmla="*/ 6000 w 6400"/>
                <a:gd name="T23" fmla="*/ 267 h 4800"/>
                <a:gd name="T24" fmla="*/ 6133 w 6400"/>
                <a:gd name="T25" fmla="*/ 400 h 4800"/>
                <a:gd name="T26" fmla="*/ 6133 w 6400"/>
                <a:gd name="T27" fmla="*/ 1600 h 4800"/>
                <a:gd name="T28" fmla="*/ 6400 w 6400"/>
                <a:gd name="T29" fmla="*/ 1600 h 4800"/>
                <a:gd name="T30" fmla="*/ 6400 w 6400"/>
                <a:gd name="T31" fmla="*/ 400 h 4800"/>
                <a:gd name="T32" fmla="*/ 6000 w 6400"/>
                <a:gd name="T33" fmla="*/ 0 h 4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00" h="4800">
                  <a:moveTo>
                    <a:pt x="6000" y="0"/>
                  </a:moveTo>
                  <a:lnTo>
                    <a:pt x="400" y="0"/>
                  </a:lnTo>
                  <a:cubicBezTo>
                    <a:pt x="179" y="0"/>
                    <a:pt x="0" y="179"/>
                    <a:pt x="0" y="400"/>
                  </a:cubicBezTo>
                  <a:lnTo>
                    <a:pt x="0" y="4400"/>
                  </a:lnTo>
                  <a:cubicBezTo>
                    <a:pt x="0" y="4621"/>
                    <a:pt x="179" y="4800"/>
                    <a:pt x="400" y="4800"/>
                  </a:cubicBezTo>
                  <a:lnTo>
                    <a:pt x="2933" y="4800"/>
                  </a:lnTo>
                  <a:lnTo>
                    <a:pt x="2933" y="4533"/>
                  </a:lnTo>
                  <a:lnTo>
                    <a:pt x="400" y="4533"/>
                  </a:lnTo>
                  <a:cubicBezTo>
                    <a:pt x="326" y="4533"/>
                    <a:pt x="267" y="4474"/>
                    <a:pt x="267" y="4400"/>
                  </a:cubicBezTo>
                  <a:lnTo>
                    <a:pt x="267" y="400"/>
                  </a:lnTo>
                  <a:cubicBezTo>
                    <a:pt x="267" y="326"/>
                    <a:pt x="326" y="267"/>
                    <a:pt x="400" y="267"/>
                  </a:cubicBezTo>
                  <a:lnTo>
                    <a:pt x="6000" y="267"/>
                  </a:lnTo>
                  <a:cubicBezTo>
                    <a:pt x="6074" y="267"/>
                    <a:pt x="6133" y="326"/>
                    <a:pt x="6133" y="400"/>
                  </a:cubicBezTo>
                  <a:lnTo>
                    <a:pt x="6133" y="1600"/>
                  </a:lnTo>
                  <a:lnTo>
                    <a:pt x="6400" y="1600"/>
                  </a:lnTo>
                  <a:lnTo>
                    <a:pt x="6400" y="400"/>
                  </a:lnTo>
                  <a:cubicBezTo>
                    <a:pt x="6400" y="179"/>
                    <a:pt x="6221" y="0"/>
                    <a:pt x="60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555"/>
            <p:cNvSpPr>
              <a:spLocks noChangeArrowheads="1"/>
            </p:cNvSpPr>
            <p:nvPr/>
          </p:nvSpPr>
          <p:spPr bwMode="auto">
            <a:xfrm>
              <a:off x="3002" y="3562"/>
              <a:ext cx="704" cy="12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556"/>
            <p:cNvSpPr>
              <a:spLocks/>
            </p:cNvSpPr>
            <p:nvPr/>
          </p:nvSpPr>
          <p:spPr bwMode="auto">
            <a:xfrm>
              <a:off x="2618" y="938"/>
              <a:ext cx="2432" cy="1664"/>
            </a:xfrm>
            <a:custGeom>
              <a:avLst/>
              <a:gdLst>
                <a:gd name="T0" fmla="*/ 4933 w 5066"/>
                <a:gd name="T1" fmla="*/ 0 h 3466"/>
                <a:gd name="T2" fmla="*/ 133 w 5066"/>
                <a:gd name="T3" fmla="*/ 0 h 3466"/>
                <a:gd name="T4" fmla="*/ 0 w 5066"/>
                <a:gd name="T5" fmla="*/ 133 h 3466"/>
                <a:gd name="T6" fmla="*/ 0 w 5066"/>
                <a:gd name="T7" fmla="*/ 3333 h 3466"/>
                <a:gd name="T8" fmla="*/ 133 w 5066"/>
                <a:gd name="T9" fmla="*/ 3466 h 3466"/>
                <a:gd name="T10" fmla="*/ 2266 w 5066"/>
                <a:gd name="T11" fmla="*/ 3466 h 3466"/>
                <a:gd name="T12" fmla="*/ 2266 w 5066"/>
                <a:gd name="T13" fmla="*/ 3200 h 3466"/>
                <a:gd name="T14" fmla="*/ 266 w 5066"/>
                <a:gd name="T15" fmla="*/ 3200 h 3466"/>
                <a:gd name="T16" fmla="*/ 266 w 5066"/>
                <a:gd name="T17" fmla="*/ 266 h 3466"/>
                <a:gd name="T18" fmla="*/ 4800 w 5066"/>
                <a:gd name="T19" fmla="*/ 266 h 3466"/>
                <a:gd name="T20" fmla="*/ 4800 w 5066"/>
                <a:gd name="T21" fmla="*/ 933 h 3466"/>
                <a:gd name="T22" fmla="*/ 5066 w 5066"/>
                <a:gd name="T23" fmla="*/ 933 h 3466"/>
                <a:gd name="T24" fmla="*/ 5066 w 5066"/>
                <a:gd name="T25" fmla="*/ 133 h 3466"/>
                <a:gd name="T26" fmla="*/ 4933 w 5066"/>
                <a:gd name="T27" fmla="*/ 0 h 3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66" h="3466">
                  <a:moveTo>
                    <a:pt x="4933" y="0"/>
                  </a:moveTo>
                  <a:lnTo>
                    <a:pt x="133" y="0"/>
                  </a:lnTo>
                  <a:cubicBezTo>
                    <a:pt x="59" y="0"/>
                    <a:pt x="0" y="59"/>
                    <a:pt x="0" y="133"/>
                  </a:cubicBezTo>
                  <a:lnTo>
                    <a:pt x="0" y="3333"/>
                  </a:lnTo>
                  <a:cubicBezTo>
                    <a:pt x="0" y="3407"/>
                    <a:pt x="59" y="3466"/>
                    <a:pt x="133" y="3466"/>
                  </a:cubicBezTo>
                  <a:lnTo>
                    <a:pt x="2266" y="3466"/>
                  </a:lnTo>
                  <a:lnTo>
                    <a:pt x="2266" y="3200"/>
                  </a:lnTo>
                  <a:lnTo>
                    <a:pt x="266" y="3200"/>
                  </a:lnTo>
                  <a:lnTo>
                    <a:pt x="266" y="266"/>
                  </a:lnTo>
                  <a:lnTo>
                    <a:pt x="4800" y="266"/>
                  </a:lnTo>
                  <a:lnTo>
                    <a:pt x="4800" y="933"/>
                  </a:lnTo>
                  <a:lnTo>
                    <a:pt x="5066" y="933"/>
                  </a:lnTo>
                  <a:lnTo>
                    <a:pt x="5066" y="133"/>
                  </a:lnTo>
                  <a:cubicBezTo>
                    <a:pt x="5066" y="59"/>
                    <a:pt x="5007" y="0"/>
                    <a:pt x="493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557"/>
            <p:cNvSpPr>
              <a:spLocks/>
            </p:cNvSpPr>
            <p:nvPr/>
          </p:nvSpPr>
          <p:spPr bwMode="auto">
            <a:xfrm>
              <a:off x="2874" y="1194"/>
              <a:ext cx="320" cy="320"/>
            </a:xfrm>
            <a:custGeom>
              <a:avLst/>
              <a:gdLst>
                <a:gd name="T0" fmla="*/ 133 w 667"/>
                <a:gd name="T1" fmla="*/ 0 h 667"/>
                <a:gd name="T2" fmla="*/ 0 w 667"/>
                <a:gd name="T3" fmla="*/ 133 h 667"/>
                <a:gd name="T4" fmla="*/ 0 w 667"/>
                <a:gd name="T5" fmla="*/ 667 h 667"/>
                <a:gd name="T6" fmla="*/ 267 w 667"/>
                <a:gd name="T7" fmla="*/ 667 h 667"/>
                <a:gd name="T8" fmla="*/ 267 w 667"/>
                <a:gd name="T9" fmla="*/ 267 h 667"/>
                <a:gd name="T10" fmla="*/ 667 w 667"/>
                <a:gd name="T11" fmla="*/ 267 h 667"/>
                <a:gd name="T12" fmla="*/ 667 w 667"/>
                <a:gd name="T13" fmla="*/ 0 h 667"/>
                <a:gd name="T14" fmla="*/ 133 w 667"/>
                <a:gd name="T15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7" h="667">
                  <a:moveTo>
                    <a:pt x="133" y="0"/>
                  </a:moveTo>
                  <a:cubicBezTo>
                    <a:pt x="60" y="0"/>
                    <a:pt x="0" y="60"/>
                    <a:pt x="0" y="133"/>
                  </a:cubicBezTo>
                  <a:lnTo>
                    <a:pt x="0" y="667"/>
                  </a:lnTo>
                  <a:lnTo>
                    <a:pt x="267" y="667"/>
                  </a:lnTo>
                  <a:lnTo>
                    <a:pt x="267" y="267"/>
                  </a:lnTo>
                  <a:lnTo>
                    <a:pt x="667" y="267"/>
                  </a:lnTo>
                  <a:lnTo>
                    <a:pt x="667" y="0"/>
                  </a:lnTo>
                  <a:lnTo>
                    <a:pt x="1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558"/>
            <p:cNvSpPr>
              <a:spLocks noEditPoints="1"/>
            </p:cNvSpPr>
            <p:nvPr/>
          </p:nvSpPr>
          <p:spPr bwMode="auto">
            <a:xfrm>
              <a:off x="3834" y="1514"/>
              <a:ext cx="1536" cy="2176"/>
            </a:xfrm>
            <a:custGeom>
              <a:avLst/>
              <a:gdLst>
                <a:gd name="T0" fmla="*/ 2800 w 3200"/>
                <a:gd name="T1" fmla="*/ 0 h 4533"/>
                <a:gd name="T2" fmla="*/ 400 w 3200"/>
                <a:gd name="T3" fmla="*/ 0 h 4533"/>
                <a:gd name="T4" fmla="*/ 0 w 3200"/>
                <a:gd name="T5" fmla="*/ 400 h 4533"/>
                <a:gd name="T6" fmla="*/ 0 w 3200"/>
                <a:gd name="T7" fmla="*/ 4133 h 4533"/>
                <a:gd name="T8" fmla="*/ 400 w 3200"/>
                <a:gd name="T9" fmla="*/ 4533 h 4533"/>
                <a:gd name="T10" fmla="*/ 2800 w 3200"/>
                <a:gd name="T11" fmla="*/ 4533 h 4533"/>
                <a:gd name="T12" fmla="*/ 3200 w 3200"/>
                <a:gd name="T13" fmla="*/ 4133 h 4533"/>
                <a:gd name="T14" fmla="*/ 3200 w 3200"/>
                <a:gd name="T15" fmla="*/ 400 h 4533"/>
                <a:gd name="T16" fmla="*/ 2800 w 3200"/>
                <a:gd name="T17" fmla="*/ 0 h 4533"/>
                <a:gd name="T18" fmla="*/ 2933 w 3200"/>
                <a:gd name="T19" fmla="*/ 4133 h 4533"/>
                <a:gd name="T20" fmla="*/ 2800 w 3200"/>
                <a:gd name="T21" fmla="*/ 4266 h 4533"/>
                <a:gd name="T22" fmla="*/ 400 w 3200"/>
                <a:gd name="T23" fmla="*/ 4266 h 4533"/>
                <a:gd name="T24" fmla="*/ 267 w 3200"/>
                <a:gd name="T25" fmla="*/ 4133 h 4533"/>
                <a:gd name="T26" fmla="*/ 267 w 3200"/>
                <a:gd name="T27" fmla="*/ 400 h 4533"/>
                <a:gd name="T28" fmla="*/ 400 w 3200"/>
                <a:gd name="T29" fmla="*/ 266 h 4533"/>
                <a:gd name="T30" fmla="*/ 2800 w 3200"/>
                <a:gd name="T31" fmla="*/ 266 h 4533"/>
                <a:gd name="T32" fmla="*/ 2933 w 3200"/>
                <a:gd name="T33" fmla="*/ 400 h 4533"/>
                <a:gd name="T34" fmla="*/ 2933 w 3200"/>
                <a:gd name="T35" fmla="*/ 4133 h 4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00" h="4533">
                  <a:moveTo>
                    <a:pt x="2800" y="0"/>
                  </a:moveTo>
                  <a:lnTo>
                    <a:pt x="400" y="0"/>
                  </a:lnTo>
                  <a:cubicBezTo>
                    <a:pt x="179" y="0"/>
                    <a:pt x="0" y="179"/>
                    <a:pt x="0" y="400"/>
                  </a:cubicBezTo>
                  <a:lnTo>
                    <a:pt x="0" y="4133"/>
                  </a:lnTo>
                  <a:cubicBezTo>
                    <a:pt x="0" y="4354"/>
                    <a:pt x="179" y="4533"/>
                    <a:pt x="400" y="4533"/>
                  </a:cubicBezTo>
                  <a:lnTo>
                    <a:pt x="2800" y="4533"/>
                  </a:lnTo>
                  <a:cubicBezTo>
                    <a:pt x="3021" y="4533"/>
                    <a:pt x="3200" y="4354"/>
                    <a:pt x="3200" y="4133"/>
                  </a:cubicBezTo>
                  <a:lnTo>
                    <a:pt x="3200" y="400"/>
                  </a:lnTo>
                  <a:cubicBezTo>
                    <a:pt x="3200" y="179"/>
                    <a:pt x="3021" y="0"/>
                    <a:pt x="2800" y="0"/>
                  </a:cubicBezTo>
                  <a:close/>
                  <a:moveTo>
                    <a:pt x="2933" y="4133"/>
                  </a:moveTo>
                  <a:cubicBezTo>
                    <a:pt x="2933" y="4207"/>
                    <a:pt x="2874" y="4266"/>
                    <a:pt x="2800" y="4266"/>
                  </a:cubicBezTo>
                  <a:lnTo>
                    <a:pt x="400" y="4266"/>
                  </a:lnTo>
                  <a:cubicBezTo>
                    <a:pt x="326" y="4266"/>
                    <a:pt x="267" y="4207"/>
                    <a:pt x="267" y="4133"/>
                  </a:cubicBezTo>
                  <a:lnTo>
                    <a:pt x="267" y="400"/>
                  </a:lnTo>
                  <a:cubicBezTo>
                    <a:pt x="267" y="326"/>
                    <a:pt x="326" y="266"/>
                    <a:pt x="400" y="266"/>
                  </a:cubicBezTo>
                  <a:lnTo>
                    <a:pt x="2800" y="266"/>
                  </a:lnTo>
                  <a:cubicBezTo>
                    <a:pt x="2874" y="266"/>
                    <a:pt x="2933" y="326"/>
                    <a:pt x="2933" y="400"/>
                  </a:cubicBezTo>
                  <a:lnTo>
                    <a:pt x="2933" y="41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559"/>
            <p:cNvSpPr>
              <a:spLocks noChangeArrowheads="1"/>
            </p:cNvSpPr>
            <p:nvPr/>
          </p:nvSpPr>
          <p:spPr bwMode="auto">
            <a:xfrm>
              <a:off x="4090" y="1834"/>
              <a:ext cx="1024" cy="12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560"/>
            <p:cNvSpPr>
              <a:spLocks noChangeArrowheads="1"/>
            </p:cNvSpPr>
            <p:nvPr/>
          </p:nvSpPr>
          <p:spPr bwMode="auto">
            <a:xfrm>
              <a:off x="4090" y="3242"/>
              <a:ext cx="1024" cy="12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561"/>
            <p:cNvSpPr>
              <a:spLocks/>
            </p:cNvSpPr>
            <p:nvPr/>
          </p:nvSpPr>
          <p:spPr bwMode="auto">
            <a:xfrm>
              <a:off x="4090" y="2090"/>
              <a:ext cx="320" cy="320"/>
            </a:xfrm>
            <a:custGeom>
              <a:avLst/>
              <a:gdLst>
                <a:gd name="T0" fmla="*/ 134 w 667"/>
                <a:gd name="T1" fmla="*/ 0 h 666"/>
                <a:gd name="T2" fmla="*/ 0 w 667"/>
                <a:gd name="T3" fmla="*/ 133 h 666"/>
                <a:gd name="T4" fmla="*/ 0 w 667"/>
                <a:gd name="T5" fmla="*/ 666 h 666"/>
                <a:gd name="T6" fmla="*/ 267 w 667"/>
                <a:gd name="T7" fmla="*/ 666 h 666"/>
                <a:gd name="T8" fmla="*/ 267 w 667"/>
                <a:gd name="T9" fmla="*/ 266 h 666"/>
                <a:gd name="T10" fmla="*/ 667 w 667"/>
                <a:gd name="T11" fmla="*/ 266 h 666"/>
                <a:gd name="T12" fmla="*/ 667 w 667"/>
                <a:gd name="T13" fmla="*/ 0 h 666"/>
                <a:gd name="T14" fmla="*/ 134 w 667"/>
                <a:gd name="T15" fmla="*/ 0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7" h="666">
                  <a:moveTo>
                    <a:pt x="134" y="0"/>
                  </a:moveTo>
                  <a:cubicBezTo>
                    <a:pt x="60" y="0"/>
                    <a:pt x="0" y="59"/>
                    <a:pt x="0" y="133"/>
                  </a:cubicBezTo>
                  <a:lnTo>
                    <a:pt x="0" y="666"/>
                  </a:lnTo>
                  <a:lnTo>
                    <a:pt x="267" y="666"/>
                  </a:lnTo>
                  <a:lnTo>
                    <a:pt x="267" y="266"/>
                  </a:lnTo>
                  <a:lnTo>
                    <a:pt x="667" y="266"/>
                  </a:lnTo>
                  <a:lnTo>
                    <a:pt x="667" y="0"/>
                  </a:lnTo>
                  <a:lnTo>
                    <a:pt x="1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9" name="Group 583"/>
          <p:cNvGrpSpPr>
            <a:grpSpLocks noChangeAspect="1"/>
          </p:cNvGrpSpPr>
          <p:nvPr/>
        </p:nvGrpSpPr>
        <p:grpSpPr bwMode="auto">
          <a:xfrm>
            <a:off x="10099411" y="2346971"/>
            <a:ext cx="588088" cy="585800"/>
            <a:chOff x="2292" y="618"/>
            <a:chExt cx="3084" cy="3072"/>
          </a:xfrm>
          <a:gradFill>
            <a:gsLst>
              <a:gs pos="0">
                <a:srgbClr val="DF6F51"/>
              </a:gs>
              <a:gs pos="100000">
                <a:srgbClr val="FEC232"/>
              </a:gs>
            </a:gsLst>
            <a:lin ang="12600000" scaled="0"/>
          </a:gradFill>
        </p:grpSpPr>
        <p:sp>
          <p:nvSpPr>
            <p:cNvPr id="521" name="Freeform 584"/>
            <p:cNvSpPr>
              <a:spLocks noEditPoints="1"/>
            </p:cNvSpPr>
            <p:nvPr/>
          </p:nvSpPr>
          <p:spPr bwMode="auto">
            <a:xfrm>
              <a:off x="2292" y="1206"/>
              <a:ext cx="3084" cy="2273"/>
            </a:xfrm>
            <a:custGeom>
              <a:avLst/>
              <a:gdLst>
                <a:gd name="T0" fmla="*/ 6388 w 6424"/>
                <a:gd name="T1" fmla="*/ 1463 h 4736"/>
                <a:gd name="T2" fmla="*/ 5363 w 6424"/>
                <a:gd name="T3" fmla="*/ 52 h 4736"/>
                <a:gd name="T4" fmla="*/ 5262 w 6424"/>
                <a:gd name="T5" fmla="*/ 0 h 4736"/>
                <a:gd name="T6" fmla="*/ 1162 w 6424"/>
                <a:gd name="T7" fmla="*/ 0 h 4736"/>
                <a:gd name="T8" fmla="*/ 1061 w 6424"/>
                <a:gd name="T9" fmla="*/ 52 h 4736"/>
                <a:gd name="T10" fmla="*/ 36 w 6424"/>
                <a:gd name="T11" fmla="*/ 1463 h 4736"/>
                <a:gd name="T12" fmla="*/ 49 w 6424"/>
                <a:gd name="T13" fmla="*/ 1625 h 4736"/>
                <a:gd name="T14" fmla="*/ 3124 w 6424"/>
                <a:gd name="T15" fmla="*/ 4700 h 4736"/>
                <a:gd name="T16" fmla="*/ 3212 w 6424"/>
                <a:gd name="T17" fmla="*/ 4736 h 4736"/>
                <a:gd name="T18" fmla="*/ 3300 w 6424"/>
                <a:gd name="T19" fmla="*/ 4700 h 4736"/>
                <a:gd name="T20" fmla="*/ 4440 w 6424"/>
                <a:gd name="T21" fmla="*/ 3560 h 4736"/>
                <a:gd name="T22" fmla="*/ 4440 w 6424"/>
                <a:gd name="T23" fmla="*/ 3383 h 4736"/>
                <a:gd name="T24" fmla="*/ 4264 w 6424"/>
                <a:gd name="T25" fmla="*/ 3383 h 4736"/>
                <a:gd name="T26" fmla="*/ 3498 w 6424"/>
                <a:gd name="T27" fmla="*/ 4149 h 4736"/>
                <a:gd name="T28" fmla="*/ 4327 w 6424"/>
                <a:gd name="T29" fmla="*/ 1661 h 4736"/>
                <a:gd name="T30" fmla="*/ 5985 w 6424"/>
                <a:gd name="T31" fmla="*/ 1661 h 4736"/>
                <a:gd name="T32" fmla="*/ 5059 w 6424"/>
                <a:gd name="T33" fmla="*/ 2588 h 4736"/>
                <a:gd name="T34" fmla="*/ 5059 w 6424"/>
                <a:gd name="T35" fmla="*/ 2765 h 4736"/>
                <a:gd name="T36" fmla="*/ 5236 w 6424"/>
                <a:gd name="T37" fmla="*/ 2765 h 4736"/>
                <a:gd name="T38" fmla="*/ 6375 w 6424"/>
                <a:gd name="T39" fmla="*/ 1625 h 4736"/>
                <a:gd name="T40" fmla="*/ 6388 w 6424"/>
                <a:gd name="T41" fmla="*/ 1463 h 4736"/>
                <a:gd name="T42" fmla="*/ 6042 w 6424"/>
                <a:gd name="T43" fmla="*/ 1411 h 4736"/>
                <a:gd name="T44" fmla="*/ 4482 w 6424"/>
                <a:gd name="T45" fmla="*/ 1411 h 4736"/>
                <a:gd name="T46" fmla="*/ 5262 w 6424"/>
                <a:gd name="T47" fmla="*/ 338 h 4736"/>
                <a:gd name="T48" fmla="*/ 6042 w 6424"/>
                <a:gd name="T49" fmla="*/ 1411 h 4736"/>
                <a:gd name="T50" fmla="*/ 1162 w 6424"/>
                <a:gd name="T51" fmla="*/ 338 h 4736"/>
                <a:gd name="T52" fmla="*/ 1942 w 6424"/>
                <a:gd name="T53" fmla="*/ 1411 h 4736"/>
                <a:gd name="T54" fmla="*/ 382 w 6424"/>
                <a:gd name="T55" fmla="*/ 1411 h 4736"/>
                <a:gd name="T56" fmla="*/ 1162 w 6424"/>
                <a:gd name="T57" fmla="*/ 338 h 4736"/>
                <a:gd name="T58" fmla="*/ 3457 w 6424"/>
                <a:gd name="T59" fmla="*/ 250 h 4736"/>
                <a:gd name="T60" fmla="*/ 5017 w 6424"/>
                <a:gd name="T61" fmla="*/ 250 h 4736"/>
                <a:gd name="T62" fmla="*/ 4237 w 6424"/>
                <a:gd name="T63" fmla="*/ 1324 h 4736"/>
                <a:gd name="T64" fmla="*/ 3457 w 6424"/>
                <a:gd name="T65" fmla="*/ 250 h 4736"/>
                <a:gd name="T66" fmla="*/ 3992 w 6424"/>
                <a:gd name="T67" fmla="*/ 1411 h 4736"/>
                <a:gd name="T68" fmla="*/ 2432 w 6424"/>
                <a:gd name="T69" fmla="*/ 1411 h 4736"/>
                <a:gd name="T70" fmla="*/ 3212 w 6424"/>
                <a:gd name="T71" fmla="*/ 338 h 4736"/>
                <a:gd name="T72" fmla="*/ 3992 w 6424"/>
                <a:gd name="T73" fmla="*/ 1411 h 4736"/>
                <a:gd name="T74" fmla="*/ 2187 w 6424"/>
                <a:gd name="T75" fmla="*/ 1324 h 4736"/>
                <a:gd name="T76" fmla="*/ 1407 w 6424"/>
                <a:gd name="T77" fmla="*/ 250 h 4736"/>
                <a:gd name="T78" fmla="*/ 2967 w 6424"/>
                <a:gd name="T79" fmla="*/ 250 h 4736"/>
                <a:gd name="T80" fmla="*/ 2187 w 6424"/>
                <a:gd name="T81" fmla="*/ 1324 h 4736"/>
                <a:gd name="T82" fmla="*/ 2097 w 6424"/>
                <a:gd name="T83" fmla="*/ 1661 h 4736"/>
                <a:gd name="T84" fmla="*/ 2926 w 6424"/>
                <a:gd name="T85" fmla="*/ 4149 h 4736"/>
                <a:gd name="T86" fmla="*/ 439 w 6424"/>
                <a:gd name="T87" fmla="*/ 1661 h 4736"/>
                <a:gd name="T88" fmla="*/ 2097 w 6424"/>
                <a:gd name="T89" fmla="*/ 1661 h 4736"/>
                <a:gd name="T90" fmla="*/ 2360 w 6424"/>
                <a:gd name="T91" fmla="*/ 1661 h 4736"/>
                <a:gd name="T92" fmla="*/ 4064 w 6424"/>
                <a:gd name="T93" fmla="*/ 1661 h 4736"/>
                <a:gd name="T94" fmla="*/ 3212 w 6424"/>
                <a:gd name="T95" fmla="*/ 4216 h 4736"/>
                <a:gd name="T96" fmla="*/ 2360 w 6424"/>
                <a:gd name="T97" fmla="*/ 1661 h 4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24" h="4736">
                  <a:moveTo>
                    <a:pt x="6388" y="1463"/>
                  </a:moveTo>
                  <a:lnTo>
                    <a:pt x="5363" y="52"/>
                  </a:lnTo>
                  <a:cubicBezTo>
                    <a:pt x="5340" y="19"/>
                    <a:pt x="5302" y="0"/>
                    <a:pt x="5262" y="0"/>
                  </a:cubicBezTo>
                  <a:lnTo>
                    <a:pt x="1162" y="0"/>
                  </a:lnTo>
                  <a:cubicBezTo>
                    <a:pt x="1122" y="0"/>
                    <a:pt x="1084" y="19"/>
                    <a:pt x="1061" y="52"/>
                  </a:cubicBezTo>
                  <a:lnTo>
                    <a:pt x="36" y="1463"/>
                  </a:lnTo>
                  <a:cubicBezTo>
                    <a:pt x="0" y="1513"/>
                    <a:pt x="5" y="1581"/>
                    <a:pt x="49" y="1625"/>
                  </a:cubicBezTo>
                  <a:lnTo>
                    <a:pt x="3124" y="4700"/>
                  </a:lnTo>
                  <a:cubicBezTo>
                    <a:pt x="3147" y="4723"/>
                    <a:pt x="3179" y="4736"/>
                    <a:pt x="3212" y="4736"/>
                  </a:cubicBezTo>
                  <a:cubicBezTo>
                    <a:pt x="3245" y="4736"/>
                    <a:pt x="3277" y="4723"/>
                    <a:pt x="3300" y="4700"/>
                  </a:cubicBezTo>
                  <a:lnTo>
                    <a:pt x="4440" y="3560"/>
                  </a:lnTo>
                  <a:cubicBezTo>
                    <a:pt x="4489" y="3511"/>
                    <a:pt x="4489" y="3432"/>
                    <a:pt x="4440" y="3383"/>
                  </a:cubicBezTo>
                  <a:cubicBezTo>
                    <a:pt x="4391" y="3334"/>
                    <a:pt x="4312" y="3334"/>
                    <a:pt x="4264" y="3383"/>
                  </a:cubicBezTo>
                  <a:lnTo>
                    <a:pt x="3498" y="4149"/>
                  </a:lnTo>
                  <a:lnTo>
                    <a:pt x="4327" y="1661"/>
                  </a:lnTo>
                  <a:lnTo>
                    <a:pt x="5985" y="1661"/>
                  </a:lnTo>
                  <a:lnTo>
                    <a:pt x="5059" y="2588"/>
                  </a:lnTo>
                  <a:cubicBezTo>
                    <a:pt x="5010" y="2637"/>
                    <a:pt x="5010" y="2716"/>
                    <a:pt x="5059" y="2765"/>
                  </a:cubicBezTo>
                  <a:cubicBezTo>
                    <a:pt x="5108" y="2813"/>
                    <a:pt x="5187" y="2813"/>
                    <a:pt x="5236" y="2765"/>
                  </a:cubicBezTo>
                  <a:lnTo>
                    <a:pt x="6375" y="1625"/>
                  </a:lnTo>
                  <a:cubicBezTo>
                    <a:pt x="6419" y="1581"/>
                    <a:pt x="6424" y="1513"/>
                    <a:pt x="6388" y="1463"/>
                  </a:cubicBezTo>
                  <a:close/>
                  <a:moveTo>
                    <a:pt x="6042" y="1411"/>
                  </a:moveTo>
                  <a:lnTo>
                    <a:pt x="4482" y="1411"/>
                  </a:lnTo>
                  <a:lnTo>
                    <a:pt x="5262" y="338"/>
                  </a:lnTo>
                  <a:lnTo>
                    <a:pt x="6042" y="1411"/>
                  </a:lnTo>
                  <a:close/>
                  <a:moveTo>
                    <a:pt x="1162" y="338"/>
                  </a:moveTo>
                  <a:lnTo>
                    <a:pt x="1942" y="1411"/>
                  </a:lnTo>
                  <a:lnTo>
                    <a:pt x="382" y="1411"/>
                  </a:lnTo>
                  <a:lnTo>
                    <a:pt x="1162" y="338"/>
                  </a:lnTo>
                  <a:close/>
                  <a:moveTo>
                    <a:pt x="3457" y="250"/>
                  </a:moveTo>
                  <a:lnTo>
                    <a:pt x="5017" y="250"/>
                  </a:lnTo>
                  <a:lnTo>
                    <a:pt x="4237" y="1324"/>
                  </a:lnTo>
                  <a:lnTo>
                    <a:pt x="3457" y="250"/>
                  </a:lnTo>
                  <a:close/>
                  <a:moveTo>
                    <a:pt x="3992" y="1411"/>
                  </a:moveTo>
                  <a:lnTo>
                    <a:pt x="2432" y="1411"/>
                  </a:lnTo>
                  <a:lnTo>
                    <a:pt x="3212" y="338"/>
                  </a:lnTo>
                  <a:lnTo>
                    <a:pt x="3992" y="1411"/>
                  </a:lnTo>
                  <a:close/>
                  <a:moveTo>
                    <a:pt x="2187" y="1324"/>
                  </a:moveTo>
                  <a:lnTo>
                    <a:pt x="1407" y="250"/>
                  </a:lnTo>
                  <a:lnTo>
                    <a:pt x="2967" y="250"/>
                  </a:lnTo>
                  <a:lnTo>
                    <a:pt x="2187" y="1324"/>
                  </a:lnTo>
                  <a:close/>
                  <a:moveTo>
                    <a:pt x="2097" y="1661"/>
                  </a:moveTo>
                  <a:lnTo>
                    <a:pt x="2926" y="4149"/>
                  </a:lnTo>
                  <a:lnTo>
                    <a:pt x="439" y="1661"/>
                  </a:lnTo>
                  <a:lnTo>
                    <a:pt x="2097" y="1661"/>
                  </a:lnTo>
                  <a:close/>
                  <a:moveTo>
                    <a:pt x="2360" y="1661"/>
                  </a:moveTo>
                  <a:lnTo>
                    <a:pt x="4064" y="1661"/>
                  </a:lnTo>
                  <a:lnTo>
                    <a:pt x="3212" y="4216"/>
                  </a:lnTo>
                  <a:lnTo>
                    <a:pt x="2360" y="16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" name="Freeform 585"/>
            <p:cNvSpPr>
              <a:spLocks/>
            </p:cNvSpPr>
            <p:nvPr/>
          </p:nvSpPr>
          <p:spPr bwMode="auto">
            <a:xfrm>
              <a:off x="2538" y="618"/>
              <a:ext cx="120" cy="200"/>
            </a:xfrm>
            <a:custGeom>
              <a:avLst/>
              <a:gdLst>
                <a:gd name="T0" fmla="*/ 125 w 250"/>
                <a:gd name="T1" fmla="*/ 417 h 417"/>
                <a:gd name="T2" fmla="*/ 250 w 250"/>
                <a:gd name="T3" fmla="*/ 292 h 417"/>
                <a:gd name="T4" fmla="*/ 250 w 250"/>
                <a:gd name="T5" fmla="*/ 125 h 417"/>
                <a:gd name="T6" fmla="*/ 125 w 250"/>
                <a:gd name="T7" fmla="*/ 0 h 417"/>
                <a:gd name="T8" fmla="*/ 0 w 250"/>
                <a:gd name="T9" fmla="*/ 125 h 417"/>
                <a:gd name="T10" fmla="*/ 0 w 250"/>
                <a:gd name="T11" fmla="*/ 292 h 417"/>
                <a:gd name="T12" fmla="*/ 125 w 250"/>
                <a:gd name="T13" fmla="*/ 417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17">
                  <a:moveTo>
                    <a:pt x="125" y="417"/>
                  </a:moveTo>
                  <a:cubicBezTo>
                    <a:pt x="194" y="417"/>
                    <a:pt x="250" y="361"/>
                    <a:pt x="250" y="292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ubicBezTo>
                    <a:pt x="56" y="0"/>
                    <a:pt x="0" y="56"/>
                    <a:pt x="0" y="125"/>
                  </a:cubicBezTo>
                  <a:lnTo>
                    <a:pt x="0" y="292"/>
                  </a:lnTo>
                  <a:cubicBezTo>
                    <a:pt x="0" y="361"/>
                    <a:pt x="56" y="417"/>
                    <a:pt x="125" y="4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" name="Freeform 586"/>
            <p:cNvSpPr>
              <a:spLocks/>
            </p:cNvSpPr>
            <p:nvPr/>
          </p:nvSpPr>
          <p:spPr bwMode="auto">
            <a:xfrm>
              <a:off x="2538" y="1018"/>
              <a:ext cx="120" cy="200"/>
            </a:xfrm>
            <a:custGeom>
              <a:avLst/>
              <a:gdLst>
                <a:gd name="T0" fmla="*/ 125 w 250"/>
                <a:gd name="T1" fmla="*/ 417 h 417"/>
                <a:gd name="T2" fmla="*/ 250 w 250"/>
                <a:gd name="T3" fmla="*/ 292 h 417"/>
                <a:gd name="T4" fmla="*/ 250 w 250"/>
                <a:gd name="T5" fmla="*/ 125 h 417"/>
                <a:gd name="T6" fmla="*/ 125 w 250"/>
                <a:gd name="T7" fmla="*/ 0 h 417"/>
                <a:gd name="T8" fmla="*/ 0 w 250"/>
                <a:gd name="T9" fmla="*/ 125 h 417"/>
                <a:gd name="T10" fmla="*/ 0 w 250"/>
                <a:gd name="T11" fmla="*/ 292 h 417"/>
                <a:gd name="T12" fmla="*/ 125 w 250"/>
                <a:gd name="T13" fmla="*/ 417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17">
                  <a:moveTo>
                    <a:pt x="125" y="417"/>
                  </a:moveTo>
                  <a:cubicBezTo>
                    <a:pt x="194" y="417"/>
                    <a:pt x="250" y="361"/>
                    <a:pt x="250" y="292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ubicBezTo>
                    <a:pt x="56" y="0"/>
                    <a:pt x="0" y="56"/>
                    <a:pt x="0" y="125"/>
                  </a:cubicBezTo>
                  <a:lnTo>
                    <a:pt x="0" y="292"/>
                  </a:lnTo>
                  <a:cubicBezTo>
                    <a:pt x="0" y="361"/>
                    <a:pt x="56" y="417"/>
                    <a:pt x="125" y="4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" name="Freeform 587"/>
            <p:cNvSpPr>
              <a:spLocks/>
            </p:cNvSpPr>
            <p:nvPr/>
          </p:nvSpPr>
          <p:spPr bwMode="auto">
            <a:xfrm>
              <a:off x="2698" y="858"/>
              <a:ext cx="200" cy="120"/>
            </a:xfrm>
            <a:custGeom>
              <a:avLst/>
              <a:gdLst>
                <a:gd name="T0" fmla="*/ 125 w 417"/>
                <a:gd name="T1" fmla="*/ 250 h 250"/>
                <a:gd name="T2" fmla="*/ 292 w 417"/>
                <a:gd name="T3" fmla="*/ 250 h 250"/>
                <a:gd name="T4" fmla="*/ 417 w 417"/>
                <a:gd name="T5" fmla="*/ 125 h 250"/>
                <a:gd name="T6" fmla="*/ 292 w 417"/>
                <a:gd name="T7" fmla="*/ 0 h 250"/>
                <a:gd name="T8" fmla="*/ 125 w 417"/>
                <a:gd name="T9" fmla="*/ 0 h 250"/>
                <a:gd name="T10" fmla="*/ 0 w 417"/>
                <a:gd name="T11" fmla="*/ 125 h 250"/>
                <a:gd name="T12" fmla="*/ 125 w 417"/>
                <a:gd name="T13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7" h="250">
                  <a:moveTo>
                    <a:pt x="125" y="250"/>
                  </a:moveTo>
                  <a:lnTo>
                    <a:pt x="292" y="250"/>
                  </a:lnTo>
                  <a:cubicBezTo>
                    <a:pt x="361" y="250"/>
                    <a:pt x="417" y="194"/>
                    <a:pt x="417" y="125"/>
                  </a:cubicBezTo>
                  <a:cubicBezTo>
                    <a:pt x="417" y="56"/>
                    <a:pt x="361" y="0"/>
                    <a:pt x="292" y="0"/>
                  </a:cubicBez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" name="Freeform 588"/>
            <p:cNvSpPr>
              <a:spLocks/>
            </p:cNvSpPr>
            <p:nvPr/>
          </p:nvSpPr>
          <p:spPr bwMode="auto">
            <a:xfrm>
              <a:off x="2298" y="858"/>
              <a:ext cx="200" cy="120"/>
            </a:xfrm>
            <a:custGeom>
              <a:avLst/>
              <a:gdLst>
                <a:gd name="T0" fmla="*/ 125 w 417"/>
                <a:gd name="T1" fmla="*/ 250 h 250"/>
                <a:gd name="T2" fmla="*/ 292 w 417"/>
                <a:gd name="T3" fmla="*/ 250 h 250"/>
                <a:gd name="T4" fmla="*/ 417 w 417"/>
                <a:gd name="T5" fmla="*/ 125 h 250"/>
                <a:gd name="T6" fmla="*/ 292 w 417"/>
                <a:gd name="T7" fmla="*/ 0 h 250"/>
                <a:gd name="T8" fmla="*/ 125 w 417"/>
                <a:gd name="T9" fmla="*/ 0 h 250"/>
                <a:gd name="T10" fmla="*/ 0 w 417"/>
                <a:gd name="T11" fmla="*/ 125 h 250"/>
                <a:gd name="T12" fmla="*/ 125 w 417"/>
                <a:gd name="T13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7" h="250">
                  <a:moveTo>
                    <a:pt x="125" y="250"/>
                  </a:moveTo>
                  <a:lnTo>
                    <a:pt x="292" y="250"/>
                  </a:lnTo>
                  <a:cubicBezTo>
                    <a:pt x="361" y="250"/>
                    <a:pt x="417" y="194"/>
                    <a:pt x="417" y="125"/>
                  </a:cubicBezTo>
                  <a:cubicBezTo>
                    <a:pt x="417" y="56"/>
                    <a:pt x="361" y="0"/>
                    <a:pt x="292" y="0"/>
                  </a:cubicBez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6" name="Freeform 589"/>
            <p:cNvSpPr>
              <a:spLocks/>
            </p:cNvSpPr>
            <p:nvPr/>
          </p:nvSpPr>
          <p:spPr bwMode="auto">
            <a:xfrm>
              <a:off x="4926" y="3090"/>
              <a:ext cx="120" cy="200"/>
            </a:xfrm>
            <a:custGeom>
              <a:avLst/>
              <a:gdLst>
                <a:gd name="T0" fmla="*/ 125 w 250"/>
                <a:gd name="T1" fmla="*/ 0 h 417"/>
                <a:gd name="T2" fmla="*/ 0 w 250"/>
                <a:gd name="T3" fmla="*/ 125 h 417"/>
                <a:gd name="T4" fmla="*/ 0 w 250"/>
                <a:gd name="T5" fmla="*/ 292 h 417"/>
                <a:gd name="T6" fmla="*/ 125 w 250"/>
                <a:gd name="T7" fmla="*/ 417 h 417"/>
                <a:gd name="T8" fmla="*/ 250 w 250"/>
                <a:gd name="T9" fmla="*/ 292 h 417"/>
                <a:gd name="T10" fmla="*/ 250 w 250"/>
                <a:gd name="T11" fmla="*/ 125 h 417"/>
                <a:gd name="T12" fmla="*/ 125 w 250"/>
                <a:gd name="T13" fmla="*/ 0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17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292"/>
                  </a:lnTo>
                  <a:cubicBezTo>
                    <a:pt x="0" y="361"/>
                    <a:pt x="56" y="417"/>
                    <a:pt x="125" y="417"/>
                  </a:cubicBezTo>
                  <a:cubicBezTo>
                    <a:pt x="194" y="417"/>
                    <a:pt x="250" y="361"/>
                    <a:pt x="250" y="292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7" name="Freeform 590"/>
            <p:cNvSpPr>
              <a:spLocks/>
            </p:cNvSpPr>
            <p:nvPr/>
          </p:nvSpPr>
          <p:spPr bwMode="auto">
            <a:xfrm>
              <a:off x="4926" y="3490"/>
              <a:ext cx="120" cy="200"/>
            </a:xfrm>
            <a:custGeom>
              <a:avLst/>
              <a:gdLst>
                <a:gd name="T0" fmla="*/ 125 w 250"/>
                <a:gd name="T1" fmla="*/ 0 h 417"/>
                <a:gd name="T2" fmla="*/ 0 w 250"/>
                <a:gd name="T3" fmla="*/ 125 h 417"/>
                <a:gd name="T4" fmla="*/ 0 w 250"/>
                <a:gd name="T5" fmla="*/ 292 h 417"/>
                <a:gd name="T6" fmla="*/ 125 w 250"/>
                <a:gd name="T7" fmla="*/ 417 h 417"/>
                <a:gd name="T8" fmla="*/ 250 w 250"/>
                <a:gd name="T9" fmla="*/ 292 h 417"/>
                <a:gd name="T10" fmla="*/ 250 w 250"/>
                <a:gd name="T11" fmla="*/ 125 h 417"/>
                <a:gd name="T12" fmla="*/ 125 w 250"/>
                <a:gd name="T13" fmla="*/ 0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17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292"/>
                  </a:lnTo>
                  <a:cubicBezTo>
                    <a:pt x="0" y="361"/>
                    <a:pt x="56" y="417"/>
                    <a:pt x="125" y="417"/>
                  </a:cubicBezTo>
                  <a:cubicBezTo>
                    <a:pt x="194" y="417"/>
                    <a:pt x="250" y="361"/>
                    <a:pt x="250" y="292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8" name="Freeform 591"/>
            <p:cNvSpPr>
              <a:spLocks/>
            </p:cNvSpPr>
            <p:nvPr/>
          </p:nvSpPr>
          <p:spPr bwMode="auto">
            <a:xfrm>
              <a:off x="5086" y="3330"/>
              <a:ext cx="200" cy="120"/>
            </a:xfrm>
            <a:custGeom>
              <a:avLst/>
              <a:gdLst>
                <a:gd name="T0" fmla="*/ 292 w 417"/>
                <a:gd name="T1" fmla="*/ 0 h 250"/>
                <a:gd name="T2" fmla="*/ 125 w 417"/>
                <a:gd name="T3" fmla="*/ 0 h 250"/>
                <a:gd name="T4" fmla="*/ 0 w 417"/>
                <a:gd name="T5" fmla="*/ 125 h 250"/>
                <a:gd name="T6" fmla="*/ 125 w 417"/>
                <a:gd name="T7" fmla="*/ 250 h 250"/>
                <a:gd name="T8" fmla="*/ 292 w 417"/>
                <a:gd name="T9" fmla="*/ 250 h 250"/>
                <a:gd name="T10" fmla="*/ 417 w 417"/>
                <a:gd name="T11" fmla="*/ 125 h 250"/>
                <a:gd name="T12" fmla="*/ 292 w 417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7" h="250">
                  <a:moveTo>
                    <a:pt x="292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292" y="250"/>
                  </a:lnTo>
                  <a:cubicBezTo>
                    <a:pt x="361" y="250"/>
                    <a:pt x="417" y="194"/>
                    <a:pt x="417" y="125"/>
                  </a:cubicBezTo>
                  <a:cubicBezTo>
                    <a:pt x="417" y="56"/>
                    <a:pt x="361" y="0"/>
                    <a:pt x="29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9" name="Freeform 592"/>
            <p:cNvSpPr>
              <a:spLocks/>
            </p:cNvSpPr>
            <p:nvPr/>
          </p:nvSpPr>
          <p:spPr bwMode="auto">
            <a:xfrm>
              <a:off x="4686" y="3330"/>
              <a:ext cx="200" cy="120"/>
            </a:xfrm>
            <a:custGeom>
              <a:avLst/>
              <a:gdLst>
                <a:gd name="T0" fmla="*/ 292 w 417"/>
                <a:gd name="T1" fmla="*/ 0 h 250"/>
                <a:gd name="T2" fmla="*/ 125 w 417"/>
                <a:gd name="T3" fmla="*/ 0 h 250"/>
                <a:gd name="T4" fmla="*/ 0 w 417"/>
                <a:gd name="T5" fmla="*/ 125 h 250"/>
                <a:gd name="T6" fmla="*/ 125 w 417"/>
                <a:gd name="T7" fmla="*/ 250 h 250"/>
                <a:gd name="T8" fmla="*/ 292 w 417"/>
                <a:gd name="T9" fmla="*/ 250 h 250"/>
                <a:gd name="T10" fmla="*/ 417 w 417"/>
                <a:gd name="T11" fmla="*/ 125 h 250"/>
                <a:gd name="T12" fmla="*/ 292 w 417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7" h="250">
                  <a:moveTo>
                    <a:pt x="292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292" y="250"/>
                  </a:lnTo>
                  <a:cubicBezTo>
                    <a:pt x="361" y="250"/>
                    <a:pt x="417" y="194"/>
                    <a:pt x="417" y="125"/>
                  </a:cubicBezTo>
                  <a:cubicBezTo>
                    <a:pt x="417" y="56"/>
                    <a:pt x="361" y="0"/>
                    <a:pt x="29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1" name="Freeform 593"/>
            <p:cNvSpPr>
              <a:spLocks/>
            </p:cNvSpPr>
            <p:nvPr/>
          </p:nvSpPr>
          <p:spPr bwMode="auto">
            <a:xfrm>
              <a:off x="4512" y="2622"/>
              <a:ext cx="120" cy="120"/>
            </a:xfrm>
            <a:custGeom>
              <a:avLst/>
              <a:gdLst>
                <a:gd name="T0" fmla="*/ 125 w 250"/>
                <a:gd name="T1" fmla="*/ 0 h 250"/>
                <a:gd name="T2" fmla="*/ 36 w 250"/>
                <a:gd name="T3" fmla="*/ 37 h 250"/>
                <a:gd name="T4" fmla="*/ 0 w 250"/>
                <a:gd name="T5" fmla="*/ 125 h 250"/>
                <a:gd name="T6" fmla="*/ 36 w 250"/>
                <a:gd name="T7" fmla="*/ 213 h 250"/>
                <a:gd name="T8" fmla="*/ 125 w 250"/>
                <a:gd name="T9" fmla="*/ 250 h 250"/>
                <a:gd name="T10" fmla="*/ 213 w 250"/>
                <a:gd name="T11" fmla="*/ 213 h 250"/>
                <a:gd name="T12" fmla="*/ 250 w 250"/>
                <a:gd name="T13" fmla="*/ 125 h 250"/>
                <a:gd name="T14" fmla="*/ 213 w 250"/>
                <a:gd name="T15" fmla="*/ 37 h 250"/>
                <a:gd name="T16" fmla="*/ 125 w 250"/>
                <a:gd name="T1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125" y="0"/>
                  </a:moveTo>
                  <a:cubicBezTo>
                    <a:pt x="92" y="0"/>
                    <a:pt x="59" y="13"/>
                    <a:pt x="36" y="37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59" y="237"/>
                    <a:pt x="92" y="250"/>
                    <a:pt x="125" y="250"/>
                  </a:cubicBezTo>
                  <a:cubicBezTo>
                    <a:pt x="157" y="250"/>
                    <a:pt x="190" y="237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7"/>
                  </a:cubicBezTo>
                  <a:cubicBezTo>
                    <a:pt x="190" y="13"/>
                    <a:pt x="157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3" name="Group 596"/>
          <p:cNvGrpSpPr>
            <a:grpSpLocks noChangeAspect="1"/>
          </p:cNvGrpSpPr>
          <p:nvPr/>
        </p:nvGrpSpPr>
        <p:grpSpPr bwMode="auto">
          <a:xfrm>
            <a:off x="7235831" y="2328865"/>
            <a:ext cx="576263" cy="620713"/>
            <a:chOff x="4558" y="1467"/>
            <a:chExt cx="363" cy="391"/>
          </a:xfrm>
          <a:gradFill>
            <a:gsLst>
              <a:gs pos="0">
                <a:srgbClr val="DF6F51"/>
              </a:gs>
              <a:gs pos="100000">
                <a:srgbClr val="FEC232"/>
              </a:gs>
            </a:gsLst>
            <a:lin ang="12600000" scaled="0"/>
          </a:gradFill>
        </p:grpSpPr>
        <p:sp>
          <p:nvSpPr>
            <p:cNvPr id="536" name="Freeform 597"/>
            <p:cNvSpPr>
              <a:spLocks noEditPoints="1"/>
            </p:cNvSpPr>
            <p:nvPr/>
          </p:nvSpPr>
          <p:spPr bwMode="auto">
            <a:xfrm>
              <a:off x="4558" y="1467"/>
              <a:ext cx="363" cy="391"/>
            </a:xfrm>
            <a:custGeom>
              <a:avLst/>
              <a:gdLst>
                <a:gd name="T0" fmla="*/ 5221 w 5954"/>
                <a:gd name="T1" fmla="*/ 0 h 6400"/>
                <a:gd name="T2" fmla="*/ 1779 w 5954"/>
                <a:gd name="T3" fmla="*/ 0 h 6400"/>
                <a:gd name="T4" fmla="*/ 1046 w 5954"/>
                <a:gd name="T5" fmla="*/ 733 h 6400"/>
                <a:gd name="T6" fmla="*/ 1046 w 5954"/>
                <a:gd name="T7" fmla="*/ 4336 h 6400"/>
                <a:gd name="T8" fmla="*/ 88 w 5954"/>
                <a:gd name="T9" fmla="*/ 4336 h 6400"/>
                <a:gd name="T10" fmla="*/ 0 w 5954"/>
                <a:gd name="T11" fmla="*/ 4424 h 6400"/>
                <a:gd name="T12" fmla="*/ 0 w 5954"/>
                <a:gd name="T13" fmla="*/ 5668 h 6400"/>
                <a:gd name="T14" fmla="*/ 733 w 5954"/>
                <a:gd name="T15" fmla="*/ 6400 h 6400"/>
                <a:gd name="T16" fmla="*/ 3930 w 5954"/>
                <a:gd name="T17" fmla="*/ 6400 h 6400"/>
                <a:gd name="T18" fmla="*/ 4663 w 5954"/>
                <a:gd name="T19" fmla="*/ 5667 h 6400"/>
                <a:gd name="T20" fmla="*/ 4663 w 5954"/>
                <a:gd name="T21" fmla="*/ 1354 h 6400"/>
                <a:gd name="T22" fmla="*/ 5866 w 5954"/>
                <a:gd name="T23" fmla="*/ 1354 h 6400"/>
                <a:gd name="T24" fmla="*/ 5954 w 5954"/>
                <a:gd name="T25" fmla="*/ 1267 h 6400"/>
                <a:gd name="T26" fmla="*/ 5954 w 5954"/>
                <a:gd name="T27" fmla="*/ 733 h 6400"/>
                <a:gd name="T28" fmla="*/ 5221 w 5954"/>
                <a:gd name="T29" fmla="*/ 0 h 6400"/>
                <a:gd name="T30" fmla="*/ 3455 w 5954"/>
                <a:gd name="T31" fmla="*/ 6225 h 6400"/>
                <a:gd name="T32" fmla="*/ 733 w 5954"/>
                <a:gd name="T33" fmla="*/ 6225 h 6400"/>
                <a:gd name="T34" fmla="*/ 175 w 5954"/>
                <a:gd name="T35" fmla="*/ 5667 h 6400"/>
                <a:gd name="T36" fmla="*/ 175 w 5954"/>
                <a:gd name="T37" fmla="*/ 4511 h 6400"/>
                <a:gd name="T38" fmla="*/ 3197 w 5954"/>
                <a:gd name="T39" fmla="*/ 4511 h 6400"/>
                <a:gd name="T40" fmla="*/ 3197 w 5954"/>
                <a:gd name="T41" fmla="*/ 5668 h 6400"/>
                <a:gd name="T42" fmla="*/ 3455 w 5954"/>
                <a:gd name="T43" fmla="*/ 6225 h 6400"/>
                <a:gd name="T44" fmla="*/ 4488 w 5954"/>
                <a:gd name="T45" fmla="*/ 5667 h 6400"/>
                <a:gd name="T46" fmla="*/ 3930 w 5954"/>
                <a:gd name="T47" fmla="*/ 6220 h 6400"/>
                <a:gd name="T48" fmla="*/ 3372 w 5954"/>
                <a:gd name="T49" fmla="*/ 5667 h 6400"/>
                <a:gd name="T50" fmla="*/ 3372 w 5954"/>
                <a:gd name="T51" fmla="*/ 4423 h 6400"/>
                <a:gd name="T52" fmla="*/ 3285 w 5954"/>
                <a:gd name="T53" fmla="*/ 4336 h 6400"/>
                <a:gd name="T54" fmla="*/ 1221 w 5954"/>
                <a:gd name="T55" fmla="*/ 4336 h 6400"/>
                <a:gd name="T56" fmla="*/ 1221 w 5954"/>
                <a:gd name="T57" fmla="*/ 733 h 6400"/>
                <a:gd name="T58" fmla="*/ 1779 w 5954"/>
                <a:gd name="T59" fmla="*/ 175 h 6400"/>
                <a:gd name="T60" fmla="*/ 4746 w 5954"/>
                <a:gd name="T61" fmla="*/ 175 h 6400"/>
                <a:gd name="T62" fmla="*/ 4488 w 5954"/>
                <a:gd name="T63" fmla="*/ 733 h 6400"/>
                <a:gd name="T64" fmla="*/ 4488 w 5954"/>
                <a:gd name="T65" fmla="*/ 5667 h 6400"/>
                <a:gd name="T66" fmla="*/ 5779 w 5954"/>
                <a:gd name="T67" fmla="*/ 1179 h 6400"/>
                <a:gd name="T68" fmla="*/ 4663 w 5954"/>
                <a:gd name="T69" fmla="*/ 1179 h 6400"/>
                <a:gd name="T70" fmla="*/ 4663 w 5954"/>
                <a:gd name="T71" fmla="*/ 733 h 6400"/>
                <a:gd name="T72" fmla="*/ 5221 w 5954"/>
                <a:gd name="T73" fmla="*/ 170 h 6400"/>
                <a:gd name="T74" fmla="*/ 5779 w 5954"/>
                <a:gd name="T75" fmla="*/ 733 h 6400"/>
                <a:gd name="T76" fmla="*/ 5779 w 5954"/>
                <a:gd name="T77" fmla="*/ 1179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954" h="6400">
                  <a:moveTo>
                    <a:pt x="5221" y="0"/>
                  </a:moveTo>
                  <a:lnTo>
                    <a:pt x="1779" y="0"/>
                  </a:lnTo>
                  <a:cubicBezTo>
                    <a:pt x="1374" y="1"/>
                    <a:pt x="1046" y="328"/>
                    <a:pt x="1046" y="733"/>
                  </a:cubicBezTo>
                  <a:lnTo>
                    <a:pt x="1046" y="4336"/>
                  </a:lnTo>
                  <a:lnTo>
                    <a:pt x="88" y="4336"/>
                  </a:lnTo>
                  <a:cubicBezTo>
                    <a:pt x="39" y="4336"/>
                    <a:pt x="0" y="4375"/>
                    <a:pt x="0" y="4424"/>
                  </a:cubicBezTo>
                  <a:lnTo>
                    <a:pt x="0" y="5668"/>
                  </a:lnTo>
                  <a:cubicBezTo>
                    <a:pt x="1" y="6072"/>
                    <a:pt x="329" y="6400"/>
                    <a:pt x="733" y="6400"/>
                  </a:cubicBezTo>
                  <a:lnTo>
                    <a:pt x="3930" y="6400"/>
                  </a:lnTo>
                  <a:cubicBezTo>
                    <a:pt x="4335" y="6400"/>
                    <a:pt x="4663" y="6072"/>
                    <a:pt x="4663" y="5667"/>
                  </a:cubicBezTo>
                  <a:lnTo>
                    <a:pt x="4663" y="1354"/>
                  </a:lnTo>
                  <a:lnTo>
                    <a:pt x="5866" y="1354"/>
                  </a:lnTo>
                  <a:cubicBezTo>
                    <a:pt x="5915" y="1354"/>
                    <a:pt x="5954" y="1315"/>
                    <a:pt x="5954" y="1267"/>
                  </a:cubicBezTo>
                  <a:lnTo>
                    <a:pt x="5954" y="733"/>
                  </a:lnTo>
                  <a:cubicBezTo>
                    <a:pt x="5953" y="328"/>
                    <a:pt x="5625" y="1"/>
                    <a:pt x="5221" y="0"/>
                  </a:cubicBezTo>
                  <a:close/>
                  <a:moveTo>
                    <a:pt x="3455" y="6225"/>
                  </a:moveTo>
                  <a:lnTo>
                    <a:pt x="733" y="6225"/>
                  </a:lnTo>
                  <a:cubicBezTo>
                    <a:pt x="425" y="6225"/>
                    <a:pt x="176" y="5975"/>
                    <a:pt x="175" y="5667"/>
                  </a:cubicBezTo>
                  <a:lnTo>
                    <a:pt x="175" y="4511"/>
                  </a:lnTo>
                  <a:lnTo>
                    <a:pt x="3197" y="4511"/>
                  </a:lnTo>
                  <a:lnTo>
                    <a:pt x="3197" y="5668"/>
                  </a:lnTo>
                  <a:cubicBezTo>
                    <a:pt x="3199" y="5882"/>
                    <a:pt x="3293" y="6085"/>
                    <a:pt x="3455" y="6225"/>
                  </a:cubicBezTo>
                  <a:close/>
                  <a:moveTo>
                    <a:pt x="4488" y="5667"/>
                  </a:moveTo>
                  <a:cubicBezTo>
                    <a:pt x="4485" y="5973"/>
                    <a:pt x="4236" y="6220"/>
                    <a:pt x="3930" y="6220"/>
                  </a:cubicBezTo>
                  <a:cubicBezTo>
                    <a:pt x="3624" y="6220"/>
                    <a:pt x="3375" y="5973"/>
                    <a:pt x="3372" y="5667"/>
                  </a:cubicBezTo>
                  <a:lnTo>
                    <a:pt x="3372" y="4423"/>
                  </a:lnTo>
                  <a:cubicBezTo>
                    <a:pt x="3372" y="4375"/>
                    <a:pt x="3333" y="4336"/>
                    <a:pt x="3285" y="4336"/>
                  </a:cubicBezTo>
                  <a:lnTo>
                    <a:pt x="1221" y="4336"/>
                  </a:lnTo>
                  <a:lnTo>
                    <a:pt x="1221" y="733"/>
                  </a:lnTo>
                  <a:cubicBezTo>
                    <a:pt x="1221" y="425"/>
                    <a:pt x="1471" y="176"/>
                    <a:pt x="1779" y="175"/>
                  </a:cubicBezTo>
                  <a:lnTo>
                    <a:pt x="4746" y="175"/>
                  </a:lnTo>
                  <a:cubicBezTo>
                    <a:pt x="4584" y="315"/>
                    <a:pt x="4489" y="518"/>
                    <a:pt x="4488" y="733"/>
                  </a:cubicBezTo>
                  <a:lnTo>
                    <a:pt x="4488" y="5667"/>
                  </a:lnTo>
                  <a:close/>
                  <a:moveTo>
                    <a:pt x="5779" y="1179"/>
                  </a:moveTo>
                  <a:lnTo>
                    <a:pt x="4663" y="1179"/>
                  </a:lnTo>
                  <a:lnTo>
                    <a:pt x="4663" y="733"/>
                  </a:lnTo>
                  <a:cubicBezTo>
                    <a:pt x="4660" y="423"/>
                    <a:pt x="4911" y="170"/>
                    <a:pt x="5221" y="170"/>
                  </a:cubicBezTo>
                  <a:cubicBezTo>
                    <a:pt x="5531" y="170"/>
                    <a:pt x="5782" y="423"/>
                    <a:pt x="5779" y="733"/>
                  </a:cubicBezTo>
                  <a:lnTo>
                    <a:pt x="5779" y="11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7" name="Freeform 598"/>
            <p:cNvSpPr>
              <a:spLocks/>
            </p:cNvSpPr>
            <p:nvPr/>
          </p:nvSpPr>
          <p:spPr bwMode="auto">
            <a:xfrm>
              <a:off x="4652" y="1498"/>
              <a:ext cx="160" cy="10"/>
            </a:xfrm>
            <a:custGeom>
              <a:avLst/>
              <a:gdLst>
                <a:gd name="T0" fmla="*/ 2530 w 2617"/>
                <a:gd name="T1" fmla="*/ 0 h 175"/>
                <a:gd name="T2" fmla="*/ 87 w 2617"/>
                <a:gd name="T3" fmla="*/ 0 h 175"/>
                <a:gd name="T4" fmla="*/ 0 w 2617"/>
                <a:gd name="T5" fmla="*/ 88 h 175"/>
                <a:gd name="T6" fmla="*/ 87 w 2617"/>
                <a:gd name="T7" fmla="*/ 175 h 175"/>
                <a:gd name="T8" fmla="*/ 2530 w 2617"/>
                <a:gd name="T9" fmla="*/ 175 h 175"/>
                <a:gd name="T10" fmla="*/ 2617 w 2617"/>
                <a:gd name="T11" fmla="*/ 88 h 175"/>
                <a:gd name="T12" fmla="*/ 2530 w 2617"/>
                <a:gd name="T13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17" h="175">
                  <a:moveTo>
                    <a:pt x="2530" y="0"/>
                  </a:moveTo>
                  <a:lnTo>
                    <a:pt x="87" y="0"/>
                  </a:lnTo>
                  <a:cubicBezTo>
                    <a:pt x="39" y="0"/>
                    <a:pt x="0" y="39"/>
                    <a:pt x="0" y="88"/>
                  </a:cubicBezTo>
                  <a:cubicBezTo>
                    <a:pt x="0" y="136"/>
                    <a:pt x="39" y="175"/>
                    <a:pt x="87" y="175"/>
                  </a:cubicBezTo>
                  <a:lnTo>
                    <a:pt x="2530" y="175"/>
                  </a:lnTo>
                  <a:cubicBezTo>
                    <a:pt x="2578" y="175"/>
                    <a:pt x="2617" y="136"/>
                    <a:pt x="2617" y="88"/>
                  </a:cubicBezTo>
                  <a:cubicBezTo>
                    <a:pt x="2617" y="39"/>
                    <a:pt x="2578" y="0"/>
                    <a:pt x="25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8" name="Freeform 599"/>
            <p:cNvSpPr>
              <a:spLocks/>
            </p:cNvSpPr>
            <p:nvPr/>
          </p:nvSpPr>
          <p:spPr bwMode="auto">
            <a:xfrm>
              <a:off x="4675" y="1523"/>
              <a:ext cx="113" cy="11"/>
            </a:xfrm>
            <a:custGeom>
              <a:avLst/>
              <a:gdLst>
                <a:gd name="T0" fmla="*/ 1758 w 1845"/>
                <a:gd name="T1" fmla="*/ 175 h 175"/>
                <a:gd name="T2" fmla="*/ 1845 w 1845"/>
                <a:gd name="T3" fmla="*/ 88 h 175"/>
                <a:gd name="T4" fmla="*/ 1758 w 1845"/>
                <a:gd name="T5" fmla="*/ 0 h 175"/>
                <a:gd name="T6" fmla="*/ 88 w 1845"/>
                <a:gd name="T7" fmla="*/ 0 h 175"/>
                <a:gd name="T8" fmla="*/ 0 w 1845"/>
                <a:gd name="T9" fmla="*/ 88 h 175"/>
                <a:gd name="T10" fmla="*/ 88 w 1845"/>
                <a:gd name="T11" fmla="*/ 175 h 175"/>
                <a:gd name="T12" fmla="*/ 1758 w 1845"/>
                <a:gd name="T13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5" h="175">
                  <a:moveTo>
                    <a:pt x="1758" y="175"/>
                  </a:moveTo>
                  <a:cubicBezTo>
                    <a:pt x="1806" y="175"/>
                    <a:pt x="1845" y="136"/>
                    <a:pt x="1845" y="88"/>
                  </a:cubicBezTo>
                  <a:cubicBezTo>
                    <a:pt x="1845" y="39"/>
                    <a:pt x="1806" y="0"/>
                    <a:pt x="1758" y="0"/>
                  </a:cubicBezTo>
                  <a:lnTo>
                    <a:pt x="88" y="0"/>
                  </a:lnTo>
                  <a:cubicBezTo>
                    <a:pt x="39" y="0"/>
                    <a:pt x="0" y="39"/>
                    <a:pt x="0" y="88"/>
                  </a:cubicBezTo>
                  <a:cubicBezTo>
                    <a:pt x="0" y="136"/>
                    <a:pt x="39" y="175"/>
                    <a:pt x="88" y="175"/>
                  </a:cubicBezTo>
                  <a:lnTo>
                    <a:pt x="1758" y="1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9" name="Freeform 600"/>
            <p:cNvSpPr>
              <a:spLocks/>
            </p:cNvSpPr>
            <p:nvPr/>
          </p:nvSpPr>
          <p:spPr bwMode="auto">
            <a:xfrm>
              <a:off x="4652" y="1549"/>
              <a:ext cx="160" cy="10"/>
            </a:xfrm>
            <a:custGeom>
              <a:avLst/>
              <a:gdLst>
                <a:gd name="T0" fmla="*/ 2530 w 2617"/>
                <a:gd name="T1" fmla="*/ 0 h 175"/>
                <a:gd name="T2" fmla="*/ 87 w 2617"/>
                <a:gd name="T3" fmla="*/ 0 h 175"/>
                <a:gd name="T4" fmla="*/ 0 w 2617"/>
                <a:gd name="T5" fmla="*/ 88 h 175"/>
                <a:gd name="T6" fmla="*/ 87 w 2617"/>
                <a:gd name="T7" fmla="*/ 175 h 175"/>
                <a:gd name="T8" fmla="*/ 2530 w 2617"/>
                <a:gd name="T9" fmla="*/ 175 h 175"/>
                <a:gd name="T10" fmla="*/ 2617 w 2617"/>
                <a:gd name="T11" fmla="*/ 88 h 175"/>
                <a:gd name="T12" fmla="*/ 2530 w 2617"/>
                <a:gd name="T13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17" h="175">
                  <a:moveTo>
                    <a:pt x="2530" y="0"/>
                  </a:moveTo>
                  <a:lnTo>
                    <a:pt x="87" y="0"/>
                  </a:lnTo>
                  <a:cubicBezTo>
                    <a:pt x="39" y="0"/>
                    <a:pt x="0" y="39"/>
                    <a:pt x="0" y="88"/>
                  </a:cubicBezTo>
                  <a:cubicBezTo>
                    <a:pt x="0" y="136"/>
                    <a:pt x="39" y="175"/>
                    <a:pt x="87" y="175"/>
                  </a:cubicBezTo>
                  <a:lnTo>
                    <a:pt x="2530" y="175"/>
                  </a:lnTo>
                  <a:cubicBezTo>
                    <a:pt x="2578" y="175"/>
                    <a:pt x="2617" y="136"/>
                    <a:pt x="2617" y="88"/>
                  </a:cubicBezTo>
                  <a:cubicBezTo>
                    <a:pt x="2617" y="39"/>
                    <a:pt x="2578" y="0"/>
                    <a:pt x="25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0" name="Freeform 601"/>
            <p:cNvSpPr>
              <a:spLocks/>
            </p:cNvSpPr>
            <p:nvPr/>
          </p:nvSpPr>
          <p:spPr bwMode="auto">
            <a:xfrm>
              <a:off x="4675" y="1574"/>
              <a:ext cx="113" cy="11"/>
            </a:xfrm>
            <a:custGeom>
              <a:avLst/>
              <a:gdLst>
                <a:gd name="T0" fmla="*/ 1758 w 1845"/>
                <a:gd name="T1" fmla="*/ 175 h 175"/>
                <a:gd name="T2" fmla="*/ 1845 w 1845"/>
                <a:gd name="T3" fmla="*/ 88 h 175"/>
                <a:gd name="T4" fmla="*/ 1758 w 1845"/>
                <a:gd name="T5" fmla="*/ 0 h 175"/>
                <a:gd name="T6" fmla="*/ 88 w 1845"/>
                <a:gd name="T7" fmla="*/ 0 h 175"/>
                <a:gd name="T8" fmla="*/ 0 w 1845"/>
                <a:gd name="T9" fmla="*/ 88 h 175"/>
                <a:gd name="T10" fmla="*/ 88 w 1845"/>
                <a:gd name="T11" fmla="*/ 175 h 175"/>
                <a:gd name="T12" fmla="*/ 1758 w 1845"/>
                <a:gd name="T13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5" h="175">
                  <a:moveTo>
                    <a:pt x="1758" y="175"/>
                  </a:moveTo>
                  <a:cubicBezTo>
                    <a:pt x="1806" y="175"/>
                    <a:pt x="1845" y="136"/>
                    <a:pt x="1845" y="88"/>
                  </a:cubicBezTo>
                  <a:cubicBezTo>
                    <a:pt x="1845" y="39"/>
                    <a:pt x="1806" y="0"/>
                    <a:pt x="1758" y="0"/>
                  </a:cubicBezTo>
                  <a:lnTo>
                    <a:pt x="88" y="0"/>
                  </a:lnTo>
                  <a:cubicBezTo>
                    <a:pt x="39" y="0"/>
                    <a:pt x="0" y="39"/>
                    <a:pt x="0" y="88"/>
                  </a:cubicBezTo>
                  <a:cubicBezTo>
                    <a:pt x="0" y="136"/>
                    <a:pt x="39" y="175"/>
                    <a:pt x="88" y="175"/>
                  </a:cubicBezTo>
                  <a:lnTo>
                    <a:pt x="1758" y="1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1" name="Freeform 602"/>
            <p:cNvSpPr>
              <a:spLocks/>
            </p:cNvSpPr>
            <p:nvPr/>
          </p:nvSpPr>
          <p:spPr bwMode="auto">
            <a:xfrm>
              <a:off x="4652" y="1600"/>
              <a:ext cx="160" cy="10"/>
            </a:xfrm>
            <a:custGeom>
              <a:avLst/>
              <a:gdLst>
                <a:gd name="T0" fmla="*/ 2530 w 2617"/>
                <a:gd name="T1" fmla="*/ 0 h 175"/>
                <a:gd name="T2" fmla="*/ 87 w 2617"/>
                <a:gd name="T3" fmla="*/ 0 h 175"/>
                <a:gd name="T4" fmla="*/ 0 w 2617"/>
                <a:gd name="T5" fmla="*/ 87 h 175"/>
                <a:gd name="T6" fmla="*/ 87 w 2617"/>
                <a:gd name="T7" fmla="*/ 175 h 175"/>
                <a:gd name="T8" fmla="*/ 2530 w 2617"/>
                <a:gd name="T9" fmla="*/ 175 h 175"/>
                <a:gd name="T10" fmla="*/ 2617 w 2617"/>
                <a:gd name="T11" fmla="*/ 87 h 175"/>
                <a:gd name="T12" fmla="*/ 2530 w 2617"/>
                <a:gd name="T13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17" h="175">
                  <a:moveTo>
                    <a:pt x="2530" y="0"/>
                  </a:moveTo>
                  <a:lnTo>
                    <a:pt x="87" y="0"/>
                  </a:lnTo>
                  <a:cubicBezTo>
                    <a:pt x="39" y="0"/>
                    <a:pt x="0" y="39"/>
                    <a:pt x="0" y="87"/>
                  </a:cubicBezTo>
                  <a:cubicBezTo>
                    <a:pt x="0" y="136"/>
                    <a:pt x="39" y="175"/>
                    <a:pt x="87" y="175"/>
                  </a:cubicBezTo>
                  <a:lnTo>
                    <a:pt x="2530" y="175"/>
                  </a:lnTo>
                  <a:cubicBezTo>
                    <a:pt x="2578" y="175"/>
                    <a:pt x="2617" y="136"/>
                    <a:pt x="2617" y="87"/>
                  </a:cubicBezTo>
                  <a:cubicBezTo>
                    <a:pt x="2617" y="39"/>
                    <a:pt x="2578" y="0"/>
                    <a:pt x="25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2" name="Freeform 603"/>
            <p:cNvSpPr>
              <a:spLocks/>
            </p:cNvSpPr>
            <p:nvPr/>
          </p:nvSpPr>
          <p:spPr bwMode="auto">
            <a:xfrm>
              <a:off x="4675" y="1625"/>
              <a:ext cx="113" cy="11"/>
            </a:xfrm>
            <a:custGeom>
              <a:avLst/>
              <a:gdLst>
                <a:gd name="T0" fmla="*/ 1758 w 1845"/>
                <a:gd name="T1" fmla="*/ 175 h 175"/>
                <a:gd name="T2" fmla="*/ 1845 w 1845"/>
                <a:gd name="T3" fmla="*/ 87 h 175"/>
                <a:gd name="T4" fmla="*/ 1758 w 1845"/>
                <a:gd name="T5" fmla="*/ 0 h 175"/>
                <a:gd name="T6" fmla="*/ 88 w 1845"/>
                <a:gd name="T7" fmla="*/ 0 h 175"/>
                <a:gd name="T8" fmla="*/ 0 w 1845"/>
                <a:gd name="T9" fmla="*/ 87 h 175"/>
                <a:gd name="T10" fmla="*/ 88 w 1845"/>
                <a:gd name="T11" fmla="*/ 175 h 175"/>
                <a:gd name="T12" fmla="*/ 1758 w 1845"/>
                <a:gd name="T13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5" h="175">
                  <a:moveTo>
                    <a:pt x="1758" y="175"/>
                  </a:moveTo>
                  <a:cubicBezTo>
                    <a:pt x="1806" y="175"/>
                    <a:pt x="1845" y="136"/>
                    <a:pt x="1845" y="87"/>
                  </a:cubicBezTo>
                  <a:cubicBezTo>
                    <a:pt x="1845" y="39"/>
                    <a:pt x="1806" y="0"/>
                    <a:pt x="1758" y="0"/>
                  </a:cubicBezTo>
                  <a:lnTo>
                    <a:pt x="88" y="0"/>
                  </a:lnTo>
                  <a:cubicBezTo>
                    <a:pt x="39" y="0"/>
                    <a:pt x="0" y="39"/>
                    <a:pt x="0" y="87"/>
                  </a:cubicBezTo>
                  <a:cubicBezTo>
                    <a:pt x="0" y="136"/>
                    <a:pt x="39" y="175"/>
                    <a:pt x="88" y="175"/>
                  </a:cubicBezTo>
                  <a:lnTo>
                    <a:pt x="1758" y="1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" name="Freeform 604"/>
            <p:cNvSpPr>
              <a:spLocks/>
            </p:cNvSpPr>
            <p:nvPr/>
          </p:nvSpPr>
          <p:spPr bwMode="auto">
            <a:xfrm>
              <a:off x="4652" y="1650"/>
              <a:ext cx="160" cy="11"/>
            </a:xfrm>
            <a:custGeom>
              <a:avLst/>
              <a:gdLst>
                <a:gd name="T0" fmla="*/ 2530 w 2617"/>
                <a:gd name="T1" fmla="*/ 0 h 175"/>
                <a:gd name="T2" fmla="*/ 87 w 2617"/>
                <a:gd name="T3" fmla="*/ 0 h 175"/>
                <a:gd name="T4" fmla="*/ 0 w 2617"/>
                <a:gd name="T5" fmla="*/ 87 h 175"/>
                <a:gd name="T6" fmla="*/ 87 w 2617"/>
                <a:gd name="T7" fmla="*/ 175 h 175"/>
                <a:gd name="T8" fmla="*/ 2530 w 2617"/>
                <a:gd name="T9" fmla="*/ 175 h 175"/>
                <a:gd name="T10" fmla="*/ 2617 w 2617"/>
                <a:gd name="T11" fmla="*/ 87 h 175"/>
                <a:gd name="T12" fmla="*/ 2530 w 2617"/>
                <a:gd name="T13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17" h="175">
                  <a:moveTo>
                    <a:pt x="2530" y="0"/>
                  </a:moveTo>
                  <a:lnTo>
                    <a:pt x="87" y="0"/>
                  </a:lnTo>
                  <a:cubicBezTo>
                    <a:pt x="39" y="0"/>
                    <a:pt x="0" y="39"/>
                    <a:pt x="0" y="87"/>
                  </a:cubicBezTo>
                  <a:cubicBezTo>
                    <a:pt x="0" y="136"/>
                    <a:pt x="39" y="175"/>
                    <a:pt x="87" y="175"/>
                  </a:cubicBezTo>
                  <a:lnTo>
                    <a:pt x="2530" y="175"/>
                  </a:lnTo>
                  <a:cubicBezTo>
                    <a:pt x="2578" y="175"/>
                    <a:pt x="2617" y="136"/>
                    <a:pt x="2617" y="87"/>
                  </a:cubicBezTo>
                  <a:cubicBezTo>
                    <a:pt x="2617" y="39"/>
                    <a:pt x="2578" y="0"/>
                    <a:pt x="25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605"/>
            <p:cNvSpPr>
              <a:spLocks/>
            </p:cNvSpPr>
            <p:nvPr/>
          </p:nvSpPr>
          <p:spPr bwMode="auto">
            <a:xfrm>
              <a:off x="4675" y="1676"/>
              <a:ext cx="113" cy="11"/>
            </a:xfrm>
            <a:custGeom>
              <a:avLst/>
              <a:gdLst>
                <a:gd name="T0" fmla="*/ 1758 w 1845"/>
                <a:gd name="T1" fmla="*/ 175 h 175"/>
                <a:gd name="T2" fmla="*/ 1845 w 1845"/>
                <a:gd name="T3" fmla="*/ 87 h 175"/>
                <a:gd name="T4" fmla="*/ 1758 w 1845"/>
                <a:gd name="T5" fmla="*/ 0 h 175"/>
                <a:gd name="T6" fmla="*/ 88 w 1845"/>
                <a:gd name="T7" fmla="*/ 0 h 175"/>
                <a:gd name="T8" fmla="*/ 0 w 1845"/>
                <a:gd name="T9" fmla="*/ 87 h 175"/>
                <a:gd name="T10" fmla="*/ 88 w 1845"/>
                <a:gd name="T11" fmla="*/ 175 h 175"/>
                <a:gd name="T12" fmla="*/ 1758 w 1845"/>
                <a:gd name="T13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5" h="175">
                  <a:moveTo>
                    <a:pt x="1758" y="175"/>
                  </a:moveTo>
                  <a:cubicBezTo>
                    <a:pt x="1806" y="175"/>
                    <a:pt x="1845" y="136"/>
                    <a:pt x="1845" y="87"/>
                  </a:cubicBezTo>
                  <a:cubicBezTo>
                    <a:pt x="1845" y="39"/>
                    <a:pt x="1806" y="0"/>
                    <a:pt x="1758" y="0"/>
                  </a:cubicBezTo>
                  <a:lnTo>
                    <a:pt x="88" y="0"/>
                  </a:lnTo>
                  <a:cubicBezTo>
                    <a:pt x="39" y="0"/>
                    <a:pt x="0" y="39"/>
                    <a:pt x="0" y="87"/>
                  </a:cubicBezTo>
                  <a:cubicBezTo>
                    <a:pt x="0" y="136"/>
                    <a:pt x="39" y="175"/>
                    <a:pt x="88" y="175"/>
                  </a:cubicBezTo>
                  <a:lnTo>
                    <a:pt x="1758" y="1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606"/>
            <p:cNvSpPr>
              <a:spLocks/>
            </p:cNvSpPr>
            <p:nvPr/>
          </p:nvSpPr>
          <p:spPr bwMode="auto">
            <a:xfrm>
              <a:off x="4652" y="1701"/>
              <a:ext cx="160" cy="11"/>
            </a:xfrm>
            <a:custGeom>
              <a:avLst/>
              <a:gdLst>
                <a:gd name="T0" fmla="*/ 2530 w 2617"/>
                <a:gd name="T1" fmla="*/ 0 h 175"/>
                <a:gd name="T2" fmla="*/ 87 w 2617"/>
                <a:gd name="T3" fmla="*/ 0 h 175"/>
                <a:gd name="T4" fmla="*/ 0 w 2617"/>
                <a:gd name="T5" fmla="*/ 88 h 175"/>
                <a:gd name="T6" fmla="*/ 87 w 2617"/>
                <a:gd name="T7" fmla="*/ 175 h 175"/>
                <a:gd name="T8" fmla="*/ 2530 w 2617"/>
                <a:gd name="T9" fmla="*/ 175 h 175"/>
                <a:gd name="T10" fmla="*/ 2617 w 2617"/>
                <a:gd name="T11" fmla="*/ 88 h 175"/>
                <a:gd name="T12" fmla="*/ 2530 w 2617"/>
                <a:gd name="T13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17" h="175">
                  <a:moveTo>
                    <a:pt x="2530" y="0"/>
                  </a:moveTo>
                  <a:lnTo>
                    <a:pt x="87" y="0"/>
                  </a:lnTo>
                  <a:cubicBezTo>
                    <a:pt x="39" y="0"/>
                    <a:pt x="0" y="39"/>
                    <a:pt x="0" y="88"/>
                  </a:cubicBezTo>
                  <a:cubicBezTo>
                    <a:pt x="0" y="136"/>
                    <a:pt x="39" y="175"/>
                    <a:pt x="87" y="175"/>
                  </a:cubicBezTo>
                  <a:lnTo>
                    <a:pt x="2530" y="175"/>
                  </a:lnTo>
                  <a:cubicBezTo>
                    <a:pt x="2578" y="175"/>
                    <a:pt x="2617" y="136"/>
                    <a:pt x="2617" y="88"/>
                  </a:cubicBezTo>
                  <a:cubicBezTo>
                    <a:pt x="2617" y="39"/>
                    <a:pt x="2578" y="0"/>
                    <a:pt x="25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852849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2" name="Diapositive think-cell" r:id="rId4" imgW="592" imgH="595" progId="TCLayout.ActiveDocument.1">
                  <p:embed/>
                </p:oleObj>
              </mc:Choice>
              <mc:Fallback>
                <p:oleObj name="Diapositive think-cell" r:id="rId4" imgW="592" imgH="595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 rot="10800000">
            <a:off x="5939" y="0"/>
            <a:ext cx="12192000" cy="6858004"/>
          </a:xfrm>
          <a:prstGeom prst="rect">
            <a:avLst/>
          </a:prstGeom>
          <a:gradFill flip="none" rotWithShape="1">
            <a:gsLst>
              <a:gs pos="100000">
                <a:srgbClr val="E57518">
                  <a:alpha val="78000"/>
                </a:srgbClr>
              </a:gs>
              <a:gs pos="0">
                <a:srgbClr val="FEC232">
                  <a:alpha val="93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10" name="Groupe 209"/>
          <p:cNvGrpSpPr/>
          <p:nvPr/>
        </p:nvGrpSpPr>
        <p:grpSpPr>
          <a:xfrm>
            <a:off x="5813906" y="912105"/>
            <a:ext cx="564189" cy="178742"/>
            <a:chOff x="1362075" y="448766"/>
            <a:chExt cx="810879" cy="256897"/>
          </a:xfrm>
          <a:solidFill>
            <a:schemeClr val="bg1"/>
          </a:solidFill>
        </p:grpSpPr>
        <p:sp>
          <p:nvSpPr>
            <p:cNvPr id="211" name="Rectangle 210"/>
            <p:cNvSpPr/>
            <p:nvPr/>
          </p:nvSpPr>
          <p:spPr>
            <a:xfrm>
              <a:off x="1362075" y="554356"/>
              <a:ext cx="261360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2" name="Rectangle 211"/>
            <p:cNvSpPr/>
            <p:nvPr/>
          </p:nvSpPr>
          <p:spPr>
            <a:xfrm>
              <a:off x="1911594" y="554356"/>
              <a:ext cx="261360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3" name="Freeform 14"/>
            <p:cNvSpPr>
              <a:spLocks/>
            </p:cNvSpPr>
            <p:nvPr/>
          </p:nvSpPr>
          <p:spPr bwMode="auto">
            <a:xfrm>
              <a:off x="1665494" y="448766"/>
              <a:ext cx="204040" cy="256897"/>
            </a:xfrm>
            <a:custGeom>
              <a:avLst/>
              <a:gdLst>
                <a:gd name="T0" fmla="*/ 555 w 841"/>
                <a:gd name="T1" fmla="*/ 971 h 1059"/>
                <a:gd name="T2" fmla="*/ 841 w 841"/>
                <a:gd name="T3" fmla="*/ 436 h 1059"/>
                <a:gd name="T4" fmla="*/ 841 w 841"/>
                <a:gd name="T5" fmla="*/ 204 h 1059"/>
                <a:gd name="T6" fmla="*/ 772 w 841"/>
                <a:gd name="T7" fmla="*/ 109 h 1059"/>
                <a:gd name="T8" fmla="*/ 452 w 841"/>
                <a:gd name="T9" fmla="*/ 5 h 1059"/>
                <a:gd name="T10" fmla="*/ 420 w 841"/>
                <a:gd name="T11" fmla="*/ 0 h 1059"/>
                <a:gd name="T12" fmla="*/ 390 w 841"/>
                <a:gd name="T13" fmla="*/ 5 h 1059"/>
                <a:gd name="T14" fmla="*/ 70 w 841"/>
                <a:gd name="T15" fmla="*/ 109 h 1059"/>
                <a:gd name="T16" fmla="*/ 0 w 841"/>
                <a:gd name="T17" fmla="*/ 204 h 1059"/>
                <a:gd name="T18" fmla="*/ 0 w 841"/>
                <a:gd name="T19" fmla="*/ 436 h 1059"/>
                <a:gd name="T20" fmla="*/ 287 w 841"/>
                <a:gd name="T21" fmla="*/ 971 h 1059"/>
                <a:gd name="T22" fmla="*/ 420 w 841"/>
                <a:gd name="T23" fmla="*/ 1059 h 1059"/>
                <a:gd name="T24" fmla="*/ 555 w 841"/>
                <a:gd name="T25" fmla="*/ 971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1" h="1059">
                  <a:moveTo>
                    <a:pt x="555" y="971"/>
                  </a:moveTo>
                  <a:cubicBezTo>
                    <a:pt x="733" y="851"/>
                    <a:pt x="841" y="651"/>
                    <a:pt x="841" y="436"/>
                  </a:cubicBezTo>
                  <a:lnTo>
                    <a:pt x="841" y="204"/>
                  </a:lnTo>
                  <a:cubicBezTo>
                    <a:pt x="841" y="161"/>
                    <a:pt x="813" y="122"/>
                    <a:pt x="772" y="109"/>
                  </a:cubicBezTo>
                  <a:lnTo>
                    <a:pt x="452" y="5"/>
                  </a:lnTo>
                  <a:cubicBezTo>
                    <a:pt x="441" y="2"/>
                    <a:pt x="431" y="0"/>
                    <a:pt x="420" y="0"/>
                  </a:cubicBezTo>
                  <a:cubicBezTo>
                    <a:pt x="410" y="0"/>
                    <a:pt x="400" y="2"/>
                    <a:pt x="390" y="5"/>
                  </a:cubicBezTo>
                  <a:lnTo>
                    <a:pt x="70" y="109"/>
                  </a:lnTo>
                  <a:cubicBezTo>
                    <a:pt x="28" y="122"/>
                    <a:pt x="0" y="161"/>
                    <a:pt x="0" y="204"/>
                  </a:cubicBezTo>
                  <a:lnTo>
                    <a:pt x="0" y="436"/>
                  </a:lnTo>
                  <a:cubicBezTo>
                    <a:pt x="0" y="651"/>
                    <a:pt x="108" y="851"/>
                    <a:pt x="287" y="971"/>
                  </a:cubicBezTo>
                  <a:lnTo>
                    <a:pt x="420" y="1059"/>
                  </a:lnTo>
                  <a:lnTo>
                    <a:pt x="555" y="971"/>
                  </a:lnTo>
                  <a:close/>
                </a:path>
              </a:pathLst>
            </a:custGeom>
            <a:solidFill>
              <a:srgbClr val="A136A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rgbClr val="FEC232"/>
                </a:solidFill>
                <a:latin typeface="Montserrat Black" panose="00000A00000000000000" pitchFamily="50" charset="0"/>
              </a:endParaRPr>
            </a:p>
          </p:txBody>
        </p:sp>
      </p:grpSp>
      <p:pic>
        <p:nvPicPr>
          <p:cNvPr id="3" name="Image 2"/>
          <p:cNvPicPr>
            <a:picLocks noChangeAspect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7148"/>
            <a:ext cx="12192000" cy="6523704"/>
          </a:xfrm>
          <a:prstGeom prst="rect">
            <a:avLst/>
          </a:prstGeom>
        </p:spPr>
      </p:pic>
      <p:sp>
        <p:nvSpPr>
          <p:cNvPr id="208" name="Rectangle 207">
            <a:extLst>
              <a:ext uri="{FF2B5EF4-FFF2-40B4-BE49-F238E27FC236}">
                <a16:creationId xmlns:a16="http://schemas.microsoft.com/office/drawing/2014/main" id="{73B719DE-C2DE-4540-A406-B08F9E4138CE}"/>
              </a:ext>
            </a:extLst>
          </p:cNvPr>
          <p:cNvSpPr/>
          <p:nvPr/>
        </p:nvSpPr>
        <p:spPr>
          <a:xfrm>
            <a:off x="334963" y="2503489"/>
            <a:ext cx="5508000" cy="2162399"/>
          </a:xfrm>
          <a:prstGeom prst="rect">
            <a:avLst/>
          </a:pr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/>
              </a:gs>
            </a:gsLst>
            <a:path path="circle">
              <a:fillToRect t="100000" r="100000"/>
            </a:path>
          </a:gradFill>
          <a:effectLst>
            <a:outerShdw blurRad="190500" dist="38100" dir="6300000" algn="tl" rotWithShape="0">
              <a:srgbClr val="C64724">
                <a:alpha val="40000"/>
              </a:srgbClr>
            </a:outerShdw>
          </a:effectLst>
        </p:spPr>
        <p:txBody>
          <a:bodyPr wrap="square">
            <a:noAutofit/>
          </a:bodyPr>
          <a:lstStyle/>
          <a:p>
            <a:pPr marL="285750" indent="-285750">
              <a:buBlip>
                <a:blip r:embed="rId7"/>
              </a:buBlip>
            </a:pPr>
            <a:r>
              <a:rPr lang="en-GB" sz="1600" dirty="0">
                <a:solidFill>
                  <a:srgbClr val="6A174D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anagers receive localised reports with little visibility for the rest of the team </a:t>
            </a:r>
          </a:p>
          <a:p>
            <a:endParaRPr lang="en-GB" sz="1600" dirty="0">
              <a:solidFill>
                <a:srgbClr val="6A174D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285750" indent="-285750">
              <a:buBlip>
                <a:blip r:embed="rId7"/>
              </a:buBlip>
            </a:pPr>
            <a:r>
              <a:rPr lang="en-GB" sz="1600" dirty="0">
                <a:solidFill>
                  <a:srgbClr val="6A174D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Very convoluted and lengthy process to manage corrective action closeout</a:t>
            </a:r>
          </a:p>
          <a:p>
            <a:endParaRPr lang="en-GB" sz="1600" dirty="0">
              <a:solidFill>
                <a:srgbClr val="6A174D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285750" indent="-285750">
              <a:buBlip>
                <a:blip r:embed="rId7"/>
              </a:buBlip>
            </a:pPr>
            <a:r>
              <a:rPr lang="en-GB" sz="1600" dirty="0">
                <a:solidFill>
                  <a:srgbClr val="6A174D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lays inevitably disrupt site activities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73B719DE-C2DE-4540-A406-B08F9E4138CE}"/>
              </a:ext>
            </a:extLst>
          </p:cNvPr>
          <p:cNvSpPr/>
          <p:nvPr/>
        </p:nvSpPr>
        <p:spPr>
          <a:xfrm>
            <a:off x="6432311" y="2503488"/>
            <a:ext cx="5508000" cy="2162399"/>
          </a:xfrm>
          <a:prstGeom prst="rect">
            <a:avLst/>
          </a:pr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/>
              </a:gs>
            </a:gsLst>
            <a:path path="circle">
              <a:fillToRect t="100000" r="100000"/>
            </a:path>
          </a:gradFill>
          <a:effectLst>
            <a:outerShdw blurRad="190500" dist="38100" dir="6300000" algn="tl" rotWithShape="0">
              <a:srgbClr val="C64724">
                <a:alpha val="40000"/>
              </a:srgbClr>
            </a:outerShdw>
          </a:effectLst>
        </p:spPr>
        <p:txBody>
          <a:bodyPr wrap="square">
            <a:noAutofit/>
          </a:bodyPr>
          <a:lstStyle/>
          <a:p>
            <a:pPr marL="285750" indent="-285750">
              <a:buBlip>
                <a:blip r:embed="rId8"/>
              </a:buBlip>
            </a:pPr>
            <a:r>
              <a:rPr lang="en-US" sz="1600" dirty="0" err="1">
                <a:solidFill>
                  <a:srgbClr val="6A174D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gitisation</a:t>
            </a:r>
            <a:r>
              <a:rPr lang="en-US" sz="1600" dirty="0">
                <a:solidFill>
                  <a:srgbClr val="6A174D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has allowed for live real-time reporting throughout the business</a:t>
            </a:r>
          </a:p>
          <a:p>
            <a:endParaRPr lang="en-US" sz="1600" dirty="0">
              <a:solidFill>
                <a:srgbClr val="6A174D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285750" indent="-285750">
              <a:buBlip>
                <a:blip r:embed="rId8"/>
              </a:buBlip>
            </a:pPr>
            <a:r>
              <a:rPr lang="en-US" sz="1600" dirty="0">
                <a:solidFill>
                  <a:srgbClr val="6A174D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 can now instantly generate a custom report drilling down into the detail I want to know</a:t>
            </a:r>
          </a:p>
          <a:p>
            <a:endParaRPr lang="en-US" sz="1600" dirty="0">
              <a:solidFill>
                <a:srgbClr val="6A174D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285750" indent="-285750">
              <a:buBlip>
                <a:blip r:embed="rId8"/>
              </a:buBlip>
            </a:pPr>
            <a:r>
              <a:rPr lang="en-US" sz="1600" dirty="0">
                <a:solidFill>
                  <a:srgbClr val="6A174D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eceive progress updates and snags in a concise and robust format</a:t>
            </a:r>
          </a:p>
        </p:txBody>
      </p:sp>
      <p:sp>
        <p:nvSpPr>
          <p:cNvPr id="214" name="Rectangle 213"/>
          <p:cNvSpPr/>
          <p:nvPr/>
        </p:nvSpPr>
        <p:spPr>
          <a:xfrm>
            <a:off x="299245" y="197998"/>
            <a:ext cx="115935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Paper v Digital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73B719DE-C2DE-4540-A406-B08F9E4138CE}"/>
              </a:ext>
            </a:extLst>
          </p:cNvPr>
          <p:cNvSpPr/>
          <p:nvPr/>
        </p:nvSpPr>
        <p:spPr>
          <a:xfrm>
            <a:off x="731838" y="1832686"/>
            <a:ext cx="10728325" cy="453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raditionally, formal reports, updates and notifications get communicated every month </a:t>
            </a:r>
          </a:p>
        </p:txBody>
      </p:sp>
      <p:sp>
        <p:nvSpPr>
          <p:cNvPr id="17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11460163" y="6314400"/>
            <a:ext cx="553334" cy="365125"/>
          </a:xfrm>
        </p:spPr>
        <p:txBody>
          <a:bodyPr/>
          <a:lstStyle/>
          <a:p>
            <a:pPr rtl="1"/>
            <a:r>
              <a:rPr lang="en-US" b="1" dirty="0">
                <a:solidFill>
                  <a:schemeClr val="bg1"/>
                </a:solidFill>
                <a:latin typeface="Montserrat" panose="00000500000000000000" pitchFamily="50" charset="0"/>
              </a:rPr>
              <a:t>| </a:t>
            </a:r>
            <a:fld id="{DABD2AA5-CABB-4467-8A69-C511B00C377E}" type="slidenum">
              <a:rPr lang="en-US" b="1" smtClean="0">
                <a:solidFill>
                  <a:schemeClr val="bg1"/>
                </a:solidFill>
                <a:latin typeface="Montserrat" panose="00000500000000000000" pitchFamily="50" charset="0"/>
              </a:rPr>
              <a:pPr rtl="1"/>
              <a:t>20</a:t>
            </a:fld>
            <a:endParaRPr lang="en-US" b="1" dirty="0">
              <a:solidFill>
                <a:schemeClr val="bg1"/>
              </a:solidFill>
              <a:latin typeface="Montserrat" panose="00000500000000000000" pitchFamily="50" charset="0"/>
            </a:endParaRP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9" t="32727" r="10153"/>
          <a:stretch/>
        </p:blipFill>
        <p:spPr>
          <a:xfrm>
            <a:off x="334963" y="6017538"/>
            <a:ext cx="999049" cy="5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27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70"/>
    </mc:Choice>
    <mc:Fallback xmlns="">
      <p:transition spd="slow" advTm="157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6" name="Diapositive think-cell" r:id="rId4" imgW="592" imgH="595" progId="TCLayout.ActiveDocument.1">
                  <p:embed/>
                </p:oleObj>
              </mc:Choice>
              <mc:Fallback>
                <p:oleObj name="Diapositive think-cell" r:id="rId4" imgW="592" imgH="595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5" name="Image 64"/>
          <p:cNvPicPr>
            <a:picLocks noChangeAspect="1"/>
          </p:cNvPicPr>
          <p:nvPr/>
        </p:nvPicPr>
        <p:blipFill rotWithShape="1"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0" b="7820"/>
          <a:stretch/>
        </p:blipFill>
        <p:spPr>
          <a:xfrm>
            <a:off x="0" y="612"/>
            <a:ext cx="12190912" cy="6857388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334963" y="197998"/>
            <a:ext cx="115935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All in One Place</a:t>
            </a:r>
          </a:p>
        </p:txBody>
      </p:sp>
      <p:grpSp>
        <p:nvGrpSpPr>
          <p:cNvPr id="18" name="Groupe 17"/>
          <p:cNvGrpSpPr/>
          <p:nvPr/>
        </p:nvGrpSpPr>
        <p:grpSpPr>
          <a:xfrm>
            <a:off x="5813906" y="912105"/>
            <a:ext cx="564189" cy="178742"/>
            <a:chOff x="1362075" y="448766"/>
            <a:chExt cx="810879" cy="256897"/>
          </a:xfrm>
        </p:grpSpPr>
        <p:sp>
          <p:nvSpPr>
            <p:cNvPr id="19" name="Rectangle 18"/>
            <p:cNvSpPr/>
            <p:nvPr/>
          </p:nvSpPr>
          <p:spPr>
            <a:xfrm>
              <a:off x="1362075" y="554356"/>
              <a:ext cx="261360" cy="45719"/>
            </a:xfrm>
            <a:prstGeom prst="rect">
              <a:avLst/>
            </a:prstGeom>
            <a:solidFill>
              <a:srgbClr val="FEC2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911594" y="554356"/>
              <a:ext cx="261360" cy="45719"/>
            </a:xfrm>
            <a:prstGeom prst="rect">
              <a:avLst/>
            </a:prstGeom>
            <a:solidFill>
              <a:srgbClr val="FEC2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1665494" y="448766"/>
              <a:ext cx="204040" cy="256897"/>
            </a:xfrm>
            <a:custGeom>
              <a:avLst/>
              <a:gdLst>
                <a:gd name="T0" fmla="*/ 555 w 841"/>
                <a:gd name="T1" fmla="*/ 971 h 1059"/>
                <a:gd name="T2" fmla="*/ 841 w 841"/>
                <a:gd name="T3" fmla="*/ 436 h 1059"/>
                <a:gd name="T4" fmla="*/ 841 w 841"/>
                <a:gd name="T5" fmla="*/ 204 h 1059"/>
                <a:gd name="T6" fmla="*/ 772 w 841"/>
                <a:gd name="T7" fmla="*/ 109 h 1059"/>
                <a:gd name="T8" fmla="*/ 452 w 841"/>
                <a:gd name="T9" fmla="*/ 5 h 1059"/>
                <a:gd name="T10" fmla="*/ 420 w 841"/>
                <a:gd name="T11" fmla="*/ 0 h 1059"/>
                <a:gd name="T12" fmla="*/ 390 w 841"/>
                <a:gd name="T13" fmla="*/ 5 h 1059"/>
                <a:gd name="T14" fmla="*/ 70 w 841"/>
                <a:gd name="T15" fmla="*/ 109 h 1059"/>
                <a:gd name="T16" fmla="*/ 0 w 841"/>
                <a:gd name="T17" fmla="*/ 204 h 1059"/>
                <a:gd name="T18" fmla="*/ 0 w 841"/>
                <a:gd name="T19" fmla="*/ 436 h 1059"/>
                <a:gd name="T20" fmla="*/ 287 w 841"/>
                <a:gd name="T21" fmla="*/ 971 h 1059"/>
                <a:gd name="T22" fmla="*/ 420 w 841"/>
                <a:gd name="T23" fmla="*/ 1059 h 1059"/>
                <a:gd name="T24" fmla="*/ 555 w 841"/>
                <a:gd name="T25" fmla="*/ 971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1" h="1059">
                  <a:moveTo>
                    <a:pt x="555" y="971"/>
                  </a:moveTo>
                  <a:cubicBezTo>
                    <a:pt x="733" y="851"/>
                    <a:pt x="841" y="651"/>
                    <a:pt x="841" y="436"/>
                  </a:cubicBezTo>
                  <a:lnTo>
                    <a:pt x="841" y="204"/>
                  </a:lnTo>
                  <a:cubicBezTo>
                    <a:pt x="841" y="161"/>
                    <a:pt x="813" y="122"/>
                    <a:pt x="772" y="109"/>
                  </a:cubicBezTo>
                  <a:lnTo>
                    <a:pt x="452" y="5"/>
                  </a:lnTo>
                  <a:cubicBezTo>
                    <a:pt x="441" y="2"/>
                    <a:pt x="431" y="0"/>
                    <a:pt x="420" y="0"/>
                  </a:cubicBezTo>
                  <a:cubicBezTo>
                    <a:pt x="410" y="0"/>
                    <a:pt x="400" y="2"/>
                    <a:pt x="390" y="5"/>
                  </a:cubicBezTo>
                  <a:lnTo>
                    <a:pt x="70" y="109"/>
                  </a:lnTo>
                  <a:cubicBezTo>
                    <a:pt x="28" y="122"/>
                    <a:pt x="0" y="161"/>
                    <a:pt x="0" y="204"/>
                  </a:cubicBezTo>
                  <a:lnTo>
                    <a:pt x="0" y="436"/>
                  </a:lnTo>
                  <a:cubicBezTo>
                    <a:pt x="0" y="651"/>
                    <a:pt x="108" y="851"/>
                    <a:pt x="287" y="971"/>
                  </a:cubicBezTo>
                  <a:lnTo>
                    <a:pt x="420" y="1059"/>
                  </a:lnTo>
                  <a:lnTo>
                    <a:pt x="555" y="971"/>
                  </a:lnTo>
                  <a:close/>
                </a:path>
              </a:pathLst>
            </a:custGeom>
            <a:solidFill>
              <a:srgbClr val="A136A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rgbClr val="FEC232"/>
                </a:solidFill>
                <a:latin typeface="Montserrat Black" panose="00000A00000000000000" pitchFamily="50" charset="0"/>
              </a:endParaRPr>
            </a:p>
          </p:txBody>
        </p:sp>
      </p:grpSp>
      <p:sp>
        <p:nvSpPr>
          <p:cNvPr id="22" name="Rectangle 21"/>
          <p:cNvSpPr/>
          <p:nvPr/>
        </p:nvSpPr>
        <p:spPr>
          <a:xfrm>
            <a:off x="334963" y="2561271"/>
            <a:ext cx="23711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educe the number of team members involved when fact finding 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409071" y="2561271"/>
            <a:ext cx="237118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ove away from the traditional project WhatsApp group chat or email string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483179" y="2561271"/>
            <a:ext cx="23711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Locate all documents and data in one place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910406" y="4359320"/>
            <a:ext cx="23711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eceive regular photos and summaries of activities 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836298" y="4359320"/>
            <a:ext cx="23711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low for easy management access 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521687" y="2561270"/>
            <a:ext cx="237118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View real time site/project specific data collected in the field</a:t>
            </a:r>
          </a:p>
        </p:txBody>
      </p:sp>
      <p:sp>
        <p:nvSpPr>
          <p:cNvPr id="28" name="Rectangle 27"/>
          <p:cNvSpPr/>
          <p:nvPr/>
        </p:nvSpPr>
        <p:spPr>
          <a:xfrm>
            <a:off x="7984514" y="4359319"/>
            <a:ext cx="237118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mpower teams to take ownership providing us with visibility across our site/s</a:t>
            </a:r>
          </a:p>
        </p:txBody>
      </p:sp>
      <p:sp>
        <p:nvSpPr>
          <p:cNvPr id="29" name="Freeform 31"/>
          <p:cNvSpPr>
            <a:spLocks noChangeAspect="1" noEditPoints="1"/>
          </p:cNvSpPr>
          <p:nvPr/>
        </p:nvSpPr>
        <p:spPr bwMode="auto">
          <a:xfrm>
            <a:off x="1140066" y="2027596"/>
            <a:ext cx="764843" cy="483652"/>
          </a:xfrm>
          <a:custGeom>
            <a:avLst/>
            <a:gdLst>
              <a:gd name="T0" fmla="*/ 5771 w 6318"/>
              <a:gd name="T1" fmla="*/ 1175 h 4011"/>
              <a:gd name="T2" fmla="*/ 4329 w 6318"/>
              <a:gd name="T3" fmla="*/ 1175 h 4011"/>
              <a:gd name="T4" fmla="*/ 4210 w 6318"/>
              <a:gd name="T5" fmla="*/ 2015 h 4011"/>
              <a:gd name="T6" fmla="*/ 4066 w 6318"/>
              <a:gd name="T7" fmla="*/ 914 h 4011"/>
              <a:gd name="T8" fmla="*/ 2239 w 6318"/>
              <a:gd name="T9" fmla="*/ 914 h 4011"/>
              <a:gd name="T10" fmla="*/ 2101 w 6318"/>
              <a:gd name="T11" fmla="*/ 2011 h 4011"/>
              <a:gd name="T12" fmla="*/ 1988 w 6318"/>
              <a:gd name="T13" fmla="*/ 1176 h 4011"/>
              <a:gd name="T14" fmla="*/ 545 w 6318"/>
              <a:gd name="T15" fmla="*/ 1176 h 4011"/>
              <a:gd name="T16" fmla="*/ 0 w 6318"/>
              <a:gd name="T17" fmla="*/ 2963 h 4011"/>
              <a:gd name="T18" fmla="*/ 5 w 6318"/>
              <a:gd name="T19" fmla="*/ 3050 h 4011"/>
              <a:gd name="T20" fmla="*/ 1520 w 6318"/>
              <a:gd name="T21" fmla="*/ 3261 h 4011"/>
              <a:gd name="T22" fmla="*/ 2185 w 6318"/>
              <a:gd name="T23" fmla="*/ 4011 h 4011"/>
              <a:gd name="T24" fmla="*/ 4788 w 6318"/>
              <a:gd name="T25" fmla="*/ 3346 h 4011"/>
              <a:gd name="T26" fmla="*/ 4774 w 6318"/>
              <a:gd name="T27" fmla="*/ 3050 h 4011"/>
              <a:gd name="T28" fmla="*/ 6318 w 6318"/>
              <a:gd name="T29" fmla="*/ 3045 h 4011"/>
              <a:gd name="T30" fmla="*/ 5464 w 6318"/>
              <a:gd name="T31" fmla="*/ 1765 h 4011"/>
              <a:gd name="T32" fmla="*/ 5050 w 6318"/>
              <a:gd name="T33" fmla="*/ 653 h 4011"/>
              <a:gd name="T34" fmla="*/ 5060 w 6318"/>
              <a:gd name="T35" fmla="*/ 1695 h 4011"/>
              <a:gd name="T36" fmla="*/ 5040 w 6318"/>
              <a:gd name="T37" fmla="*/ 1695 h 4011"/>
              <a:gd name="T38" fmla="*/ 2436 w 6318"/>
              <a:gd name="T39" fmla="*/ 914 h 4011"/>
              <a:gd name="T40" fmla="*/ 3864 w 6318"/>
              <a:gd name="T41" fmla="*/ 914 h 4011"/>
              <a:gd name="T42" fmla="*/ 3150 w 6318"/>
              <a:gd name="T43" fmla="*/ 1626 h 4011"/>
              <a:gd name="T44" fmla="*/ 2436 w 6318"/>
              <a:gd name="T45" fmla="*/ 914 h 4011"/>
              <a:gd name="T46" fmla="*/ 1263 w 6318"/>
              <a:gd name="T47" fmla="*/ 653 h 4011"/>
              <a:gd name="T48" fmla="*/ 1272 w 6318"/>
              <a:gd name="T49" fmla="*/ 1695 h 4011"/>
              <a:gd name="T50" fmla="*/ 1252 w 6318"/>
              <a:gd name="T51" fmla="*/ 1695 h 4011"/>
              <a:gd name="T52" fmla="*/ 1569 w 6318"/>
              <a:gd name="T53" fmla="*/ 2849 h 4011"/>
              <a:gd name="T54" fmla="*/ 1255 w 6318"/>
              <a:gd name="T55" fmla="*/ 1895 h 4011"/>
              <a:gd name="T56" fmla="*/ 1270 w 6318"/>
              <a:gd name="T57" fmla="*/ 1895 h 4011"/>
              <a:gd name="T58" fmla="*/ 1569 w 6318"/>
              <a:gd name="T59" fmla="*/ 2849 h 4011"/>
              <a:gd name="T60" fmla="*/ 4120 w 6318"/>
              <a:gd name="T61" fmla="*/ 3811 h 4011"/>
              <a:gd name="T62" fmla="*/ 1718 w 6318"/>
              <a:gd name="T63" fmla="*/ 3346 h 4011"/>
              <a:gd name="T64" fmla="*/ 3109 w 6318"/>
              <a:gd name="T65" fmla="*/ 1828 h 4011"/>
              <a:gd name="T66" fmla="*/ 3194 w 6318"/>
              <a:gd name="T67" fmla="*/ 1828 h 4011"/>
              <a:gd name="T68" fmla="*/ 4585 w 6318"/>
              <a:gd name="T69" fmla="*/ 3346 h 4011"/>
              <a:gd name="T70" fmla="*/ 4355 w 6318"/>
              <a:gd name="T71" fmla="*/ 2154 h 4011"/>
              <a:gd name="T72" fmla="*/ 5050 w 6318"/>
              <a:gd name="T73" fmla="*/ 1895 h 4011"/>
              <a:gd name="T74" fmla="*/ 6110 w 6318"/>
              <a:gd name="T75" fmla="*/ 2849 h 40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318" h="4011">
                <a:moveTo>
                  <a:pt x="5464" y="1765"/>
                </a:moveTo>
                <a:cubicBezTo>
                  <a:pt x="5649" y="1635"/>
                  <a:pt x="5771" y="1419"/>
                  <a:pt x="5771" y="1175"/>
                </a:cubicBezTo>
                <a:cubicBezTo>
                  <a:pt x="5771" y="776"/>
                  <a:pt x="5449" y="454"/>
                  <a:pt x="5050" y="454"/>
                </a:cubicBezTo>
                <a:cubicBezTo>
                  <a:pt x="4651" y="454"/>
                  <a:pt x="4329" y="776"/>
                  <a:pt x="4329" y="1175"/>
                </a:cubicBezTo>
                <a:cubicBezTo>
                  <a:pt x="4329" y="1419"/>
                  <a:pt x="4450" y="1635"/>
                  <a:pt x="4636" y="1765"/>
                </a:cubicBezTo>
                <a:cubicBezTo>
                  <a:pt x="4478" y="1820"/>
                  <a:pt x="4333" y="1905"/>
                  <a:pt x="4210" y="2015"/>
                </a:cubicBezTo>
                <a:cubicBezTo>
                  <a:pt x="4041" y="1871"/>
                  <a:pt x="3843" y="1761"/>
                  <a:pt x="3625" y="1696"/>
                </a:cubicBezTo>
                <a:cubicBezTo>
                  <a:pt x="3889" y="1536"/>
                  <a:pt x="4066" y="1245"/>
                  <a:pt x="4066" y="914"/>
                </a:cubicBezTo>
                <a:cubicBezTo>
                  <a:pt x="4066" y="409"/>
                  <a:pt x="3658" y="0"/>
                  <a:pt x="3153" y="0"/>
                </a:cubicBezTo>
                <a:cubicBezTo>
                  <a:pt x="2648" y="0"/>
                  <a:pt x="2239" y="410"/>
                  <a:pt x="2239" y="914"/>
                </a:cubicBezTo>
                <a:cubicBezTo>
                  <a:pt x="2239" y="1245"/>
                  <a:pt x="2415" y="1536"/>
                  <a:pt x="2680" y="1696"/>
                </a:cubicBezTo>
                <a:cubicBezTo>
                  <a:pt x="2465" y="1761"/>
                  <a:pt x="2269" y="1870"/>
                  <a:pt x="2101" y="2011"/>
                </a:cubicBezTo>
                <a:cubicBezTo>
                  <a:pt x="1979" y="1904"/>
                  <a:pt x="1836" y="1820"/>
                  <a:pt x="1680" y="1766"/>
                </a:cubicBezTo>
                <a:cubicBezTo>
                  <a:pt x="1865" y="1636"/>
                  <a:pt x="1988" y="1420"/>
                  <a:pt x="1988" y="1176"/>
                </a:cubicBezTo>
                <a:cubicBezTo>
                  <a:pt x="1988" y="778"/>
                  <a:pt x="1665" y="455"/>
                  <a:pt x="1266" y="455"/>
                </a:cubicBezTo>
                <a:cubicBezTo>
                  <a:pt x="868" y="455"/>
                  <a:pt x="545" y="778"/>
                  <a:pt x="545" y="1176"/>
                </a:cubicBezTo>
                <a:cubicBezTo>
                  <a:pt x="545" y="1420"/>
                  <a:pt x="666" y="1636"/>
                  <a:pt x="853" y="1766"/>
                </a:cubicBezTo>
                <a:cubicBezTo>
                  <a:pt x="356" y="1938"/>
                  <a:pt x="0" y="2409"/>
                  <a:pt x="0" y="2963"/>
                </a:cubicBezTo>
                <a:lnTo>
                  <a:pt x="0" y="3045"/>
                </a:lnTo>
                <a:cubicBezTo>
                  <a:pt x="0" y="3048"/>
                  <a:pt x="3" y="3050"/>
                  <a:pt x="5" y="3050"/>
                </a:cubicBezTo>
                <a:lnTo>
                  <a:pt x="1534" y="3050"/>
                </a:lnTo>
                <a:cubicBezTo>
                  <a:pt x="1525" y="3119"/>
                  <a:pt x="1520" y="3190"/>
                  <a:pt x="1520" y="3261"/>
                </a:cubicBezTo>
                <a:lnTo>
                  <a:pt x="1520" y="3346"/>
                </a:lnTo>
                <a:cubicBezTo>
                  <a:pt x="1520" y="3714"/>
                  <a:pt x="1818" y="4011"/>
                  <a:pt x="2185" y="4011"/>
                </a:cubicBezTo>
                <a:lnTo>
                  <a:pt x="4123" y="4011"/>
                </a:lnTo>
                <a:cubicBezTo>
                  <a:pt x="4490" y="4011"/>
                  <a:pt x="4788" y="3714"/>
                  <a:pt x="4788" y="3346"/>
                </a:cubicBezTo>
                <a:lnTo>
                  <a:pt x="4788" y="3261"/>
                </a:lnTo>
                <a:cubicBezTo>
                  <a:pt x="4788" y="3190"/>
                  <a:pt x="4783" y="3119"/>
                  <a:pt x="4774" y="3050"/>
                </a:cubicBezTo>
                <a:lnTo>
                  <a:pt x="6313" y="3050"/>
                </a:lnTo>
                <a:cubicBezTo>
                  <a:pt x="6315" y="3050"/>
                  <a:pt x="6318" y="3048"/>
                  <a:pt x="6318" y="3045"/>
                </a:cubicBezTo>
                <a:lnTo>
                  <a:pt x="6318" y="2963"/>
                </a:lnTo>
                <a:cubicBezTo>
                  <a:pt x="6315" y="2408"/>
                  <a:pt x="5960" y="1936"/>
                  <a:pt x="5464" y="1765"/>
                </a:cubicBezTo>
                <a:close/>
                <a:moveTo>
                  <a:pt x="4529" y="1174"/>
                </a:moveTo>
                <a:cubicBezTo>
                  <a:pt x="4529" y="886"/>
                  <a:pt x="4763" y="653"/>
                  <a:pt x="5050" y="653"/>
                </a:cubicBezTo>
                <a:cubicBezTo>
                  <a:pt x="5338" y="653"/>
                  <a:pt x="5571" y="886"/>
                  <a:pt x="5571" y="1174"/>
                </a:cubicBezTo>
                <a:cubicBezTo>
                  <a:pt x="5571" y="1458"/>
                  <a:pt x="5343" y="1689"/>
                  <a:pt x="5060" y="1695"/>
                </a:cubicBezTo>
                <a:lnTo>
                  <a:pt x="5050" y="1695"/>
                </a:lnTo>
                <a:lnTo>
                  <a:pt x="5040" y="1695"/>
                </a:lnTo>
                <a:cubicBezTo>
                  <a:pt x="4756" y="1690"/>
                  <a:pt x="4529" y="1459"/>
                  <a:pt x="4529" y="1174"/>
                </a:cubicBezTo>
                <a:close/>
                <a:moveTo>
                  <a:pt x="2436" y="914"/>
                </a:moveTo>
                <a:cubicBezTo>
                  <a:pt x="2436" y="520"/>
                  <a:pt x="2756" y="200"/>
                  <a:pt x="3150" y="200"/>
                </a:cubicBezTo>
                <a:cubicBezTo>
                  <a:pt x="3544" y="200"/>
                  <a:pt x="3864" y="520"/>
                  <a:pt x="3864" y="914"/>
                </a:cubicBezTo>
                <a:cubicBezTo>
                  <a:pt x="3864" y="1294"/>
                  <a:pt x="3565" y="1605"/>
                  <a:pt x="3191" y="1626"/>
                </a:cubicBezTo>
                <a:lnTo>
                  <a:pt x="3150" y="1626"/>
                </a:lnTo>
                <a:lnTo>
                  <a:pt x="3109" y="1626"/>
                </a:lnTo>
                <a:cubicBezTo>
                  <a:pt x="2735" y="1605"/>
                  <a:pt x="2436" y="1294"/>
                  <a:pt x="2436" y="914"/>
                </a:cubicBezTo>
                <a:close/>
                <a:moveTo>
                  <a:pt x="741" y="1174"/>
                </a:moveTo>
                <a:cubicBezTo>
                  <a:pt x="741" y="886"/>
                  <a:pt x="975" y="653"/>
                  <a:pt x="1263" y="653"/>
                </a:cubicBezTo>
                <a:cubicBezTo>
                  <a:pt x="1550" y="653"/>
                  <a:pt x="1784" y="886"/>
                  <a:pt x="1784" y="1174"/>
                </a:cubicBezTo>
                <a:cubicBezTo>
                  <a:pt x="1784" y="1458"/>
                  <a:pt x="1555" y="1689"/>
                  <a:pt x="1272" y="1695"/>
                </a:cubicBezTo>
                <a:lnTo>
                  <a:pt x="1262" y="1695"/>
                </a:lnTo>
                <a:lnTo>
                  <a:pt x="1252" y="1695"/>
                </a:lnTo>
                <a:cubicBezTo>
                  <a:pt x="970" y="1690"/>
                  <a:pt x="741" y="1459"/>
                  <a:pt x="741" y="1174"/>
                </a:cubicBezTo>
                <a:close/>
                <a:moveTo>
                  <a:pt x="1569" y="2849"/>
                </a:moveTo>
                <a:lnTo>
                  <a:pt x="203" y="2849"/>
                </a:lnTo>
                <a:cubicBezTo>
                  <a:pt x="259" y="2316"/>
                  <a:pt x="709" y="1899"/>
                  <a:pt x="1255" y="1895"/>
                </a:cubicBezTo>
                <a:lnTo>
                  <a:pt x="1263" y="1895"/>
                </a:lnTo>
                <a:lnTo>
                  <a:pt x="1270" y="1895"/>
                </a:lnTo>
                <a:cubicBezTo>
                  <a:pt x="1530" y="1896"/>
                  <a:pt x="1767" y="1993"/>
                  <a:pt x="1951" y="2149"/>
                </a:cubicBezTo>
                <a:cubicBezTo>
                  <a:pt x="1771" y="2344"/>
                  <a:pt x="1638" y="2584"/>
                  <a:pt x="1569" y="2849"/>
                </a:cubicBezTo>
                <a:close/>
                <a:moveTo>
                  <a:pt x="4585" y="3346"/>
                </a:moveTo>
                <a:cubicBezTo>
                  <a:pt x="4585" y="3603"/>
                  <a:pt x="4376" y="3811"/>
                  <a:pt x="4120" y="3811"/>
                </a:cubicBezTo>
                <a:lnTo>
                  <a:pt x="2183" y="3811"/>
                </a:lnTo>
                <a:cubicBezTo>
                  <a:pt x="1926" y="3811"/>
                  <a:pt x="1718" y="3603"/>
                  <a:pt x="1718" y="3346"/>
                </a:cubicBezTo>
                <a:lnTo>
                  <a:pt x="1718" y="3261"/>
                </a:lnTo>
                <a:cubicBezTo>
                  <a:pt x="1718" y="2485"/>
                  <a:pt x="2338" y="1850"/>
                  <a:pt x="3109" y="1828"/>
                </a:cubicBezTo>
                <a:cubicBezTo>
                  <a:pt x="3123" y="1829"/>
                  <a:pt x="3138" y="1829"/>
                  <a:pt x="3151" y="1829"/>
                </a:cubicBezTo>
                <a:cubicBezTo>
                  <a:pt x="3165" y="1829"/>
                  <a:pt x="3180" y="1829"/>
                  <a:pt x="3194" y="1828"/>
                </a:cubicBezTo>
                <a:cubicBezTo>
                  <a:pt x="3965" y="1850"/>
                  <a:pt x="4585" y="2485"/>
                  <a:pt x="4585" y="3261"/>
                </a:cubicBezTo>
                <a:lnTo>
                  <a:pt x="4585" y="3346"/>
                </a:lnTo>
                <a:close/>
                <a:moveTo>
                  <a:pt x="4734" y="2849"/>
                </a:moveTo>
                <a:cubicBezTo>
                  <a:pt x="4665" y="2585"/>
                  <a:pt x="4534" y="2349"/>
                  <a:pt x="4355" y="2154"/>
                </a:cubicBezTo>
                <a:cubicBezTo>
                  <a:pt x="4540" y="1994"/>
                  <a:pt x="4780" y="1898"/>
                  <a:pt x="5043" y="1895"/>
                </a:cubicBezTo>
                <a:lnTo>
                  <a:pt x="5050" y="1895"/>
                </a:lnTo>
                <a:lnTo>
                  <a:pt x="5058" y="1895"/>
                </a:lnTo>
                <a:cubicBezTo>
                  <a:pt x="5604" y="1899"/>
                  <a:pt x="6054" y="2316"/>
                  <a:pt x="6110" y="2849"/>
                </a:cubicBezTo>
                <a:lnTo>
                  <a:pt x="4734" y="2849"/>
                </a:lnTo>
                <a:close/>
              </a:path>
            </a:pathLst>
          </a:custGeom>
          <a:solidFill>
            <a:srgbClr val="E575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" name="Group 11"/>
          <p:cNvGrpSpPr>
            <a:grpSpLocks noChangeAspect="1"/>
          </p:cNvGrpSpPr>
          <p:nvPr/>
        </p:nvGrpSpPr>
        <p:grpSpPr bwMode="auto">
          <a:xfrm>
            <a:off x="4348290" y="1990618"/>
            <a:ext cx="540000" cy="540000"/>
            <a:chOff x="2735" y="1204"/>
            <a:chExt cx="313" cy="313"/>
          </a:xfrm>
          <a:solidFill>
            <a:srgbClr val="A136A0"/>
          </a:solidFill>
        </p:grpSpPr>
        <p:sp>
          <p:nvSpPr>
            <p:cNvPr id="6" name="Freeform 12"/>
            <p:cNvSpPr>
              <a:spLocks noEditPoints="1"/>
            </p:cNvSpPr>
            <p:nvPr/>
          </p:nvSpPr>
          <p:spPr bwMode="auto">
            <a:xfrm>
              <a:off x="2735" y="1204"/>
              <a:ext cx="313" cy="313"/>
            </a:xfrm>
            <a:custGeom>
              <a:avLst/>
              <a:gdLst>
                <a:gd name="T0" fmla="*/ 325 w 650"/>
                <a:gd name="T1" fmla="*/ 0 h 650"/>
                <a:gd name="T2" fmla="*/ 0 w 650"/>
                <a:gd name="T3" fmla="*/ 325 h 650"/>
                <a:gd name="T4" fmla="*/ 49 w 650"/>
                <a:gd name="T5" fmla="*/ 497 h 650"/>
                <a:gd name="T6" fmla="*/ 13 w 650"/>
                <a:gd name="T7" fmla="*/ 628 h 650"/>
                <a:gd name="T8" fmla="*/ 16 w 650"/>
                <a:gd name="T9" fmla="*/ 640 h 650"/>
                <a:gd name="T10" fmla="*/ 29 w 650"/>
                <a:gd name="T11" fmla="*/ 643 h 650"/>
                <a:gd name="T12" fmla="*/ 158 w 650"/>
                <a:gd name="T13" fmla="*/ 604 h 650"/>
                <a:gd name="T14" fmla="*/ 325 w 650"/>
                <a:gd name="T15" fmla="*/ 650 h 650"/>
                <a:gd name="T16" fmla="*/ 650 w 650"/>
                <a:gd name="T17" fmla="*/ 325 h 650"/>
                <a:gd name="T18" fmla="*/ 325 w 650"/>
                <a:gd name="T19" fmla="*/ 0 h 650"/>
                <a:gd name="T20" fmla="*/ 325 w 650"/>
                <a:gd name="T21" fmla="*/ 625 h 650"/>
                <a:gd name="T22" fmla="*/ 166 w 650"/>
                <a:gd name="T23" fmla="*/ 579 h 650"/>
                <a:gd name="T24" fmla="*/ 159 w 650"/>
                <a:gd name="T25" fmla="*/ 577 h 650"/>
                <a:gd name="T26" fmla="*/ 156 w 650"/>
                <a:gd name="T27" fmla="*/ 578 h 650"/>
                <a:gd name="T28" fmla="*/ 43 w 650"/>
                <a:gd name="T29" fmla="*/ 613 h 650"/>
                <a:gd name="T30" fmla="*/ 75 w 650"/>
                <a:gd name="T31" fmla="*/ 499 h 650"/>
                <a:gd name="T32" fmla="*/ 73 w 650"/>
                <a:gd name="T33" fmla="*/ 488 h 650"/>
                <a:gd name="T34" fmla="*/ 25 w 650"/>
                <a:gd name="T35" fmla="*/ 325 h 650"/>
                <a:gd name="T36" fmla="*/ 325 w 650"/>
                <a:gd name="T37" fmla="*/ 25 h 650"/>
                <a:gd name="T38" fmla="*/ 625 w 650"/>
                <a:gd name="T39" fmla="*/ 325 h 650"/>
                <a:gd name="T40" fmla="*/ 325 w 650"/>
                <a:gd name="T41" fmla="*/ 625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50" h="650">
                  <a:moveTo>
                    <a:pt x="325" y="0"/>
                  </a:moveTo>
                  <a:cubicBezTo>
                    <a:pt x="146" y="0"/>
                    <a:pt x="0" y="146"/>
                    <a:pt x="0" y="325"/>
                  </a:cubicBezTo>
                  <a:cubicBezTo>
                    <a:pt x="0" y="386"/>
                    <a:pt x="17" y="445"/>
                    <a:pt x="49" y="497"/>
                  </a:cubicBezTo>
                  <a:cubicBezTo>
                    <a:pt x="36" y="542"/>
                    <a:pt x="13" y="627"/>
                    <a:pt x="13" y="628"/>
                  </a:cubicBezTo>
                  <a:cubicBezTo>
                    <a:pt x="12" y="632"/>
                    <a:pt x="13" y="637"/>
                    <a:pt x="16" y="640"/>
                  </a:cubicBezTo>
                  <a:cubicBezTo>
                    <a:pt x="20" y="643"/>
                    <a:pt x="24" y="645"/>
                    <a:pt x="29" y="643"/>
                  </a:cubicBezTo>
                  <a:lnTo>
                    <a:pt x="158" y="604"/>
                  </a:lnTo>
                  <a:cubicBezTo>
                    <a:pt x="208" y="634"/>
                    <a:pt x="266" y="650"/>
                    <a:pt x="325" y="650"/>
                  </a:cubicBezTo>
                  <a:cubicBezTo>
                    <a:pt x="504" y="650"/>
                    <a:pt x="650" y="504"/>
                    <a:pt x="650" y="325"/>
                  </a:cubicBezTo>
                  <a:cubicBezTo>
                    <a:pt x="650" y="146"/>
                    <a:pt x="504" y="0"/>
                    <a:pt x="325" y="0"/>
                  </a:cubicBezTo>
                  <a:close/>
                  <a:moveTo>
                    <a:pt x="325" y="625"/>
                  </a:moveTo>
                  <a:cubicBezTo>
                    <a:pt x="269" y="625"/>
                    <a:pt x="213" y="609"/>
                    <a:pt x="166" y="579"/>
                  </a:cubicBezTo>
                  <a:cubicBezTo>
                    <a:pt x="164" y="578"/>
                    <a:pt x="162" y="577"/>
                    <a:pt x="159" y="577"/>
                  </a:cubicBezTo>
                  <a:cubicBezTo>
                    <a:pt x="158" y="577"/>
                    <a:pt x="157" y="578"/>
                    <a:pt x="156" y="578"/>
                  </a:cubicBezTo>
                  <a:lnTo>
                    <a:pt x="43" y="613"/>
                  </a:lnTo>
                  <a:cubicBezTo>
                    <a:pt x="51" y="582"/>
                    <a:pt x="66" y="529"/>
                    <a:pt x="75" y="499"/>
                  </a:cubicBezTo>
                  <a:cubicBezTo>
                    <a:pt x="76" y="495"/>
                    <a:pt x="75" y="491"/>
                    <a:pt x="73" y="488"/>
                  </a:cubicBezTo>
                  <a:cubicBezTo>
                    <a:pt x="42" y="440"/>
                    <a:pt x="25" y="383"/>
                    <a:pt x="25" y="325"/>
                  </a:cubicBezTo>
                  <a:cubicBezTo>
                    <a:pt x="25" y="160"/>
                    <a:pt x="160" y="25"/>
                    <a:pt x="325" y="25"/>
                  </a:cubicBezTo>
                  <a:cubicBezTo>
                    <a:pt x="490" y="25"/>
                    <a:pt x="625" y="160"/>
                    <a:pt x="625" y="325"/>
                  </a:cubicBezTo>
                  <a:cubicBezTo>
                    <a:pt x="625" y="490"/>
                    <a:pt x="490" y="625"/>
                    <a:pt x="325" y="6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13"/>
            <p:cNvSpPr>
              <a:spLocks noEditPoints="1"/>
            </p:cNvSpPr>
            <p:nvPr/>
          </p:nvSpPr>
          <p:spPr bwMode="auto">
            <a:xfrm>
              <a:off x="2779" y="1262"/>
              <a:ext cx="218" cy="193"/>
            </a:xfrm>
            <a:custGeom>
              <a:avLst/>
              <a:gdLst>
                <a:gd name="T0" fmla="*/ 445 w 452"/>
                <a:gd name="T1" fmla="*/ 282 h 402"/>
                <a:gd name="T2" fmla="*/ 388 w 452"/>
                <a:gd name="T3" fmla="*/ 247 h 402"/>
                <a:gd name="T4" fmla="*/ 364 w 452"/>
                <a:gd name="T5" fmla="*/ 231 h 402"/>
                <a:gd name="T6" fmla="*/ 330 w 452"/>
                <a:gd name="T7" fmla="*/ 234 h 402"/>
                <a:gd name="T8" fmla="*/ 329 w 452"/>
                <a:gd name="T9" fmla="*/ 236 h 402"/>
                <a:gd name="T10" fmla="*/ 284 w 452"/>
                <a:gd name="T11" fmla="*/ 286 h 402"/>
                <a:gd name="T12" fmla="*/ 207 w 452"/>
                <a:gd name="T13" fmla="*/ 237 h 402"/>
                <a:gd name="T14" fmla="*/ 146 w 452"/>
                <a:gd name="T15" fmla="*/ 160 h 402"/>
                <a:gd name="T16" fmla="*/ 177 w 452"/>
                <a:gd name="T17" fmla="*/ 105 h 402"/>
                <a:gd name="T18" fmla="*/ 129 w 452"/>
                <a:gd name="T19" fmla="*/ 9 h 402"/>
                <a:gd name="T20" fmla="*/ 81 w 452"/>
                <a:gd name="T21" fmla="*/ 5 h 402"/>
                <a:gd name="T22" fmla="*/ 74 w 452"/>
                <a:gd name="T23" fmla="*/ 9 h 402"/>
                <a:gd name="T24" fmla="*/ 34 w 452"/>
                <a:gd name="T25" fmla="*/ 172 h 402"/>
                <a:gd name="T26" fmla="*/ 287 w 452"/>
                <a:gd name="T27" fmla="*/ 399 h 402"/>
                <a:gd name="T28" fmla="*/ 326 w 452"/>
                <a:gd name="T29" fmla="*/ 402 h 402"/>
                <a:gd name="T30" fmla="*/ 452 w 452"/>
                <a:gd name="T31" fmla="*/ 295 h 402"/>
                <a:gd name="T32" fmla="*/ 445 w 452"/>
                <a:gd name="T33" fmla="*/ 282 h 402"/>
                <a:gd name="T34" fmla="*/ 291 w 452"/>
                <a:gd name="T35" fmla="*/ 374 h 402"/>
                <a:gd name="T36" fmla="*/ 57 w 452"/>
                <a:gd name="T37" fmla="*/ 163 h 402"/>
                <a:gd name="T38" fmla="*/ 89 w 452"/>
                <a:gd name="T39" fmla="*/ 29 h 402"/>
                <a:gd name="T40" fmla="*/ 112 w 452"/>
                <a:gd name="T41" fmla="*/ 27 h 402"/>
                <a:gd name="T42" fmla="*/ 152 w 452"/>
                <a:gd name="T43" fmla="*/ 105 h 402"/>
                <a:gd name="T44" fmla="*/ 124 w 452"/>
                <a:gd name="T45" fmla="*/ 146 h 402"/>
                <a:gd name="T46" fmla="*/ 121 w 452"/>
                <a:gd name="T47" fmla="*/ 155 h 402"/>
                <a:gd name="T48" fmla="*/ 283 w 452"/>
                <a:gd name="T49" fmla="*/ 311 h 402"/>
                <a:gd name="T50" fmla="*/ 348 w 452"/>
                <a:gd name="T51" fmla="*/ 252 h 402"/>
                <a:gd name="T52" fmla="*/ 352 w 452"/>
                <a:gd name="T53" fmla="*/ 254 h 402"/>
                <a:gd name="T54" fmla="*/ 375 w 452"/>
                <a:gd name="T55" fmla="*/ 267 h 402"/>
                <a:gd name="T56" fmla="*/ 425 w 452"/>
                <a:gd name="T57" fmla="*/ 299 h 402"/>
                <a:gd name="T58" fmla="*/ 291 w 452"/>
                <a:gd name="T59" fmla="*/ 374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52" h="402">
                  <a:moveTo>
                    <a:pt x="445" y="282"/>
                  </a:moveTo>
                  <a:cubicBezTo>
                    <a:pt x="422" y="269"/>
                    <a:pt x="403" y="256"/>
                    <a:pt x="388" y="247"/>
                  </a:cubicBezTo>
                  <a:cubicBezTo>
                    <a:pt x="377" y="239"/>
                    <a:pt x="369" y="234"/>
                    <a:pt x="364" y="231"/>
                  </a:cubicBezTo>
                  <a:cubicBezTo>
                    <a:pt x="347" y="223"/>
                    <a:pt x="335" y="229"/>
                    <a:pt x="330" y="234"/>
                  </a:cubicBezTo>
                  <a:cubicBezTo>
                    <a:pt x="330" y="234"/>
                    <a:pt x="329" y="235"/>
                    <a:pt x="329" y="236"/>
                  </a:cubicBezTo>
                  <a:cubicBezTo>
                    <a:pt x="312" y="261"/>
                    <a:pt x="290" y="285"/>
                    <a:pt x="284" y="286"/>
                  </a:cubicBezTo>
                  <a:cubicBezTo>
                    <a:pt x="276" y="285"/>
                    <a:pt x="241" y="265"/>
                    <a:pt x="207" y="237"/>
                  </a:cubicBezTo>
                  <a:cubicBezTo>
                    <a:pt x="171" y="207"/>
                    <a:pt x="149" y="179"/>
                    <a:pt x="146" y="160"/>
                  </a:cubicBezTo>
                  <a:cubicBezTo>
                    <a:pt x="169" y="136"/>
                    <a:pt x="177" y="122"/>
                    <a:pt x="177" y="105"/>
                  </a:cubicBezTo>
                  <a:cubicBezTo>
                    <a:pt x="177" y="88"/>
                    <a:pt x="137" y="16"/>
                    <a:pt x="129" y="9"/>
                  </a:cubicBezTo>
                  <a:cubicBezTo>
                    <a:pt x="122" y="1"/>
                    <a:pt x="106" y="0"/>
                    <a:pt x="81" y="5"/>
                  </a:cubicBezTo>
                  <a:cubicBezTo>
                    <a:pt x="78" y="6"/>
                    <a:pt x="76" y="7"/>
                    <a:pt x="74" y="9"/>
                  </a:cubicBezTo>
                  <a:cubicBezTo>
                    <a:pt x="71" y="12"/>
                    <a:pt x="0" y="84"/>
                    <a:pt x="34" y="172"/>
                  </a:cubicBezTo>
                  <a:cubicBezTo>
                    <a:pt x="71" y="268"/>
                    <a:pt x="166" y="380"/>
                    <a:pt x="287" y="399"/>
                  </a:cubicBezTo>
                  <a:cubicBezTo>
                    <a:pt x="301" y="401"/>
                    <a:pt x="314" y="402"/>
                    <a:pt x="326" y="402"/>
                  </a:cubicBezTo>
                  <a:cubicBezTo>
                    <a:pt x="398" y="402"/>
                    <a:pt x="440" y="366"/>
                    <a:pt x="452" y="295"/>
                  </a:cubicBezTo>
                  <a:cubicBezTo>
                    <a:pt x="452" y="289"/>
                    <a:pt x="450" y="284"/>
                    <a:pt x="445" y="282"/>
                  </a:cubicBezTo>
                  <a:close/>
                  <a:moveTo>
                    <a:pt x="291" y="374"/>
                  </a:moveTo>
                  <a:cubicBezTo>
                    <a:pt x="163" y="355"/>
                    <a:pt x="82" y="228"/>
                    <a:pt x="57" y="163"/>
                  </a:cubicBezTo>
                  <a:cubicBezTo>
                    <a:pt x="33" y="99"/>
                    <a:pt x="78" y="42"/>
                    <a:pt x="89" y="29"/>
                  </a:cubicBezTo>
                  <a:cubicBezTo>
                    <a:pt x="99" y="27"/>
                    <a:pt x="108" y="27"/>
                    <a:pt x="112" y="27"/>
                  </a:cubicBezTo>
                  <a:cubicBezTo>
                    <a:pt x="121" y="39"/>
                    <a:pt x="150" y="95"/>
                    <a:pt x="152" y="105"/>
                  </a:cubicBezTo>
                  <a:cubicBezTo>
                    <a:pt x="152" y="112"/>
                    <a:pt x="150" y="121"/>
                    <a:pt x="124" y="146"/>
                  </a:cubicBezTo>
                  <a:cubicBezTo>
                    <a:pt x="122" y="149"/>
                    <a:pt x="121" y="152"/>
                    <a:pt x="121" y="155"/>
                  </a:cubicBezTo>
                  <a:cubicBezTo>
                    <a:pt x="121" y="220"/>
                    <a:pt x="259" y="311"/>
                    <a:pt x="283" y="311"/>
                  </a:cubicBezTo>
                  <a:cubicBezTo>
                    <a:pt x="304" y="311"/>
                    <a:pt x="332" y="276"/>
                    <a:pt x="348" y="252"/>
                  </a:cubicBezTo>
                  <a:cubicBezTo>
                    <a:pt x="349" y="252"/>
                    <a:pt x="350" y="253"/>
                    <a:pt x="352" y="254"/>
                  </a:cubicBezTo>
                  <a:cubicBezTo>
                    <a:pt x="357" y="256"/>
                    <a:pt x="365" y="261"/>
                    <a:pt x="375" y="267"/>
                  </a:cubicBezTo>
                  <a:cubicBezTo>
                    <a:pt x="388" y="276"/>
                    <a:pt x="405" y="287"/>
                    <a:pt x="425" y="299"/>
                  </a:cubicBezTo>
                  <a:cubicBezTo>
                    <a:pt x="416" y="344"/>
                    <a:pt x="390" y="389"/>
                    <a:pt x="291" y="37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" name="Group 34"/>
          <p:cNvGrpSpPr>
            <a:grpSpLocks noChangeAspect="1"/>
          </p:cNvGrpSpPr>
          <p:nvPr/>
        </p:nvGrpSpPr>
        <p:grpSpPr bwMode="auto">
          <a:xfrm>
            <a:off x="7331671" y="1990618"/>
            <a:ext cx="555650" cy="540000"/>
            <a:chOff x="1169" y="873"/>
            <a:chExt cx="355" cy="345"/>
          </a:xfrm>
          <a:solidFill>
            <a:srgbClr val="E57518"/>
          </a:solidFill>
        </p:grpSpPr>
        <p:sp>
          <p:nvSpPr>
            <p:cNvPr id="32" name="Freeform 35"/>
            <p:cNvSpPr>
              <a:spLocks/>
            </p:cNvSpPr>
            <p:nvPr/>
          </p:nvSpPr>
          <p:spPr bwMode="auto">
            <a:xfrm>
              <a:off x="1246" y="873"/>
              <a:ext cx="278" cy="207"/>
            </a:xfrm>
            <a:custGeom>
              <a:avLst/>
              <a:gdLst>
                <a:gd name="T0" fmla="*/ 3838 w 5261"/>
                <a:gd name="T1" fmla="*/ 1327 h 3897"/>
                <a:gd name="T2" fmla="*/ 3612 w 5261"/>
                <a:gd name="T3" fmla="*/ 1347 h 3897"/>
                <a:gd name="T4" fmla="*/ 1564 w 5261"/>
                <a:gd name="T5" fmla="*/ 126 h 3897"/>
                <a:gd name="T6" fmla="*/ 0 w 5261"/>
                <a:gd name="T7" fmla="*/ 1527 h 3897"/>
                <a:gd name="T8" fmla="*/ 182 w 5261"/>
                <a:gd name="T9" fmla="*/ 1574 h 3897"/>
                <a:gd name="T10" fmla="*/ 1884 w 5261"/>
                <a:gd name="T11" fmla="*/ 295 h 3897"/>
                <a:gd name="T12" fmla="*/ 3487 w 5261"/>
                <a:gd name="T13" fmla="*/ 1569 h 3897"/>
                <a:gd name="T14" fmla="*/ 4528 w 5261"/>
                <a:gd name="T15" fmla="*/ 1761 h 3897"/>
                <a:gd name="T16" fmla="*/ 4927 w 5261"/>
                <a:gd name="T17" fmla="*/ 2735 h 3897"/>
                <a:gd name="T18" fmla="*/ 4280 w 5261"/>
                <a:gd name="T19" fmla="*/ 3614 h 3897"/>
                <a:gd name="T20" fmla="*/ 3634 w 5261"/>
                <a:gd name="T21" fmla="*/ 3698 h 3897"/>
                <a:gd name="T22" fmla="*/ 3634 w 5261"/>
                <a:gd name="T23" fmla="*/ 3886 h 3897"/>
                <a:gd name="T24" fmla="*/ 4290 w 5261"/>
                <a:gd name="T25" fmla="*/ 3814 h 3897"/>
                <a:gd name="T26" fmla="*/ 5094 w 5261"/>
                <a:gd name="T27" fmla="*/ 2880 h 3897"/>
                <a:gd name="T28" fmla="*/ 3838 w 5261"/>
                <a:gd name="T29" fmla="*/ 1327 h 3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61" h="3897">
                  <a:moveTo>
                    <a:pt x="3838" y="1327"/>
                  </a:moveTo>
                  <a:cubicBezTo>
                    <a:pt x="3763" y="1327"/>
                    <a:pt x="3687" y="1334"/>
                    <a:pt x="3612" y="1347"/>
                  </a:cubicBezTo>
                  <a:cubicBezTo>
                    <a:pt x="3308" y="517"/>
                    <a:pt x="2439" y="0"/>
                    <a:pt x="1564" y="126"/>
                  </a:cubicBezTo>
                  <a:cubicBezTo>
                    <a:pt x="816" y="234"/>
                    <a:pt x="189" y="794"/>
                    <a:pt x="0" y="1527"/>
                  </a:cubicBezTo>
                  <a:lnTo>
                    <a:pt x="182" y="1574"/>
                  </a:lnTo>
                  <a:cubicBezTo>
                    <a:pt x="379" y="811"/>
                    <a:pt x="1097" y="273"/>
                    <a:pt x="1884" y="295"/>
                  </a:cubicBezTo>
                  <a:cubicBezTo>
                    <a:pt x="2662" y="317"/>
                    <a:pt x="3259" y="848"/>
                    <a:pt x="3487" y="1569"/>
                  </a:cubicBezTo>
                  <a:cubicBezTo>
                    <a:pt x="3856" y="1478"/>
                    <a:pt x="4226" y="1515"/>
                    <a:pt x="4528" y="1761"/>
                  </a:cubicBezTo>
                  <a:cubicBezTo>
                    <a:pt x="4816" y="1994"/>
                    <a:pt x="4970" y="2366"/>
                    <a:pt x="4927" y="2735"/>
                  </a:cubicBezTo>
                  <a:cubicBezTo>
                    <a:pt x="4882" y="3119"/>
                    <a:pt x="4632" y="3455"/>
                    <a:pt x="4280" y="3614"/>
                  </a:cubicBezTo>
                  <a:cubicBezTo>
                    <a:pt x="4067" y="3710"/>
                    <a:pt x="3862" y="3698"/>
                    <a:pt x="3634" y="3698"/>
                  </a:cubicBezTo>
                  <a:lnTo>
                    <a:pt x="3634" y="3886"/>
                  </a:lnTo>
                  <a:cubicBezTo>
                    <a:pt x="3863" y="3886"/>
                    <a:pt x="4071" y="3897"/>
                    <a:pt x="4290" y="3814"/>
                  </a:cubicBezTo>
                  <a:cubicBezTo>
                    <a:pt x="4734" y="3646"/>
                    <a:pt x="5002" y="3309"/>
                    <a:pt x="5094" y="2880"/>
                  </a:cubicBezTo>
                  <a:cubicBezTo>
                    <a:pt x="5261" y="2093"/>
                    <a:pt x="4643" y="1327"/>
                    <a:pt x="3838" y="132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6"/>
            <p:cNvSpPr>
              <a:spLocks/>
            </p:cNvSpPr>
            <p:nvPr/>
          </p:nvSpPr>
          <p:spPr bwMode="auto">
            <a:xfrm>
              <a:off x="1169" y="958"/>
              <a:ext cx="111" cy="122"/>
            </a:xfrm>
            <a:custGeom>
              <a:avLst/>
              <a:gdLst>
                <a:gd name="T0" fmla="*/ 1103 w 2100"/>
                <a:gd name="T1" fmla="*/ 2089 h 2312"/>
                <a:gd name="T2" fmla="*/ 514 w 2100"/>
                <a:gd name="T3" fmla="*/ 758 h 2312"/>
                <a:gd name="T4" fmla="*/ 1963 w 2100"/>
                <a:gd name="T5" fmla="*/ 623 h 2312"/>
                <a:gd name="T6" fmla="*/ 2100 w 2100"/>
                <a:gd name="T7" fmla="*/ 494 h 2312"/>
                <a:gd name="T8" fmla="*/ 1507 w 2100"/>
                <a:gd name="T9" fmla="*/ 146 h 2312"/>
                <a:gd name="T10" fmla="*/ 1507 w 2100"/>
                <a:gd name="T11" fmla="*/ 147 h 2312"/>
                <a:gd name="T12" fmla="*/ 256 w 2100"/>
                <a:gd name="T13" fmla="*/ 1544 h 2312"/>
                <a:gd name="T14" fmla="*/ 1066 w 2100"/>
                <a:gd name="T15" fmla="*/ 2274 h 2312"/>
                <a:gd name="T16" fmla="*/ 1691 w 2100"/>
                <a:gd name="T17" fmla="*/ 2295 h 2312"/>
                <a:gd name="T18" fmla="*/ 1691 w 2100"/>
                <a:gd name="T19" fmla="*/ 2107 h 2312"/>
                <a:gd name="T20" fmla="*/ 1103 w 2100"/>
                <a:gd name="T21" fmla="*/ 2089 h 2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00" h="2312">
                  <a:moveTo>
                    <a:pt x="1103" y="2089"/>
                  </a:moveTo>
                  <a:cubicBezTo>
                    <a:pt x="515" y="1965"/>
                    <a:pt x="210" y="1276"/>
                    <a:pt x="514" y="758"/>
                  </a:cubicBezTo>
                  <a:cubicBezTo>
                    <a:pt x="828" y="223"/>
                    <a:pt x="1553" y="182"/>
                    <a:pt x="1963" y="623"/>
                  </a:cubicBezTo>
                  <a:lnTo>
                    <a:pt x="2100" y="494"/>
                  </a:lnTo>
                  <a:cubicBezTo>
                    <a:pt x="1939" y="321"/>
                    <a:pt x="1740" y="194"/>
                    <a:pt x="1507" y="146"/>
                  </a:cubicBezTo>
                  <a:lnTo>
                    <a:pt x="1507" y="147"/>
                  </a:lnTo>
                  <a:cubicBezTo>
                    <a:pt x="710" y="0"/>
                    <a:pt x="0" y="756"/>
                    <a:pt x="256" y="1544"/>
                  </a:cubicBezTo>
                  <a:cubicBezTo>
                    <a:pt x="374" y="1905"/>
                    <a:pt x="689" y="2202"/>
                    <a:pt x="1066" y="2274"/>
                  </a:cubicBezTo>
                  <a:cubicBezTo>
                    <a:pt x="1269" y="2312"/>
                    <a:pt x="1486" y="2295"/>
                    <a:pt x="1691" y="2295"/>
                  </a:cubicBezTo>
                  <a:lnTo>
                    <a:pt x="1691" y="2107"/>
                  </a:lnTo>
                  <a:cubicBezTo>
                    <a:pt x="1496" y="2107"/>
                    <a:pt x="1296" y="2119"/>
                    <a:pt x="1103" y="208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Rectangle 37"/>
            <p:cNvSpPr>
              <a:spLocks noChangeArrowheads="1"/>
            </p:cNvSpPr>
            <p:nvPr/>
          </p:nvSpPr>
          <p:spPr bwMode="auto">
            <a:xfrm>
              <a:off x="1289" y="1128"/>
              <a:ext cx="1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38"/>
            <p:cNvSpPr>
              <a:spLocks noChangeArrowheads="1"/>
            </p:cNvSpPr>
            <p:nvPr/>
          </p:nvSpPr>
          <p:spPr bwMode="auto">
            <a:xfrm>
              <a:off x="1309" y="1128"/>
              <a:ext cx="9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39"/>
            <p:cNvSpPr>
              <a:spLocks noChangeArrowheads="1"/>
            </p:cNvSpPr>
            <p:nvPr/>
          </p:nvSpPr>
          <p:spPr bwMode="auto">
            <a:xfrm>
              <a:off x="1368" y="1128"/>
              <a:ext cx="4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40"/>
            <p:cNvSpPr>
              <a:spLocks noChangeArrowheads="1"/>
            </p:cNvSpPr>
            <p:nvPr/>
          </p:nvSpPr>
          <p:spPr bwMode="auto">
            <a:xfrm>
              <a:off x="1344" y="1168"/>
              <a:ext cx="1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41"/>
            <p:cNvSpPr>
              <a:spLocks noChangeArrowheads="1"/>
            </p:cNvSpPr>
            <p:nvPr/>
          </p:nvSpPr>
          <p:spPr bwMode="auto">
            <a:xfrm>
              <a:off x="1289" y="1188"/>
              <a:ext cx="1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42"/>
            <p:cNvSpPr>
              <a:spLocks noChangeArrowheads="1"/>
            </p:cNvSpPr>
            <p:nvPr/>
          </p:nvSpPr>
          <p:spPr bwMode="auto">
            <a:xfrm>
              <a:off x="1309" y="1188"/>
              <a:ext cx="9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43"/>
            <p:cNvSpPr>
              <a:spLocks noChangeArrowheads="1"/>
            </p:cNvSpPr>
            <p:nvPr/>
          </p:nvSpPr>
          <p:spPr bwMode="auto">
            <a:xfrm>
              <a:off x="1368" y="1188"/>
              <a:ext cx="4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4"/>
            <p:cNvSpPr>
              <a:spLocks noChangeArrowheads="1"/>
            </p:cNvSpPr>
            <p:nvPr/>
          </p:nvSpPr>
          <p:spPr bwMode="auto">
            <a:xfrm>
              <a:off x="1344" y="1089"/>
              <a:ext cx="1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Rectangle 45"/>
            <p:cNvSpPr>
              <a:spLocks noChangeArrowheads="1"/>
            </p:cNvSpPr>
            <p:nvPr/>
          </p:nvSpPr>
          <p:spPr bwMode="auto">
            <a:xfrm>
              <a:off x="1289" y="1069"/>
              <a:ext cx="1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46"/>
            <p:cNvSpPr>
              <a:spLocks noChangeArrowheads="1"/>
            </p:cNvSpPr>
            <p:nvPr/>
          </p:nvSpPr>
          <p:spPr bwMode="auto">
            <a:xfrm>
              <a:off x="1309" y="1069"/>
              <a:ext cx="9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Rectangle 47"/>
            <p:cNvSpPr>
              <a:spLocks noChangeArrowheads="1"/>
            </p:cNvSpPr>
            <p:nvPr/>
          </p:nvSpPr>
          <p:spPr bwMode="auto">
            <a:xfrm>
              <a:off x="1368" y="1069"/>
              <a:ext cx="4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8"/>
            <p:cNvSpPr>
              <a:spLocks noEditPoints="1"/>
            </p:cNvSpPr>
            <p:nvPr/>
          </p:nvSpPr>
          <p:spPr bwMode="auto">
            <a:xfrm>
              <a:off x="1269" y="909"/>
              <a:ext cx="159" cy="309"/>
            </a:xfrm>
            <a:custGeom>
              <a:avLst/>
              <a:gdLst>
                <a:gd name="T0" fmla="*/ 2453 w 3006"/>
                <a:gd name="T1" fmla="*/ 1888 h 5830"/>
                <a:gd name="T2" fmla="*/ 3003 w 3006"/>
                <a:gd name="T3" fmla="*/ 1789 h 5830"/>
                <a:gd name="T4" fmla="*/ 2450 w 3006"/>
                <a:gd name="T5" fmla="*/ 1700 h 5830"/>
                <a:gd name="T6" fmla="*/ 1973 w 3006"/>
                <a:gd name="T7" fmla="*/ 2640 h 5830"/>
                <a:gd name="T8" fmla="*/ 1785 w 3006"/>
                <a:gd name="T9" fmla="*/ 1256 h 5830"/>
                <a:gd name="T10" fmla="*/ 2122 w 3006"/>
                <a:gd name="T11" fmla="*/ 1082 h 5830"/>
                <a:gd name="T12" fmla="*/ 2122 w 3006"/>
                <a:gd name="T13" fmla="*/ 514 h 5830"/>
                <a:gd name="T14" fmla="*/ 1862 w 3006"/>
                <a:gd name="T15" fmla="*/ 913 h 5830"/>
                <a:gd name="T16" fmla="*/ 1597 w 3006"/>
                <a:gd name="T17" fmla="*/ 2640 h 5830"/>
                <a:gd name="T18" fmla="*/ 1409 w 3006"/>
                <a:gd name="T19" fmla="*/ 634 h 5830"/>
                <a:gd name="T20" fmla="*/ 1176 w 3006"/>
                <a:gd name="T21" fmla="*/ 284 h 5830"/>
                <a:gd name="T22" fmla="*/ 609 w 3006"/>
                <a:gd name="T23" fmla="*/ 284 h 5830"/>
                <a:gd name="T24" fmla="*/ 1036 w 3006"/>
                <a:gd name="T25" fmla="*/ 528 h 5830"/>
                <a:gd name="T26" fmla="*/ 1220 w 3006"/>
                <a:gd name="T27" fmla="*/ 2640 h 5830"/>
                <a:gd name="T28" fmla="*/ 1032 w 3006"/>
                <a:gd name="T29" fmla="*/ 1879 h 5830"/>
                <a:gd name="T30" fmla="*/ 289 w 3006"/>
                <a:gd name="T31" fmla="*/ 1695 h 5830"/>
                <a:gd name="T32" fmla="*/ 289 w 3006"/>
                <a:gd name="T33" fmla="*/ 2262 h 5830"/>
                <a:gd name="T34" fmla="*/ 844 w 3006"/>
                <a:gd name="T35" fmla="*/ 2068 h 5830"/>
                <a:gd name="T36" fmla="*/ 0 w 3006"/>
                <a:gd name="T37" fmla="*/ 2640 h 5830"/>
                <a:gd name="T38" fmla="*/ 192 w 3006"/>
                <a:gd name="T39" fmla="*/ 3581 h 5830"/>
                <a:gd name="T40" fmla="*/ 0 w 3006"/>
                <a:gd name="T41" fmla="*/ 3765 h 5830"/>
                <a:gd name="T42" fmla="*/ 192 w 3006"/>
                <a:gd name="T43" fmla="*/ 4705 h 5830"/>
                <a:gd name="T44" fmla="*/ 0 w 3006"/>
                <a:gd name="T45" fmla="*/ 4889 h 5830"/>
                <a:gd name="T46" fmla="*/ 3006 w 3006"/>
                <a:gd name="T47" fmla="*/ 5830 h 5830"/>
                <a:gd name="T48" fmla="*/ 2826 w 3006"/>
                <a:gd name="T49" fmla="*/ 4889 h 5830"/>
                <a:gd name="T50" fmla="*/ 3006 w 3006"/>
                <a:gd name="T51" fmla="*/ 4705 h 5830"/>
                <a:gd name="T52" fmla="*/ 2826 w 3006"/>
                <a:gd name="T53" fmla="*/ 3765 h 5830"/>
                <a:gd name="T54" fmla="*/ 3006 w 3006"/>
                <a:gd name="T55" fmla="*/ 3581 h 5830"/>
                <a:gd name="T56" fmla="*/ 2161 w 3006"/>
                <a:gd name="T57" fmla="*/ 2640 h 5830"/>
                <a:gd name="T58" fmla="*/ 2719 w 3006"/>
                <a:gd name="T59" fmla="*/ 1693 h 5830"/>
                <a:gd name="T60" fmla="*/ 2719 w 3006"/>
                <a:gd name="T61" fmla="*/ 1884 h 5830"/>
                <a:gd name="T62" fmla="*/ 2719 w 3006"/>
                <a:gd name="T63" fmla="*/ 1693 h 5830"/>
                <a:gd name="T64" fmla="*/ 2217 w 3006"/>
                <a:gd name="T65" fmla="*/ 798 h 5830"/>
                <a:gd name="T66" fmla="*/ 2026 w 3006"/>
                <a:gd name="T67" fmla="*/ 798 h 5830"/>
                <a:gd name="T68" fmla="*/ 797 w 3006"/>
                <a:gd name="T69" fmla="*/ 284 h 5830"/>
                <a:gd name="T70" fmla="*/ 988 w 3006"/>
                <a:gd name="T71" fmla="*/ 284 h 5830"/>
                <a:gd name="T72" fmla="*/ 797 w 3006"/>
                <a:gd name="T73" fmla="*/ 284 h 5830"/>
                <a:gd name="T74" fmla="*/ 193 w 3006"/>
                <a:gd name="T75" fmla="*/ 1979 h 5830"/>
                <a:gd name="T76" fmla="*/ 384 w 3006"/>
                <a:gd name="T77" fmla="*/ 1979 h 5830"/>
                <a:gd name="T78" fmla="*/ 188 w 3006"/>
                <a:gd name="T79" fmla="*/ 3953 h 5830"/>
                <a:gd name="T80" fmla="*/ 2818 w 3006"/>
                <a:gd name="T81" fmla="*/ 4517 h 5830"/>
                <a:gd name="T82" fmla="*/ 188 w 3006"/>
                <a:gd name="T83" fmla="*/ 3953 h 5830"/>
                <a:gd name="T84" fmla="*/ 1791 w 3006"/>
                <a:gd name="T85" fmla="*/ 4889 h 5830"/>
                <a:gd name="T86" fmla="*/ 2818 w 3006"/>
                <a:gd name="T87" fmla="*/ 5077 h 5830"/>
                <a:gd name="T88" fmla="*/ 188 w 3006"/>
                <a:gd name="T89" fmla="*/ 5642 h 5830"/>
                <a:gd name="T90" fmla="*/ 1227 w 3006"/>
                <a:gd name="T91" fmla="*/ 5077 h 5830"/>
                <a:gd name="T92" fmla="*/ 380 w 3006"/>
                <a:gd name="T93" fmla="*/ 4889 h 5830"/>
                <a:gd name="T94" fmla="*/ 2638 w 3006"/>
                <a:gd name="T95" fmla="*/ 4705 h 5830"/>
                <a:gd name="T96" fmla="*/ 2818 w 3006"/>
                <a:gd name="T97" fmla="*/ 3393 h 5830"/>
                <a:gd name="T98" fmla="*/ 1791 w 3006"/>
                <a:gd name="T99" fmla="*/ 3581 h 5830"/>
                <a:gd name="T100" fmla="*/ 2638 w 3006"/>
                <a:gd name="T101" fmla="*/ 3765 h 5830"/>
                <a:gd name="T102" fmla="*/ 380 w 3006"/>
                <a:gd name="T103" fmla="*/ 3581 h 5830"/>
                <a:gd name="T104" fmla="*/ 1227 w 3006"/>
                <a:gd name="T105" fmla="*/ 3393 h 5830"/>
                <a:gd name="T106" fmla="*/ 188 w 3006"/>
                <a:gd name="T107" fmla="*/ 2828 h 5830"/>
                <a:gd name="T108" fmla="*/ 2818 w 3006"/>
                <a:gd name="T109" fmla="*/ 3393 h 58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06" h="5830">
                  <a:moveTo>
                    <a:pt x="2161" y="1888"/>
                  </a:moveTo>
                  <a:lnTo>
                    <a:pt x="2453" y="1888"/>
                  </a:lnTo>
                  <a:cubicBezTo>
                    <a:pt x="2494" y="1996"/>
                    <a:pt x="2598" y="2073"/>
                    <a:pt x="2719" y="2073"/>
                  </a:cubicBezTo>
                  <a:cubicBezTo>
                    <a:pt x="2876" y="2073"/>
                    <a:pt x="3003" y="1945"/>
                    <a:pt x="3003" y="1789"/>
                  </a:cubicBezTo>
                  <a:cubicBezTo>
                    <a:pt x="3003" y="1633"/>
                    <a:pt x="2876" y="1505"/>
                    <a:pt x="2719" y="1505"/>
                  </a:cubicBezTo>
                  <a:cubicBezTo>
                    <a:pt x="2594" y="1505"/>
                    <a:pt x="2488" y="1587"/>
                    <a:pt x="2450" y="1700"/>
                  </a:cubicBezTo>
                  <a:lnTo>
                    <a:pt x="1973" y="1700"/>
                  </a:lnTo>
                  <a:lnTo>
                    <a:pt x="1973" y="2640"/>
                  </a:lnTo>
                  <a:lnTo>
                    <a:pt x="1785" y="2640"/>
                  </a:lnTo>
                  <a:lnTo>
                    <a:pt x="1785" y="1256"/>
                  </a:lnTo>
                  <a:lnTo>
                    <a:pt x="1991" y="1050"/>
                  </a:lnTo>
                  <a:cubicBezTo>
                    <a:pt x="2030" y="1070"/>
                    <a:pt x="2074" y="1082"/>
                    <a:pt x="2122" y="1082"/>
                  </a:cubicBezTo>
                  <a:cubicBezTo>
                    <a:pt x="2278" y="1082"/>
                    <a:pt x="2405" y="954"/>
                    <a:pt x="2405" y="798"/>
                  </a:cubicBezTo>
                  <a:cubicBezTo>
                    <a:pt x="2405" y="642"/>
                    <a:pt x="2278" y="514"/>
                    <a:pt x="2122" y="514"/>
                  </a:cubicBezTo>
                  <a:cubicBezTo>
                    <a:pt x="1965" y="514"/>
                    <a:pt x="1838" y="642"/>
                    <a:pt x="1838" y="798"/>
                  </a:cubicBezTo>
                  <a:cubicBezTo>
                    <a:pt x="1838" y="839"/>
                    <a:pt x="1847" y="877"/>
                    <a:pt x="1862" y="913"/>
                  </a:cubicBezTo>
                  <a:lnTo>
                    <a:pt x="1597" y="1178"/>
                  </a:lnTo>
                  <a:lnTo>
                    <a:pt x="1597" y="2640"/>
                  </a:lnTo>
                  <a:lnTo>
                    <a:pt x="1409" y="2640"/>
                  </a:lnTo>
                  <a:lnTo>
                    <a:pt x="1409" y="634"/>
                  </a:lnTo>
                  <a:lnTo>
                    <a:pt x="1158" y="384"/>
                  </a:lnTo>
                  <a:cubicBezTo>
                    <a:pt x="1170" y="353"/>
                    <a:pt x="1176" y="319"/>
                    <a:pt x="1176" y="284"/>
                  </a:cubicBezTo>
                  <a:cubicBezTo>
                    <a:pt x="1176" y="127"/>
                    <a:pt x="1049" y="0"/>
                    <a:pt x="893" y="0"/>
                  </a:cubicBezTo>
                  <a:cubicBezTo>
                    <a:pt x="736" y="0"/>
                    <a:pt x="609" y="127"/>
                    <a:pt x="609" y="284"/>
                  </a:cubicBezTo>
                  <a:cubicBezTo>
                    <a:pt x="609" y="440"/>
                    <a:pt x="736" y="567"/>
                    <a:pt x="893" y="567"/>
                  </a:cubicBezTo>
                  <a:cubicBezTo>
                    <a:pt x="945" y="567"/>
                    <a:pt x="994" y="553"/>
                    <a:pt x="1036" y="528"/>
                  </a:cubicBezTo>
                  <a:lnTo>
                    <a:pt x="1220" y="712"/>
                  </a:lnTo>
                  <a:lnTo>
                    <a:pt x="1220" y="2640"/>
                  </a:lnTo>
                  <a:lnTo>
                    <a:pt x="1032" y="2640"/>
                  </a:lnTo>
                  <a:lnTo>
                    <a:pt x="1032" y="1879"/>
                  </a:lnTo>
                  <a:lnTo>
                    <a:pt x="554" y="1879"/>
                  </a:lnTo>
                  <a:cubicBezTo>
                    <a:pt x="514" y="1772"/>
                    <a:pt x="410" y="1695"/>
                    <a:pt x="289" y="1695"/>
                  </a:cubicBezTo>
                  <a:cubicBezTo>
                    <a:pt x="132" y="1695"/>
                    <a:pt x="5" y="1822"/>
                    <a:pt x="5" y="1979"/>
                  </a:cubicBezTo>
                  <a:cubicBezTo>
                    <a:pt x="5" y="2135"/>
                    <a:pt x="132" y="2262"/>
                    <a:pt x="289" y="2262"/>
                  </a:cubicBezTo>
                  <a:cubicBezTo>
                    <a:pt x="414" y="2262"/>
                    <a:pt x="520" y="2181"/>
                    <a:pt x="558" y="2068"/>
                  </a:cubicBezTo>
                  <a:lnTo>
                    <a:pt x="844" y="2068"/>
                  </a:lnTo>
                  <a:lnTo>
                    <a:pt x="844" y="2640"/>
                  </a:lnTo>
                  <a:lnTo>
                    <a:pt x="0" y="2640"/>
                  </a:lnTo>
                  <a:lnTo>
                    <a:pt x="0" y="3581"/>
                  </a:lnTo>
                  <a:lnTo>
                    <a:pt x="192" y="3581"/>
                  </a:lnTo>
                  <a:lnTo>
                    <a:pt x="192" y="3765"/>
                  </a:lnTo>
                  <a:lnTo>
                    <a:pt x="0" y="3765"/>
                  </a:lnTo>
                  <a:lnTo>
                    <a:pt x="0" y="4705"/>
                  </a:lnTo>
                  <a:lnTo>
                    <a:pt x="192" y="4705"/>
                  </a:lnTo>
                  <a:lnTo>
                    <a:pt x="192" y="4889"/>
                  </a:lnTo>
                  <a:lnTo>
                    <a:pt x="0" y="4889"/>
                  </a:lnTo>
                  <a:lnTo>
                    <a:pt x="0" y="5830"/>
                  </a:lnTo>
                  <a:lnTo>
                    <a:pt x="3006" y="5830"/>
                  </a:lnTo>
                  <a:lnTo>
                    <a:pt x="3006" y="4889"/>
                  </a:lnTo>
                  <a:lnTo>
                    <a:pt x="2826" y="4889"/>
                  </a:lnTo>
                  <a:lnTo>
                    <a:pt x="2826" y="4705"/>
                  </a:lnTo>
                  <a:lnTo>
                    <a:pt x="3006" y="4705"/>
                  </a:lnTo>
                  <a:lnTo>
                    <a:pt x="3006" y="3765"/>
                  </a:lnTo>
                  <a:lnTo>
                    <a:pt x="2826" y="3765"/>
                  </a:lnTo>
                  <a:lnTo>
                    <a:pt x="2826" y="3581"/>
                  </a:lnTo>
                  <a:lnTo>
                    <a:pt x="3006" y="3581"/>
                  </a:lnTo>
                  <a:lnTo>
                    <a:pt x="3006" y="2640"/>
                  </a:lnTo>
                  <a:lnTo>
                    <a:pt x="2161" y="2640"/>
                  </a:lnTo>
                  <a:lnTo>
                    <a:pt x="2161" y="1888"/>
                  </a:lnTo>
                  <a:close/>
                  <a:moveTo>
                    <a:pt x="2719" y="1693"/>
                  </a:moveTo>
                  <a:cubicBezTo>
                    <a:pt x="2772" y="1693"/>
                    <a:pt x="2815" y="1736"/>
                    <a:pt x="2815" y="1789"/>
                  </a:cubicBezTo>
                  <a:cubicBezTo>
                    <a:pt x="2815" y="1842"/>
                    <a:pt x="2772" y="1884"/>
                    <a:pt x="2719" y="1884"/>
                  </a:cubicBezTo>
                  <a:cubicBezTo>
                    <a:pt x="2667" y="1884"/>
                    <a:pt x="2624" y="1842"/>
                    <a:pt x="2624" y="1789"/>
                  </a:cubicBezTo>
                  <a:cubicBezTo>
                    <a:pt x="2624" y="1736"/>
                    <a:pt x="2667" y="1693"/>
                    <a:pt x="2719" y="1693"/>
                  </a:cubicBezTo>
                  <a:close/>
                  <a:moveTo>
                    <a:pt x="2122" y="703"/>
                  </a:moveTo>
                  <a:cubicBezTo>
                    <a:pt x="2174" y="703"/>
                    <a:pt x="2217" y="745"/>
                    <a:pt x="2217" y="798"/>
                  </a:cubicBezTo>
                  <a:cubicBezTo>
                    <a:pt x="2217" y="851"/>
                    <a:pt x="2174" y="894"/>
                    <a:pt x="2122" y="894"/>
                  </a:cubicBezTo>
                  <a:cubicBezTo>
                    <a:pt x="2069" y="894"/>
                    <a:pt x="2026" y="851"/>
                    <a:pt x="2026" y="798"/>
                  </a:cubicBezTo>
                  <a:cubicBezTo>
                    <a:pt x="2026" y="745"/>
                    <a:pt x="2069" y="703"/>
                    <a:pt x="2122" y="703"/>
                  </a:cubicBezTo>
                  <a:close/>
                  <a:moveTo>
                    <a:pt x="797" y="284"/>
                  </a:moveTo>
                  <a:cubicBezTo>
                    <a:pt x="797" y="231"/>
                    <a:pt x="840" y="188"/>
                    <a:pt x="893" y="188"/>
                  </a:cubicBezTo>
                  <a:cubicBezTo>
                    <a:pt x="945" y="188"/>
                    <a:pt x="988" y="231"/>
                    <a:pt x="988" y="284"/>
                  </a:cubicBezTo>
                  <a:cubicBezTo>
                    <a:pt x="988" y="336"/>
                    <a:pt x="945" y="379"/>
                    <a:pt x="893" y="379"/>
                  </a:cubicBezTo>
                  <a:cubicBezTo>
                    <a:pt x="840" y="379"/>
                    <a:pt x="797" y="336"/>
                    <a:pt x="797" y="284"/>
                  </a:cubicBezTo>
                  <a:close/>
                  <a:moveTo>
                    <a:pt x="289" y="2074"/>
                  </a:moveTo>
                  <a:cubicBezTo>
                    <a:pt x="236" y="2074"/>
                    <a:pt x="193" y="2031"/>
                    <a:pt x="193" y="1979"/>
                  </a:cubicBezTo>
                  <a:cubicBezTo>
                    <a:pt x="193" y="1926"/>
                    <a:pt x="236" y="1883"/>
                    <a:pt x="289" y="1883"/>
                  </a:cubicBezTo>
                  <a:cubicBezTo>
                    <a:pt x="341" y="1883"/>
                    <a:pt x="384" y="1926"/>
                    <a:pt x="384" y="1979"/>
                  </a:cubicBezTo>
                  <a:cubicBezTo>
                    <a:pt x="384" y="2031"/>
                    <a:pt x="341" y="2074"/>
                    <a:pt x="289" y="2074"/>
                  </a:cubicBezTo>
                  <a:close/>
                  <a:moveTo>
                    <a:pt x="188" y="3953"/>
                  </a:moveTo>
                  <a:lnTo>
                    <a:pt x="2818" y="3953"/>
                  </a:lnTo>
                  <a:lnTo>
                    <a:pt x="2818" y="4517"/>
                  </a:lnTo>
                  <a:lnTo>
                    <a:pt x="188" y="4517"/>
                  </a:lnTo>
                  <a:lnTo>
                    <a:pt x="188" y="3953"/>
                  </a:lnTo>
                  <a:close/>
                  <a:moveTo>
                    <a:pt x="2638" y="4889"/>
                  </a:moveTo>
                  <a:lnTo>
                    <a:pt x="1791" y="4889"/>
                  </a:lnTo>
                  <a:lnTo>
                    <a:pt x="1791" y="5077"/>
                  </a:lnTo>
                  <a:lnTo>
                    <a:pt x="2818" y="5077"/>
                  </a:lnTo>
                  <a:lnTo>
                    <a:pt x="2818" y="5642"/>
                  </a:lnTo>
                  <a:lnTo>
                    <a:pt x="188" y="5642"/>
                  </a:lnTo>
                  <a:lnTo>
                    <a:pt x="188" y="5077"/>
                  </a:lnTo>
                  <a:lnTo>
                    <a:pt x="1227" y="5077"/>
                  </a:lnTo>
                  <a:lnTo>
                    <a:pt x="1227" y="4889"/>
                  </a:lnTo>
                  <a:lnTo>
                    <a:pt x="380" y="4889"/>
                  </a:lnTo>
                  <a:lnTo>
                    <a:pt x="380" y="4705"/>
                  </a:lnTo>
                  <a:lnTo>
                    <a:pt x="2638" y="4705"/>
                  </a:lnTo>
                  <a:lnTo>
                    <a:pt x="2638" y="4889"/>
                  </a:lnTo>
                  <a:close/>
                  <a:moveTo>
                    <a:pt x="2818" y="3393"/>
                  </a:moveTo>
                  <a:lnTo>
                    <a:pt x="1791" y="3393"/>
                  </a:lnTo>
                  <a:lnTo>
                    <a:pt x="1791" y="3581"/>
                  </a:lnTo>
                  <a:lnTo>
                    <a:pt x="2638" y="3581"/>
                  </a:lnTo>
                  <a:lnTo>
                    <a:pt x="2638" y="3765"/>
                  </a:lnTo>
                  <a:lnTo>
                    <a:pt x="380" y="3765"/>
                  </a:lnTo>
                  <a:lnTo>
                    <a:pt x="380" y="3581"/>
                  </a:lnTo>
                  <a:lnTo>
                    <a:pt x="1227" y="3581"/>
                  </a:lnTo>
                  <a:lnTo>
                    <a:pt x="1227" y="3393"/>
                  </a:lnTo>
                  <a:lnTo>
                    <a:pt x="188" y="3393"/>
                  </a:lnTo>
                  <a:lnTo>
                    <a:pt x="188" y="2828"/>
                  </a:lnTo>
                  <a:lnTo>
                    <a:pt x="2818" y="2828"/>
                  </a:lnTo>
                  <a:lnTo>
                    <a:pt x="2818" y="339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" name="Group 17"/>
          <p:cNvGrpSpPr>
            <a:grpSpLocks noChangeAspect="1"/>
          </p:cNvGrpSpPr>
          <p:nvPr/>
        </p:nvGrpSpPr>
        <p:grpSpPr bwMode="auto">
          <a:xfrm>
            <a:off x="10330701" y="2257167"/>
            <a:ext cx="753159" cy="179291"/>
            <a:chOff x="2735" y="1890"/>
            <a:chExt cx="2218" cy="528"/>
          </a:xfrm>
          <a:solidFill>
            <a:srgbClr val="A136A0"/>
          </a:solidFill>
        </p:grpSpPr>
        <p:sp>
          <p:nvSpPr>
            <p:cNvPr id="46" name="Freeform 19"/>
            <p:cNvSpPr>
              <a:spLocks/>
            </p:cNvSpPr>
            <p:nvPr/>
          </p:nvSpPr>
          <p:spPr bwMode="auto">
            <a:xfrm>
              <a:off x="3327" y="1890"/>
              <a:ext cx="366" cy="528"/>
            </a:xfrm>
            <a:custGeom>
              <a:avLst/>
              <a:gdLst>
                <a:gd name="T0" fmla="*/ 764 w 764"/>
                <a:gd name="T1" fmla="*/ 917 h 1100"/>
                <a:gd name="T2" fmla="*/ 764 w 764"/>
                <a:gd name="T3" fmla="*/ 1100 h 1100"/>
                <a:gd name="T4" fmla="*/ 0 w 764"/>
                <a:gd name="T5" fmla="*/ 1100 h 1100"/>
                <a:gd name="T6" fmla="*/ 0 w 764"/>
                <a:gd name="T7" fmla="*/ 0 h 1100"/>
                <a:gd name="T8" fmla="*/ 199 w 764"/>
                <a:gd name="T9" fmla="*/ 0 h 1100"/>
                <a:gd name="T10" fmla="*/ 199 w 764"/>
                <a:gd name="T11" fmla="*/ 917 h 1100"/>
                <a:gd name="T12" fmla="*/ 764 w 764"/>
                <a:gd name="T13" fmla="*/ 917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4" h="1100">
                  <a:moveTo>
                    <a:pt x="764" y="917"/>
                  </a:moveTo>
                  <a:lnTo>
                    <a:pt x="764" y="1100"/>
                  </a:lnTo>
                  <a:lnTo>
                    <a:pt x="0" y="1100"/>
                  </a:lnTo>
                  <a:lnTo>
                    <a:pt x="0" y="0"/>
                  </a:lnTo>
                  <a:lnTo>
                    <a:pt x="199" y="0"/>
                  </a:lnTo>
                  <a:lnTo>
                    <a:pt x="199" y="917"/>
                  </a:lnTo>
                  <a:lnTo>
                    <a:pt x="764" y="917"/>
                  </a:lnTo>
                  <a:close/>
                </a:path>
              </a:pathLst>
            </a:custGeom>
            <a:grpFill/>
            <a:ln w="0">
              <a:solidFill>
                <a:srgbClr val="A136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20"/>
            <p:cNvSpPr>
              <a:spLocks noChangeArrowheads="1"/>
            </p:cNvSpPr>
            <p:nvPr/>
          </p:nvSpPr>
          <p:spPr bwMode="auto">
            <a:xfrm>
              <a:off x="3772" y="1890"/>
              <a:ext cx="96" cy="528"/>
            </a:xfrm>
            <a:prstGeom prst="rect">
              <a:avLst/>
            </a:prstGeom>
            <a:grpFill/>
            <a:ln w="0">
              <a:solidFill>
                <a:srgbClr val="A136A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1"/>
            <p:cNvSpPr>
              <a:spLocks/>
            </p:cNvSpPr>
            <p:nvPr/>
          </p:nvSpPr>
          <p:spPr bwMode="auto">
            <a:xfrm>
              <a:off x="3939" y="1890"/>
              <a:ext cx="547" cy="528"/>
            </a:xfrm>
            <a:custGeom>
              <a:avLst/>
              <a:gdLst>
                <a:gd name="T0" fmla="*/ 1140 w 1140"/>
                <a:gd name="T1" fmla="*/ 0 h 1100"/>
                <a:gd name="T2" fmla="*/ 681 w 1140"/>
                <a:gd name="T3" fmla="*/ 1100 h 1100"/>
                <a:gd name="T4" fmla="*/ 459 w 1140"/>
                <a:gd name="T5" fmla="*/ 1100 h 1100"/>
                <a:gd name="T6" fmla="*/ 0 w 1140"/>
                <a:gd name="T7" fmla="*/ 0 h 1100"/>
                <a:gd name="T8" fmla="*/ 220 w 1140"/>
                <a:gd name="T9" fmla="*/ 0 h 1100"/>
                <a:gd name="T10" fmla="*/ 569 w 1140"/>
                <a:gd name="T11" fmla="*/ 834 h 1100"/>
                <a:gd name="T12" fmla="*/ 918 w 1140"/>
                <a:gd name="T13" fmla="*/ 0 h 1100"/>
                <a:gd name="T14" fmla="*/ 1140 w 1140"/>
                <a:gd name="T15" fmla="*/ 0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0" h="1100">
                  <a:moveTo>
                    <a:pt x="1140" y="0"/>
                  </a:moveTo>
                  <a:lnTo>
                    <a:pt x="681" y="1100"/>
                  </a:lnTo>
                  <a:lnTo>
                    <a:pt x="459" y="1100"/>
                  </a:lnTo>
                  <a:lnTo>
                    <a:pt x="0" y="0"/>
                  </a:lnTo>
                  <a:lnTo>
                    <a:pt x="220" y="0"/>
                  </a:lnTo>
                  <a:lnTo>
                    <a:pt x="569" y="834"/>
                  </a:lnTo>
                  <a:lnTo>
                    <a:pt x="918" y="0"/>
                  </a:lnTo>
                  <a:lnTo>
                    <a:pt x="1140" y="0"/>
                  </a:lnTo>
                  <a:close/>
                </a:path>
              </a:pathLst>
            </a:custGeom>
            <a:grpFill/>
            <a:ln w="0">
              <a:solidFill>
                <a:srgbClr val="A136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/>
            <p:cNvSpPr>
              <a:spLocks/>
            </p:cNvSpPr>
            <p:nvPr/>
          </p:nvSpPr>
          <p:spPr bwMode="auto">
            <a:xfrm>
              <a:off x="4556" y="1890"/>
              <a:ext cx="397" cy="528"/>
            </a:xfrm>
            <a:custGeom>
              <a:avLst/>
              <a:gdLst>
                <a:gd name="T0" fmla="*/ 200 w 827"/>
                <a:gd name="T1" fmla="*/ 183 h 1100"/>
                <a:gd name="T2" fmla="*/ 200 w 827"/>
                <a:gd name="T3" fmla="*/ 448 h 1100"/>
                <a:gd name="T4" fmla="*/ 768 w 827"/>
                <a:gd name="T5" fmla="*/ 448 h 1100"/>
                <a:gd name="T6" fmla="*/ 768 w 827"/>
                <a:gd name="T7" fmla="*/ 631 h 1100"/>
                <a:gd name="T8" fmla="*/ 200 w 827"/>
                <a:gd name="T9" fmla="*/ 631 h 1100"/>
                <a:gd name="T10" fmla="*/ 200 w 827"/>
                <a:gd name="T11" fmla="*/ 917 h 1100"/>
                <a:gd name="T12" fmla="*/ 827 w 827"/>
                <a:gd name="T13" fmla="*/ 917 h 1100"/>
                <a:gd name="T14" fmla="*/ 827 w 827"/>
                <a:gd name="T15" fmla="*/ 1100 h 1100"/>
                <a:gd name="T16" fmla="*/ 0 w 827"/>
                <a:gd name="T17" fmla="*/ 1100 h 1100"/>
                <a:gd name="T18" fmla="*/ 0 w 827"/>
                <a:gd name="T19" fmla="*/ 0 h 1100"/>
                <a:gd name="T20" fmla="*/ 827 w 827"/>
                <a:gd name="T21" fmla="*/ 0 h 1100"/>
                <a:gd name="T22" fmla="*/ 827 w 827"/>
                <a:gd name="T23" fmla="*/ 183 h 1100"/>
                <a:gd name="T24" fmla="*/ 200 w 827"/>
                <a:gd name="T25" fmla="*/ 183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7" h="1100">
                  <a:moveTo>
                    <a:pt x="200" y="183"/>
                  </a:moveTo>
                  <a:lnTo>
                    <a:pt x="200" y="448"/>
                  </a:lnTo>
                  <a:lnTo>
                    <a:pt x="768" y="448"/>
                  </a:lnTo>
                  <a:lnTo>
                    <a:pt x="768" y="631"/>
                  </a:lnTo>
                  <a:lnTo>
                    <a:pt x="200" y="631"/>
                  </a:lnTo>
                  <a:lnTo>
                    <a:pt x="200" y="917"/>
                  </a:lnTo>
                  <a:lnTo>
                    <a:pt x="827" y="917"/>
                  </a:lnTo>
                  <a:lnTo>
                    <a:pt x="827" y="1100"/>
                  </a:lnTo>
                  <a:lnTo>
                    <a:pt x="0" y="1100"/>
                  </a:lnTo>
                  <a:lnTo>
                    <a:pt x="0" y="0"/>
                  </a:lnTo>
                  <a:lnTo>
                    <a:pt x="827" y="0"/>
                  </a:lnTo>
                  <a:lnTo>
                    <a:pt x="827" y="183"/>
                  </a:lnTo>
                  <a:lnTo>
                    <a:pt x="200" y="183"/>
                  </a:lnTo>
                  <a:close/>
                </a:path>
              </a:pathLst>
            </a:custGeom>
            <a:grpFill/>
            <a:ln w="0">
              <a:solidFill>
                <a:srgbClr val="A136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Oval 23"/>
            <p:cNvSpPr>
              <a:spLocks noChangeArrowheads="1"/>
            </p:cNvSpPr>
            <p:nvPr/>
          </p:nvSpPr>
          <p:spPr bwMode="auto">
            <a:xfrm>
              <a:off x="2735" y="2010"/>
              <a:ext cx="288" cy="288"/>
            </a:xfrm>
            <a:prstGeom prst="ellipse">
              <a:avLst/>
            </a:prstGeom>
            <a:grpFill/>
            <a:ln w="0">
              <a:solidFill>
                <a:srgbClr val="A136A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1" name="Freeform 24"/>
          <p:cNvSpPr>
            <a:spLocks noEditPoints="1"/>
          </p:cNvSpPr>
          <p:nvPr/>
        </p:nvSpPr>
        <p:spPr bwMode="auto">
          <a:xfrm>
            <a:off x="2757392" y="3790619"/>
            <a:ext cx="528999" cy="528999"/>
          </a:xfrm>
          <a:custGeom>
            <a:avLst/>
            <a:gdLst>
              <a:gd name="T0" fmla="*/ 6200 w 6200"/>
              <a:gd name="T1" fmla="*/ 1400 h 6200"/>
              <a:gd name="T2" fmla="*/ 3900 w 6200"/>
              <a:gd name="T3" fmla="*/ 1300 h 6200"/>
              <a:gd name="T4" fmla="*/ 3200 w 6200"/>
              <a:gd name="T5" fmla="*/ 1405 h 6200"/>
              <a:gd name="T6" fmla="*/ 3100 w 6200"/>
              <a:gd name="T7" fmla="*/ 0 h 6200"/>
              <a:gd name="T8" fmla="*/ 3000 w 6200"/>
              <a:gd name="T9" fmla="*/ 1405 h 6200"/>
              <a:gd name="T10" fmla="*/ 2300 w 6200"/>
              <a:gd name="T11" fmla="*/ 1300 h 6200"/>
              <a:gd name="T12" fmla="*/ 0 w 6200"/>
              <a:gd name="T13" fmla="*/ 1400 h 6200"/>
              <a:gd name="T14" fmla="*/ 2200 w 6200"/>
              <a:gd name="T15" fmla="*/ 1500 h 6200"/>
              <a:gd name="T16" fmla="*/ 1390 w 6200"/>
              <a:gd name="T17" fmla="*/ 2500 h 6200"/>
              <a:gd name="T18" fmla="*/ 900 w 6200"/>
              <a:gd name="T19" fmla="*/ 3100 h 6200"/>
              <a:gd name="T20" fmla="*/ 2600 w 6200"/>
              <a:gd name="T21" fmla="*/ 3899 h 6200"/>
              <a:gd name="T22" fmla="*/ 3029 w 6200"/>
              <a:gd name="T23" fmla="*/ 6171 h 6200"/>
              <a:gd name="T24" fmla="*/ 3571 w 6200"/>
              <a:gd name="T25" fmla="*/ 5771 h 6200"/>
              <a:gd name="T26" fmla="*/ 3571 w 6200"/>
              <a:gd name="T27" fmla="*/ 5429 h 6200"/>
              <a:gd name="T28" fmla="*/ 3571 w 6200"/>
              <a:gd name="T29" fmla="*/ 5029 h 6200"/>
              <a:gd name="T30" fmla="*/ 3600 w 6200"/>
              <a:gd name="T31" fmla="*/ 4700 h 6200"/>
              <a:gd name="T32" fmla="*/ 4810 w 6200"/>
              <a:gd name="T33" fmla="*/ 2700 h 6200"/>
              <a:gd name="T34" fmla="*/ 5300 w 6200"/>
              <a:gd name="T35" fmla="*/ 2100 h 6200"/>
              <a:gd name="T36" fmla="*/ 4000 w 6200"/>
              <a:gd name="T37" fmla="*/ 1764 h 6200"/>
              <a:gd name="T38" fmla="*/ 5700 w 6200"/>
              <a:gd name="T39" fmla="*/ 1100 h 6200"/>
              <a:gd name="T40" fmla="*/ 5400 w 6200"/>
              <a:gd name="T41" fmla="*/ 1400 h 6200"/>
              <a:gd name="T42" fmla="*/ 200 w 6200"/>
              <a:gd name="T43" fmla="*/ 1400 h 6200"/>
              <a:gd name="T44" fmla="*/ 500 w 6200"/>
              <a:gd name="T45" fmla="*/ 1700 h 6200"/>
              <a:gd name="T46" fmla="*/ 900 w 6200"/>
              <a:gd name="T47" fmla="*/ 2300 h 6200"/>
              <a:gd name="T48" fmla="*/ 5300 w 6200"/>
              <a:gd name="T49" fmla="*/ 2300 h 6200"/>
              <a:gd name="T50" fmla="*/ 5000 w 6200"/>
              <a:gd name="T51" fmla="*/ 2600 h 6200"/>
              <a:gd name="T52" fmla="*/ 3800 w 6200"/>
              <a:gd name="T53" fmla="*/ 2200 h 6200"/>
              <a:gd name="T54" fmla="*/ 3200 w 6200"/>
              <a:gd name="T55" fmla="*/ 1605 h 6200"/>
              <a:gd name="T56" fmla="*/ 3400 w 6200"/>
              <a:gd name="T57" fmla="*/ 2300 h 6200"/>
              <a:gd name="T58" fmla="*/ 3100 w 6200"/>
              <a:gd name="T59" fmla="*/ 2000 h 6200"/>
              <a:gd name="T60" fmla="*/ 3400 w 6200"/>
              <a:gd name="T61" fmla="*/ 500 h 6200"/>
              <a:gd name="T62" fmla="*/ 3000 w 6200"/>
              <a:gd name="T63" fmla="*/ 1605 h 6200"/>
              <a:gd name="T64" fmla="*/ 2400 w 6200"/>
              <a:gd name="T65" fmla="*/ 2200 h 6200"/>
              <a:gd name="T66" fmla="*/ 4181 w 6200"/>
              <a:gd name="T67" fmla="*/ 2500 h 6200"/>
              <a:gd name="T68" fmla="*/ 4200 w 6200"/>
              <a:gd name="T69" fmla="*/ 2700 h 6200"/>
              <a:gd name="T70" fmla="*/ 3400 w 6200"/>
              <a:gd name="T71" fmla="*/ 4659 h 6200"/>
              <a:gd name="T72" fmla="*/ 3359 w 6200"/>
              <a:gd name="T73" fmla="*/ 5100 h 6200"/>
              <a:gd name="T74" fmla="*/ 3400 w 6200"/>
              <a:gd name="T75" fmla="*/ 5541 h 6200"/>
              <a:gd name="T76" fmla="*/ 2800 w 6200"/>
              <a:gd name="T77" fmla="*/ 5659 h 6200"/>
              <a:gd name="T78" fmla="*/ 2000 w 6200"/>
              <a:gd name="T79" fmla="*/ 2700 h 6200"/>
              <a:gd name="T80" fmla="*/ 2019 w 6200"/>
              <a:gd name="T81" fmla="*/ 2500 h 6200"/>
              <a:gd name="T82" fmla="*/ 2300 w 6200"/>
              <a:gd name="T83" fmla="*/ 2400 h 6200"/>
              <a:gd name="T84" fmla="*/ 3590 w 6200"/>
              <a:gd name="T85" fmla="*/ 2400 h 6200"/>
              <a:gd name="T86" fmla="*/ 4000 w 6200"/>
              <a:gd name="T87" fmla="*/ 2069 h 6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200" h="6200">
                <a:moveTo>
                  <a:pt x="5210" y="1500"/>
                </a:moveTo>
                <a:cubicBezTo>
                  <a:pt x="5257" y="1728"/>
                  <a:pt x="5459" y="1900"/>
                  <a:pt x="5700" y="1900"/>
                </a:cubicBezTo>
                <a:cubicBezTo>
                  <a:pt x="5976" y="1900"/>
                  <a:pt x="6200" y="1676"/>
                  <a:pt x="6200" y="1400"/>
                </a:cubicBezTo>
                <a:cubicBezTo>
                  <a:pt x="6200" y="1124"/>
                  <a:pt x="5976" y="900"/>
                  <a:pt x="5700" y="900"/>
                </a:cubicBezTo>
                <a:cubicBezTo>
                  <a:pt x="5459" y="900"/>
                  <a:pt x="5257" y="1072"/>
                  <a:pt x="5210" y="1300"/>
                </a:cubicBezTo>
                <a:lnTo>
                  <a:pt x="3900" y="1300"/>
                </a:lnTo>
                <a:cubicBezTo>
                  <a:pt x="3845" y="1300"/>
                  <a:pt x="3800" y="1345"/>
                  <a:pt x="3800" y="1400"/>
                </a:cubicBezTo>
                <a:lnTo>
                  <a:pt x="3800" y="1606"/>
                </a:lnTo>
                <a:cubicBezTo>
                  <a:pt x="3624" y="1493"/>
                  <a:pt x="3420" y="1422"/>
                  <a:pt x="3200" y="1405"/>
                </a:cubicBezTo>
                <a:lnTo>
                  <a:pt x="3200" y="990"/>
                </a:lnTo>
                <a:cubicBezTo>
                  <a:pt x="3428" y="943"/>
                  <a:pt x="3600" y="741"/>
                  <a:pt x="3600" y="500"/>
                </a:cubicBezTo>
                <a:cubicBezTo>
                  <a:pt x="3600" y="224"/>
                  <a:pt x="3376" y="0"/>
                  <a:pt x="3100" y="0"/>
                </a:cubicBezTo>
                <a:cubicBezTo>
                  <a:pt x="2824" y="0"/>
                  <a:pt x="2600" y="224"/>
                  <a:pt x="2600" y="500"/>
                </a:cubicBezTo>
                <a:cubicBezTo>
                  <a:pt x="2600" y="741"/>
                  <a:pt x="2772" y="943"/>
                  <a:pt x="3000" y="990"/>
                </a:cubicBezTo>
                <a:lnTo>
                  <a:pt x="3000" y="1405"/>
                </a:lnTo>
                <a:cubicBezTo>
                  <a:pt x="2780" y="1422"/>
                  <a:pt x="2576" y="1493"/>
                  <a:pt x="2400" y="1606"/>
                </a:cubicBezTo>
                <a:lnTo>
                  <a:pt x="2400" y="1400"/>
                </a:lnTo>
                <a:cubicBezTo>
                  <a:pt x="2400" y="1345"/>
                  <a:pt x="2355" y="1300"/>
                  <a:pt x="2300" y="1300"/>
                </a:cubicBezTo>
                <a:lnTo>
                  <a:pt x="990" y="1300"/>
                </a:lnTo>
                <a:cubicBezTo>
                  <a:pt x="943" y="1072"/>
                  <a:pt x="741" y="900"/>
                  <a:pt x="500" y="900"/>
                </a:cubicBezTo>
                <a:cubicBezTo>
                  <a:pt x="224" y="900"/>
                  <a:pt x="0" y="1124"/>
                  <a:pt x="0" y="1400"/>
                </a:cubicBezTo>
                <a:cubicBezTo>
                  <a:pt x="0" y="1676"/>
                  <a:pt x="224" y="1900"/>
                  <a:pt x="500" y="1900"/>
                </a:cubicBezTo>
                <a:cubicBezTo>
                  <a:pt x="741" y="1900"/>
                  <a:pt x="943" y="1728"/>
                  <a:pt x="990" y="1500"/>
                </a:cubicBezTo>
                <a:lnTo>
                  <a:pt x="2200" y="1500"/>
                </a:lnTo>
                <a:lnTo>
                  <a:pt x="2200" y="1764"/>
                </a:lnTo>
                <a:cubicBezTo>
                  <a:pt x="2000" y="1957"/>
                  <a:pt x="1862" y="2213"/>
                  <a:pt x="1817" y="2500"/>
                </a:cubicBezTo>
                <a:lnTo>
                  <a:pt x="1390" y="2500"/>
                </a:lnTo>
                <a:cubicBezTo>
                  <a:pt x="1343" y="2272"/>
                  <a:pt x="1142" y="2100"/>
                  <a:pt x="900" y="2100"/>
                </a:cubicBezTo>
                <a:cubicBezTo>
                  <a:pt x="624" y="2100"/>
                  <a:pt x="400" y="2324"/>
                  <a:pt x="400" y="2600"/>
                </a:cubicBezTo>
                <a:cubicBezTo>
                  <a:pt x="400" y="2876"/>
                  <a:pt x="624" y="3100"/>
                  <a:pt x="900" y="3100"/>
                </a:cubicBezTo>
                <a:cubicBezTo>
                  <a:pt x="1141" y="3100"/>
                  <a:pt x="1343" y="2928"/>
                  <a:pt x="1390" y="2700"/>
                </a:cubicBezTo>
                <a:lnTo>
                  <a:pt x="1800" y="2700"/>
                </a:lnTo>
                <a:cubicBezTo>
                  <a:pt x="1800" y="3225"/>
                  <a:pt x="2119" y="3698"/>
                  <a:pt x="2600" y="3899"/>
                </a:cubicBezTo>
                <a:lnTo>
                  <a:pt x="2600" y="5700"/>
                </a:lnTo>
                <a:cubicBezTo>
                  <a:pt x="2600" y="5727"/>
                  <a:pt x="2611" y="5752"/>
                  <a:pt x="2629" y="5771"/>
                </a:cubicBezTo>
                <a:lnTo>
                  <a:pt x="3029" y="6171"/>
                </a:lnTo>
                <a:cubicBezTo>
                  <a:pt x="3049" y="6190"/>
                  <a:pt x="3074" y="6200"/>
                  <a:pt x="3100" y="6200"/>
                </a:cubicBezTo>
                <a:cubicBezTo>
                  <a:pt x="3126" y="6200"/>
                  <a:pt x="3151" y="6190"/>
                  <a:pt x="3171" y="6171"/>
                </a:cubicBezTo>
                <a:lnTo>
                  <a:pt x="3571" y="5771"/>
                </a:lnTo>
                <a:cubicBezTo>
                  <a:pt x="3590" y="5752"/>
                  <a:pt x="3600" y="5727"/>
                  <a:pt x="3600" y="5700"/>
                </a:cubicBezTo>
                <a:lnTo>
                  <a:pt x="3600" y="5500"/>
                </a:lnTo>
                <a:cubicBezTo>
                  <a:pt x="3600" y="5474"/>
                  <a:pt x="3590" y="5448"/>
                  <a:pt x="3571" y="5429"/>
                </a:cubicBezTo>
                <a:lnTo>
                  <a:pt x="3441" y="5300"/>
                </a:lnTo>
                <a:lnTo>
                  <a:pt x="3571" y="5171"/>
                </a:lnTo>
                <a:cubicBezTo>
                  <a:pt x="3610" y="5132"/>
                  <a:pt x="3610" y="5068"/>
                  <a:pt x="3571" y="5029"/>
                </a:cubicBezTo>
                <a:lnTo>
                  <a:pt x="3441" y="4900"/>
                </a:lnTo>
                <a:lnTo>
                  <a:pt x="3571" y="4771"/>
                </a:lnTo>
                <a:cubicBezTo>
                  <a:pt x="3590" y="4752"/>
                  <a:pt x="3600" y="4727"/>
                  <a:pt x="3600" y="4700"/>
                </a:cubicBezTo>
                <a:lnTo>
                  <a:pt x="3600" y="3899"/>
                </a:lnTo>
                <a:cubicBezTo>
                  <a:pt x="4081" y="3698"/>
                  <a:pt x="4400" y="3225"/>
                  <a:pt x="4400" y="2700"/>
                </a:cubicBezTo>
                <a:lnTo>
                  <a:pt x="4810" y="2700"/>
                </a:lnTo>
                <a:cubicBezTo>
                  <a:pt x="4857" y="2928"/>
                  <a:pt x="5059" y="3100"/>
                  <a:pt x="5300" y="3100"/>
                </a:cubicBezTo>
                <a:cubicBezTo>
                  <a:pt x="5576" y="3100"/>
                  <a:pt x="5800" y="2876"/>
                  <a:pt x="5800" y="2600"/>
                </a:cubicBezTo>
                <a:cubicBezTo>
                  <a:pt x="5800" y="2324"/>
                  <a:pt x="5576" y="2100"/>
                  <a:pt x="5300" y="2100"/>
                </a:cubicBezTo>
                <a:cubicBezTo>
                  <a:pt x="5059" y="2100"/>
                  <a:pt x="4857" y="2272"/>
                  <a:pt x="4810" y="2500"/>
                </a:cubicBezTo>
                <a:lnTo>
                  <a:pt x="4383" y="2500"/>
                </a:lnTo>
                <a:cubicBezTo>
                  <a:pt x="4338" y="2213"/>
                  <a:pt x="4200" y="1957"/>
                  <a:pt x="4000" y="1764"/>
                </a:cubicBezTo>
                <a:lnTo>
                  <a:pt x="4000" y="1500"/>
                </a:lnTo>
                <a:lnTo>
                  <a:pt x="5210" y="1500"/>
                </a:lnTo>
                <a:close/>
                <a:moveTo>
                  <a:pt x="5700" y="1100"/>
                </a:moveTo>
                <a:cubicBezTo>
                  <a:pt x="5865" y="1100"/>
                  <a:pt x="6000" y="1235"/>
                  <a:pt x="6000" y="1400"/>
                </a:cubicBezTo>
                <a:cubicBezTo>
                  <a:pt x="6000" y="1565"/>
                  <a:pt x="5865" y="1700"/>
                  <a:pt x="5700" y="1700"/>
                </a:cubicBezTo>
                <a:cubicBezTo>
                  <a:pt x="5535" y="1700"/>
                  <a:pt x="5400" y="1565"/>
                  <a:pt x="5400" y="1400"/>
                </a:cubicBezTo>
                <a:cubicBezTo>
                  <a:pt x="5400" y="1235"/>
                  <a:pt x="5535" y="1100"/>
                  <a:pt x="5700" y="1100"/>
                </a:cubicBezTo>
                <a:close/>
                <a:moveTo>
                  <a:pt x="500" y="1700"/>
                </a:moveTo>
                <a:cubicBezTo>
                  <a:pt x="335" y="1700"/>
                  <a:pt x="200" y="1565"/>
                  <a:pt x="200" y="1400"/>
                </a:cubicBezTo>
                <a:cubicBezTo>
                  <a:pt x="200" y="1235"/>
                  <a:pt x="335" y="1100"/>
                  <a:pt x="500" y="1100"/>
                </a:cubicBezTo>
                <a:cubicBezTo>
                  <a:pt x="665" y="1100"/>
                  <a:pt x="800" y="1235"/>
                  <a:pt x="800" y="1400"/>
                </a:cubicBezTo>
                <a:cubicBezTo>
                  <a:pt x="800" y="1565"/>
                  <a:pt x="665" y="1700"/>
                  <a:pt x="500" y="1700"/>
                </a:cubicBezTo>
                <a:close/>
                <a:moveTo>
                  <a:pt x="900" y="2900"/>
                </a:moveTo>
                <a:cubicBezTo>
                  <a:pt x="735" y="2900"/>
                  <a:pt x="600" y="2765"/>
                  <a:pt x="600" y="2600"/>
                </a:cubicBezTo>
                <a:cubicBezTo>
                  <a:pt x="600" y="2435"/>
                  <a:pt x="735" y="2300"/>
                  <a:pt x="900" y="2300"/>
                </a:cubicBezTo>
                <a:cubicBezTo>
                  <a:pt x="1065" y="2300"/>
                  <a:pt x="1200" y="2435"/>
                  <a:pt x="1200" y="2600"/>
                </a:cubicBezTo>
                <a:cubicBezTo>
                  <a:pt x="1200" y="2765"/>
                  <a:pt x="1065" y="2900"/>
                  <a:pt x="900" y="2900"/>
                </a:cubicBezTo>
                <a:close/>
                <a:moveTo>
                  <a:pt x="5300" y="2300"/>
                </a:moveTo>
                <a:cubicBezTo>
                  <a:pt x="5465" y="2300"/>
                  <a:pt x="5600" y="2435"/>
                  <a:pt x="5600" y="2600"/>
                </a:cubicBezTo>
                <a:cubicBezTo>
                  <a:pt x="5600" y="2765"/>
                  <a:pt x="5465" y="2900"/>
                  <a:pt x="5300" y="2900"/>
                </a:cubicBezTo>
                <a:cubicBezTo>
                  <a:pt x="5135" y="2900"/>
                  <a:pt x="5000" y="2765"/>
                  <a:pt x="5000" y="2600"/>
                </a:cubicBezTo>
                <a:cubicBezTo>
                  <a:pt x="5000" y="2435"/>
                  <a:pt x="5135" y="2300"/>
                  <a:pt x="5300" y="2300"/>
                </a:cubicBezTo>
                <a:close/>
                <a:moveTo>
                  <a:pt x="3800" y="1852"/>
                </a:moveTo>
                <a:lnTo>
                  <a:pt x="3800" y="2200"/>
                </a:lnTo>
                <a:lnTo>
                  <a:pt x="3590" y="2200"/>
                </a:lnTo>
                <a:cubicBezTo>
                  <a:pt x="3550" y="2004"/>
                  <a:pt x="3396" y="1850"/>
                  <a:pt x="3200" y="1810"/>
                </a:cubicBezTo>
                <a:lnTo>
                  <a:pt x="3200" y="1605"/>
                </a:lnTo>
                <a:cubicBezTo>
                  <a:pt x="3427" y="1626"/>
                  <a:pt x="3634" y="1715"/>
                  <a:pt x="3800" y="1852"/>
                </a:cubicBezTo>
                <a:close/>
                <a:moveTo>
                  <a:pt x="3100" y="2000"/>
                </a:moveTo>
                <a:cubicBezTo>
                  <a:pt x="3265" y="2000"/>
                  <a:pt x="3400" y="2135"/>
                  <a:pt x="3400" y="2300"/>
                </a:cubicBezTo>
                <a:cubicBezTo>
                  <a:pt x="3400" y="2465"/>
                  <a:pt x="3265" y="2600"/>
                  <a:pt x="3100" y="2600"/>
                </a:cubicBezTo>
                <a:cubicBezTo>
                  <a:pt x="2935" y="2600"/>
                  <a:pt x="2800" y="2465"/>
                  <a:pt x="2800" y="2300"/>
                </a:cubicBezTo>
                <a:cubicBezTo>
                  <a:pt x="2800" y="2135"/>
                  <a:pt x="2935" y="2000"/>
                  <a:pt x="3100" y="2000"/>
                </a:cubicBezTo>
                <a:close/>
                <a:moveTo>
                  <a:pt x="2800" y="500"/>
                </a:moveTo>
                <a:cubicBezTo>
                  <a:pt x="2800" y="335"/>
                  <a:pt x="2935" y="200"/>
                  <a:pt x="3100" y="200"/>
                </a:cubicBezTo>
                <a:cubicBezTo>
                  <a:pt x="3265" y="200"/>
                  <a:pt x="3400" y="335"/>
                  <a:pt x="3400" y="500"/>
                </a:cubicBezTo>
                <a:cubicBezTo>
                  <a:pt x="3400" y="665"/>
                  <a:pt x="3265" y="800"/>
                  <a:pt x="3100" y="800"/>
                </a:cubicBezTo>
                <a:cubicBezTo>
                  <a:pt x="2935" y="800"/>
                  <a:pt x="2800" y="665"/>
                  <a:pt x="2800" y="500"/>
                </a:cubicBezTo>
                <a:close/>
                <a:moveTo>
                  <a:pt x="3000" y="1605"/>
                </a:moveTo>
                <a:lnTo>
                  <a:pt x="3000" y="1810"/>
                </a:lnTo>
                <a:cubicBezTo>
                  <a:pt x="2804" y="1850"/>
                  <a:pt x="2650" y="2004"/>
                  <a:pt x="2610" y="2200"/>
                </a:cubicBezTo>
                <a:lnTo>
                  <a:pt x="2400" y="2200"/>
                </a:lnTo>
                <a:lnTo>
                  <a:pt x="2400" y="1852"/>
                </a:lnTo>
                <a:cubicBezTo>
                  <a:pt x="2566" y="1715"/>
                  <a:pt x="2773" y="1626"/>
                  <a:pt x="3000" y="1605"/>
                </a:cubicBezTo>
                <a:close/>
                <a:moveTo>
                  <a:pt x="4181" y="2500"/>
                </a:moveTo>
                <a:lnTo>
                  <a:pt x="4000" y="2500"/>
                </a:lnTo>
                <a:lnTo>
                  <a:pt x="4000" y="2700"/>
                </a:lnTo>
                <a:lnTo>
                  <a:pt x="4200" y="2700"/>
                </a:lnTo>
                <a:cubicBezTo>
                  <a:pt x="4200" y="3164"/>
                  <a:pt x="3905" y="3581"/>
                  <a:pt x="3467" y="3736"/>
                </a:cubicBezTo>
                <a:cubicBezTo>
                  <a:pt x="3427" y="3750"/>
                  <a:pt x="3400" y="3788"/>
                  <a:pt x="3400" y="3830"/>
                </a:cubicBezTo>
                <a:lnTo>
                  <a:pt x="3400" y="4659"/>
                </a:lnTo>
                <a:lnTo>
                  <a:pt x="3229" y="4829"/>
                </a:lnTo>
                <a:cubicBezTo>
                  <a:pt x="3190" y="4868"/>
                  <a:pt x="3190" y="4932"/>
                  <a:pt x="3229" y="4971"/>
                </a:cubicBezTo>
                <a:lnTo>
                  <a:pt x="3359" y="5100"/>
                </a:lnTo>
                <a:lnTo>
                  <a:pt x="3229" y="5229"/>
                </a:lnTo>
                <a:cubicBezTo>
                  <a:pt x="3190" y="5268"/>
                  <a:pt x="3190" y="5332"/>
                  <a:pt x="3229" y="5371"/>
                </a:cubicBezTo>
                <a:lnTo>
                  <a:pt x="3400" y="5541"/>
                </a:lnTo>
                <a:lnTo>
                  <a:pt x="3400" y="5659"/>
                </a:lnTo>
                <a:lnTo>
                  <a:pt x="3100" y="5959"/>
                </a:lnTo>
                <a:lnTo>
                  <a:pt x="2800" y="5659"/>
                </a:lnTo>
                <a:lnTo>
                  <a:pt x="2800" y="3830"/>
                </a:lnTo>
                <a:cubicBezTo>
                  <a:pt x="2800" y="3788"/>
                  <a:pt x="2773" y="3750"/>
                  <a:pt x="2733" y="3736"/>
                </a:cubicBezTo>
                <a:cubicBezTo>
                  <a:pt x="2295" y="3581"/>
                  <a:pt x="2000" y="3164"/>
                  <a:pt x="2000" y="2700"/>
                </a:cubicBezTo>
                <a:lnTo>
                  <a:pt x="2200" y="2700"/>
                </a:lnTo>
                <a:lnTo>
                  <a:pt x="2200" y="2500"/>
                </a:lnTo>
                <a:lnTo>
                  <a:pt x="2019" y="2500"/>
                </a:lnTo>
                <a:cubicBezTo>
                  <a:pt x="2048" y="2342"/>
                  <a:pt x="2111" y="2196"/>
                  <a:pt x="2200" y="2069"/>
                </a:cubicBezTo>
                <a:lnTo>
                  <a:pt x="2200" y="2300"/>
                </a:lnTo>
                <a:cubicBezTo>
                  <a:pt x="2200" y="2355"/>
                  <a:pt x="2245" y="2400"/>
                  <a:pt x="2300" y="2400"/>
                </a:cubicBezTo>
                <a:lnTo>
                  <a:pt x="2610" y="2400"/>
                </a:lnTo>
                <a:cubicBezTo>
                  <a:pt x="2657" y="2628"/>
                  <a:pt x="2859" y="2800"/>
                  <a:pt x="3100" y="2800"/>
                </a:cubicBezTo>
                <a:cubicBezTo>
                  <a:pt x="3342" y="2800"/>
                  <a:pt x="3543" y="2628"/>
                  <a:pt x="3590" y="2400"/>
                </a:cubicBezTo>
                <a:lnTo>
                  <a:pt x="3900" y="2400"/>
                </a:lnTo>
                <a:cubicBezTo>
                  <a:pt x="3955" y="2400"/>
                  <a:pt x="4000" y="2355"/>
                  <a:pt x="4000" y="2300"/>
                </a:cubicBezTo>
                <a:lnTo>
                  <a:pt x="4000" y="2069"/>
                </a:lnTo>
                <a:cubicBezTo>
                  <a:pt x="4089" y="2196"/>
                  <a:pt x="4152" y="2342"/>
                  <a:pt x="4181" y="2500"/>
                </a:cubicBezTo>
                <a:close/>
              </a:path>
            </a:pathLst>
          </a:custGeom>
          <a:solidFill>
            <a:srgbClr val="E5751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52" name="Group 87"/>
          <p:cNvGrpSpPr>
            <a:grpSpLocks noChangeAspect="1"/>
          </p:cNvGrpSpPr>
          <p:nvPr/>
        </p:nvGrpSpPr>
        <p:grpSpPr bwMode="auto">
          <a:xfrm>
            <a:off x="5914139" y="3892967"/>
            <a:ext cx="363723" cy="426651"/>
            <a:chOff x="1870" y="3037"/>
            <a:chExt cx="289" cy="339"/>
          </a:xfrm>
          <a:solidFill>
            <a:srgbClr val="A136A0"/>
          </a:solidFill>
        </p:grpSpPr>
        <p:sp>
          <p:nvSpPr>
            <p:cNvPr id="53" name="Freeform 88"/>
            <p:cNvSpPr>
              <a:spLocks/>
            </p:cNvSpPr>
            <p:nvPr/>
          </p:nvSpPr>
          <p:spPr bwMode="auto">
            <a:xfrm>
              <a:off x="1870" y="3037"/>
              <a:ext cx="207" cy="92"/>
            </a:xfrm>
            <a:custGeom>
              <a:avLst/>
              <a:gdLst>
                <a:gd name="T0" fmla="*/ 94 w 3913"/>
                <a:gd name="T1" fmla="*/ 1219 h 1730"/>
                <a:gd name="T2" fmla="*/ 188 w 3913"/>
                <a:gd name="T3" fmla="*/ 1126 h 1730"/>
                <a:gd name="T4" fmla="*/ 188 w 3913"/>
                <a:gd name="T5" fmla="*/ 673 h 1730"/>
                <a:gd name="T6" fmla="*/ 673 w 3913"/>
                <a:gd name="T7" fmla="*/ 188 h 1730"/>
                <a:gd name="T8" fmla="*/ 3240 w 3913"/>
                <a:gd name="T9" fmla="*/ 188 h 1730"/>
                <a:gd name="T10" fmla="*/ 3725 w 3913"/>
                <a:gd name="T11" fmla="*/ 673 h 1730"/>
                <a:gd name="T12" fmla="*/ 3725 w 3913"/>
                <a:gd name="T13" fmla="*/ 1636 h 1730"/>
                <a:gd name="T14" fmla="*/ 3819 w 3913"/>
                <a:gd name="T15" fmla="*/ 1730 h 1730"/>
                <a:gd name="T16" fmla="*/ 3913 w 3913"/>
                <a:gd name="T17" fmla="*/ 1636 h 1730"/>
                <a:gd name="T18" fmla="*/ 3913 w 3913"/>
                <a:gd name="T19" fmla="*/ 673 h 1730"/>
                <a:gd name="T20" fmla="*/ 3240 w 3913"/>
                <a:gd name="T21" fmla="*/ 0 h 1730"/>
                <a:gd name="T22" fmla="*/ 673 w 3913"/>
                <a:gd name="T23" fmla="*/ 0 h 1730"/>
                <a:gd name="T24" fmla="*/ 0 w 3913"/>
                <a:gd name="T25" fmla="*/ 673 h 1730"/>
                <a:gd name="T26" fmla="*/ 0 w 3913"/>
                <a:gd name="T27" fmla="*/ 1126 h 1730"/>
                <a:gd name="T28" fmla="*/ 94 w 3913"/>
                <a:gd name="T29" fmla="*/ 1219 h 1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13" h="1730">
                  <a:moveTo>
                    <a:pt x="94" y="1219"/>
                  </a:moveTo>
                  <a:cubicBezTo>
                    <a:pt x="146" y="1219"/>
                    <a:pt x="188" y="1177"/>
                    <a:pt x="188" y="1126"/>
                  </a:cubicBezTo>
                  <a:lnTo>
                    <a:pt x="188" y="673"/>
                  </a:lnTo>
                  <a:cubicBezTo>
                    <a:pt x="188" y="405"/>
                    <a:pt x="406" y="188"/>
                    <a:pt x="673" y="188"/>
                  </a:cubicBezTo>
                  <a:lnTo>
                    <a:pt x="3240" y="188"/>
                  </a:lnTo>
                  <a:cubicBezTo>
                    <a:pt x="3507" y="188"/>
                    <a:pt x="3725" y="405"/>
                    <a:pt x="3725" y="673"/>
                  </a:cubicBezTo>
                  <a:lnTo>
                    <a:pt x="3725" y="1636"/>
                  </a:lnTo>
                  <a:cubicBezTo>
                    <a:pt x="3725" y="1688"/>
                    <a:pt x="3767" y="1730"/>
                    <a:pt x="3819" y="1730"/>
                  </a:cubicBezTo>
                  <a:cubicBezTo>
                    <a:pt x="3871" y="1730"/>
                    <a:pt x="3913" y="1688"/>
                    <a:pt x="3913" y="1636"/>
                  </a:cubicBezTo>
                  <a:lnTo>
                    <a:pt x="3913" y="673"/>
                  </a:lnTo>
                  <a:cubicBezTo>
                    <a:pt x="3913" y="302"/>
                    <a:pt x="3611" y="0"/>
                    <a:pt x="3240" y="0"/>
                  </a:cubicBezTo>
                  <a:lnTo>
                    <a:pt x="673" y="0"/>
                  </a:lnTo>
                  <a:cubicBezTo>
                    <a:pt x="302" y="0"/>
                    <a:pt x="0" y="302"/>
                    <a:pt x="0" y="673"/>
                  </a:cubicBezTo>
                  <a:lnTo>
                    <a:pt x="0" y="1126"/>
                  </a:lnTo>
                  <a:cubicBezTo>
                    <a:pt x="0" y="1177"/>
                    <a:pt x="42" y="1219"/>
                    <a:pt x="94" y="121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54" name="Freeform 89"/>
            <p:cNvSpPr>
              <a:spLocks/>
            </p:cNvSpPr>
            <p:nvPr/>
          </p:nvSpPr>
          <p:spPr bwMode="auto">
            <a:xfrm>
              <a:off x="1870" y="3113"/>
              <a:ext cx="207" cy="263"/>
            </a:xfrm>
            <a:custGeom>
              <a:avLst/>
              <a:gdLst>
                <a:gd name="T0" fmla="*/ 3819 w 3913"/>
                <a:gd name="T1" fmla="*/ 3247 h 4968"/>
                <a:gd name="T2" fmla="*/ 3725 w 3913"/>
                <a:gd name="T3" fmla="*/ 3340 h 4968"/>
                <a:gd name="T4" fmla="*/ 3725 w 3913"/>
                <a:gd name="T5" fmla="*/ 4295 h 4968"/>
                <a:gd name="T6" fmla="*/ 3240 w 3913"/>
                <a:gd name="T7" fmla="*/ 4780 h 4968"/>
                <a:gd name="T8" fmla="*/ 673 w 3913"/>
                <a:gd name="T9" fmla="*/ 4780 h 4968"/>
                <a:gd name="T10" fmla="*/ 188 w 3913"/>
                <a:gd name="T11" fmla="*/ 4295 h 4968"/>
                <a:gd name="T12" fmla="*/ 188 w 3913"/>
                <a:gd name="T13" fmla="*/ 93 h 4968"/>
                <a:gd name="T14" fmla="*/ 94 w 3913"/>
                <a:gd name="T15" fmla="*/ 0 h 4968"/>
                <a:gd name="T16" fmla="*/ 0 w 3913"/>
                <a:gd name="T17" fmla="*/ 93 h 4968"/>
                <a:gd name="T18" fmla="*/ 0 w 3913"/>
                <a:gd name="T19" fmla="*/ 4295 h 4968"/>
                <a:gd name="T20" fmla="*/ 673 w 3913"/>
                <a:gd name="T21" fmla="*/ 4968 h 4968"/>
                <a:gd name="T22" fmla="*/ 3240 w 3913"/>
                <a:gd name="T23" fmla="*/ 4968 h 4968"/>
                <a:gd name="T24" fmla="*/ 3913 w 3913"/>
                <a:gd name="T25" fmla="*/ 4295 h 4968"/>
                <a:gd name="T26" fmla="*/ 3913 w 3913"/>
                <a:gd name="T27" fmla="*/ 3340 h 4968"/>
                <a:gd name="T28" fmla="*/ 3819 w 3913"/>
                <a:gd name="T29" fmla="*/ 3247 h 4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13" h="4968">
                  <a:moveTo>
                    <a:pt x="3819" y="3247"/>
                  </a:moveTo>
                  <a:cubicBezTo>
                    <a:pt x="3767" y="3247"/>
                    <a:pt x="3725" y="3289"/>
                    <a:pt x="3725" y="3340"/>
                  </a:cubicBezTo>
                  <a:lnTo>
                    <a:pt x="3725" y="4295"/>
                  </a:lnTo>
                  <a:cubicBezTo>
                    <a:pt x="3725" y="4563"/>
                    <a:pt x="3507" y="4780"/>
                    <a:pt x="3240" y="4780"/>
                  </a:cubicBezTo>
                  <a:lnTo>
                    <a:pt x="673" y="4780"/>
                  </a:lnTo>
                  <a:cubicBezTo>
                    <a:pt x="406" y="4780"/>
                    <a:pt x="188" y="4563"/>
                    <a:pt x="188" y="4295"/>
                  </a:cubicBezTo>
                  <a:lnTo>
                    <a:pt x="188" y="93"/>
                  </a:lnTo>
                  <a:cubicBezTo>
                    <a:pt x="188" y="42"/>
                    <a:pt x="146" y="0"/>
                    <a:pt x="94" y="0"/>
                  </a:cubicBezTo>
                  <a:cubicBezTo>
                    <a:pt x="42" y="0"/>
                    <a:pt x="0" y="42"/>
                    <a:pt x="0" y="93"/>
                  </a:cubicBezTo>
                  <a:lnTo>
                    <a:pt x="0" y="4295"/>
                  </a:lnTo>
                  <a:cubicBezTo>
                    <a:pt x="0" y="4666"/>
                    <a:pt x="302" y="4968"/>
                    <a:pt x="673" y="4968"/>
                  </a:cubicBezTo>
                  <a:lnTo>
                    <a:pt x="3240" y="4968"/>
                  </a:lnTo>
                  <a:cubicBezTo>
                    <a:pt x="3611" y="4968"/>
                    <a:pt x="3913" y="4666"/>
                    <a:pt x="3913" y="4295"/>
                  </a:cubicBezTo>
                  <a:lnTo>
                    <a:pt x="3913" y="3340"/>
                  </a:lnTo>
                  <a:cubicBezTo>
                    <a:pt x="3913" y="3289"/>
                    <a:pt x="3871" y="3247"/>
                    <a:pt x="3819" y="324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55" name="Freeform 90"/>
            <p:cNvSpPr>
              <a:spLocks/>
            </p:cNvSpPr>
            <p:nvPr/>
          </p:nvSpPr>
          <p:spPr bwMode="auto">
            <a:xfrm>
              <a:off x="1890" y="3057"/>
              <a:ext cx="167" cy="299"/>
            </a:xfrm>
            <a:custGeom>
              <a:avLst/>
              <a:gdLst>
                <a:gd name="T0" fmla="*/ 3068 w 3161"/>
                <a:gd name="T1" fmla="*/ 1355 h 5650"/>
                <a:gd name="T2" fmla="*/ 3161 w 3161"/>
                <a:gd name="T3" fmla="*/ 1261 h 5650"/>
                <a:gd name="T4" fmla="*/ 3161 w 3161"/>
                <a:gd name="T5" fmla="*/ 298 h 5650"/>
                <a:gd name="T6" fmla="*/ 2864 w 3161"/>
                <a:gd name="T7" fmla="*/ 0 h 5650"/>
                <a:gd name="T8" fmla="*/ 2423 w 3161"/>
                <a:gd name="T9" fmla="*/ 0 h 5650"/>
                <a:gd name="T10" fmla="*/ 2331 w 3161"/>
                <a:gd name="T11" fmla="*/ 76 h 5650"/>
                <a:gd name="T12" fmla="*/ 2330 w 3161"/>
                <a:gd name="T13" fmla="*/ 77 h 5650"/>
                <a:gd name="T14" fmla="*/ 2205 w 3161"/>
                <a:gd name="T15" fmla="*/ 180 h 5650"/>
                <a:gd name="T16" fmla="*/ 955 w 3161"/>
                <a:gd name="T17" fmla="*/ 180 h 5650"/>
                <a:gd name="T18" fmla="*/ 831 w 3161"/>
                <a:gd name="T19" fmla="*/ 78 h 5650"/>
                <a:gd name="T20" fmla="*/ 830 w 3161"/>
                <a:gd name="T21" fmla="*/ 76 h 5650"/>
                <a:gd name="T22" fmla="*/ 738 w 3161"/>
                <a:gd name="T23" fmla="*/ 0 h 5650"/>
                <a:gd name="T24" fmla="*/ 297 w 3161"/>
                <a:gd name="T25" fmla="*/ 0 h 5650"/>
                <a:gd name="T26" fmla="*/ 0 w 3161"/>
                <a:gd name="T27" fmla="*/ 298 h 5650"/>
                <a:gd name="T28" fmla="*/ 0 w 3161"/>
                <a:gd name="T29" fmla="*/ 5352 h 5650"/>
                <a:gd name="T30" fmla="*/ 297 w 3161"/>
                <a:gd name="T31" fmla="*/ 5650 h 5650"/>
                <a:gd name="T32" fmla="*/ 563 w 3161"/>
                <a:gd name="T33" fmla="*/ 5650 h 5650"/>
                <a:gd name="T34" fmla="*/ 657 w 3161"/>
                <a:gd name="T35" fmla="*/ 5556 h 5650"/>
                <a:gd name="T36" fmla="*/ 563 w 3161"/>
                <a:gd name="T37" fmla="*/ 5462 h 5650"/>
                <a:gd name="T38" fmla="*/ 297 w 3161"/>
                <a:gd name="T39" fmla="*/ 5462 h 5650"/>
                <a:gd name="T40" fmla="*/ 187 w 3161"/>
                <a:gd name="T41" fmla="*/ 5352 h 5650"/>
                <a:gd name="T42" fmla="*/ 187 w 3161"/>
                <a:gd name="T43" fmla="*/ 298 h 5650"/>
                <a:gd name="T44" fmla="*/ 297 w 3161"/>
                <a:gd name="T45" fmla="*/ 188 h 5650"/>
                <a:gd name="T46" fmla="*/ 671 w 3161"/>
                <a:gd name="T47" fmla="*/ 188 h 5650"/>
                <a:gd name="T48" fmla="*/ 955 w 3161"/>
                <a:gd name="T49" fmla="*/ 368 h 5650"/>
                <a:gd name="T50" fmla="*/ 2205 w 3161"/>
                <a:gd name="T51" fmla="*/ 368 h 5650"/>
                <a:gd name="T52" fmla="*/ 2490 w 3161"/>
                <a:gd name="T53" fmla="*/ 188 h 5650"/>
                <a:gd name="T54" fmla="*/ 2864 w 3161"/>
                <a:gd name="T55" fmla="*/ 188 h 5650"/>
                <a:gd name="T56" fmla="*/ 2974 w 3161"/>
                <a:gd name="T57" fmla="*/ 298 h 5650"/>
                <a:gd name="T58" fmla="*/ 2974 w 3161"/>
                <a:gd name="T59" fmla="*/ 1261 h 5650"/>
                <a:gd name="T60" fmla="*/ 3068 w 3161"/>
                <a:gd name="T61" fmla="*/ 1355 h 5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61" h="5650">
                  <a:moveTo>
                    <a:pt x="3068" y="1355"/>
                  </a:moveTo>
                  <a:cubicBezTo>
                    <a:pt x="3119" y="1355"/>
                    <a:pt x="3161" y="1313"/>
                    <a:pt x="3161" y="1261"/>
                  </a:cubicBezTo>
                  <a:lnTo>
                    <a:pt x="3161" y="298"/>
                  </a:lnTo>
                  <a:cubicBezTo>
                    <a:pt x="3161" y="134"/>
                    <a:pt x="3028" y="0"/>
                    <a:pt x="2864" y="0"/>
                  </a:cubicBezTo>
                  <a:lnTo>
                    <a:pt x="2423" y="0"/>
                  </a:lnTo>
                  <a:cubicBezTo>
                    <a:pt x="2378" y="0"/>
                    <a:pt x="2339" y="32"/>
                    <a:pt x="2331" y="76"/>
                  </a:cubicBezTo>
                  <a:lnTo>
                    <a:pt x="2330" y="77"/>
                  </a:lnTo>
                  <a:cubicBezTo>
                    <a:pt x="2318" y="137"/>
                    <a:pt x="2266" y="180"/>
                    <a:pt x="2205" y="180"/>
                  </a:cubicBezTo>
                  <a:lnTo>
                    <a:pt x="955" y="180"/>
                  </a:lnTo>
                  <a:cubicBezTo>
                    <a:pt x="895" y="180"/>
                    <a:pt x="842" y="137"/>
                    <a:pt x="831" y="78"/>
                  </a:cubicBezTo>
                  <a:lnTo>
                    <a:pt x="830" y="76"/>
                  </a:lnTo>
                  <a:cubicBezTo>
                    <a:pt x="821" y="32"/>
                    <a:pt x="783" y="0"/>
                    <a:pt x="738" y="0"/>
                  </a:cubicBezTo>
                  <a:lnTo>
                    <a:pt x="297" y="0"/>
                  </a:lnTo>
                  <a:cubicBezTo>
                    <a:pt x="133" y="0"/>
                    <a:pt x="0" y="134"/>
                    <a:pt x="0" y="298"/>
                  </a:cubicBezTo>
                  <a:lnTo>
                    <a:pt x="0" y="5352"/>
                  </a:lnTo>
                  <a:cubicBezTo>
                    <a:pt x="0" y="5516"/>
                    <a:pt x="133" y="5650"/>
                    <a:pt x="297" y="5650"/>
                  </a:cubicBezTo>
                  <a:lnTo>
                    <a:pt x="563" y="5650"/>
                  </a:lnTo>
                  <a:cubicBezTo>
                    <a:pt x="615" y="5650"/>
                    <a:pt x="657" y="5608"/>
                    <a:pt x="657" y="5556"/>
                  </a:cubicBezTo>
                  <a:cubicBezTo>
                    <a:pt x="657" y="5504"/>
                    <a:pt x="615" y="5462"/>
                    <a:pt x="563" y="5462"/>
                  </a:cubicBezTo>
                  <a:lnTo>
                    <a:pt x="297" y="5462"/>
                  </a:lnTo>
                  <a:cubicBezTo>
                    <a:pt x="236" y="5462"/>
                    <a:pt x="187" y="5413"/>
                    <a:pt x="187" y="5352"/>
                  </a:cubicBezTo>
                  <a:lnTo>
                    <a:pt x="187" y="298"/>
                  </a:lnTo>
                  <a:cubicBezTo>
                    <a:pt x="187" y="237"/>
                    <a:pt x="236" y="188"/>
                    <a:pt x="297" y="188"/>
                  </a:cubicBezTo>
                  <a:lnTo>
                    <a:pt x="671" y="188"/>
                  </a:lnTo>
                  <a:cubicBezTo>
                    <a:pt x="722" y="295"/>
                    <a:pt x="832" y="368"/>
                    <a:pt x="955" y="368"/>
                  </a:cubicBezTo>
                  <a:lnTo>
                    <a:pt x="2205" y="368"/>
                  </a:lnTo>
                  <a:cubicBezTo>
                    <a:pt x="2329" y="368"/>
                    <a:pt x="2439" y="295"/>
                    <a:pt x="2490" y="188"/>
                  </a:cubicBezTo>
                  <a:lnTo>
                    <a:pt x="2864" y="188"/>
                  </a:lnTo>
                  <a:cubicBezTo>
                    <a:pt x="2924" y="188"/>
                    <a:pt x="2974" y="237"/>
                    <a:pt x="2974" y="298"/>
                  </a:cubicBezTo>
                  <a:lnTo>
                    <a:pt x="2974" y="1261"/>
                  </a:lnTo>
                  <a:cubicBezTo>
                    <a:pt x="2974" y="1313"/>
                    <a:pt x="3016" y="1355"/>
                    <a:pt x="3068" y="13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56" name="Freeform 91"/>
            <p:cNvSpPr>
              <a:spLocks/>
            </p:cNvSpPr>
            <p:nvPr/>
          </p:nvSpPr>
          <p:spPr bwMode="auto">
            <a:xfrm>
              <a:off x="1936" y="3285"/>
              <a:ext cx="121" cy="71"/>
            </a:xfrm>
            <a:custGeom>
              <a:avLst/>
              <a:gdLst>
                <a:gd name="T0" fmla="*/ 0 w 2292"/>
                <a:gd name="T1" fmla="*/ 1252 h 1346"/>
                <a:gd name="T2" fmla="*/ 94 w 2292"/>
                <a:gd name="T3" fmla="*/ 1346 h 1346"/>
                <a:gd name="T4" fmla="*/ 1995 w 2292"/>
                <a:gd name="T5" fmla="*/ 1346 h 1346"/>
                <a:gd name="T6" fmla="*/ 2292 w 2292"/>
                <a:gd name="T7" fmla="*/ 1048 h 1346"/>
                <a:gd name="T8" fmla="*/ 2292 w 2292"/>
                <a:gd name="T9" fmla="*/ 93 h 1346"/>
                <a:gd name="T10" fmla="*/ 2199 w 2292"/>
                <a:gd name="T11" fmla="*/ 0 h 1346"/>
                <a:gd name="T12" fmla="*/ 2105 w 2292"/>
                <a:gd name="T13" fmla="*/ 93 h 1346"/>
                <a:gd name="T14" fmla="*/ 2105 w 2292"/>
                <a:gd name="T15" fmla="*/ 1048 h 1346"/>
                <a:gd name="T16" fmla="*/ 1995 w 2292"/>
                <a:gd name="T17" fmla="*/ 1158 h 1346"/>
                <a:gd name="T18" fmla="*/ 94 w 2292"/>
                <a:gd name="T19" fmla="*/ 1158 h 1346"/>
                <a:gd name="T20" fmla="*/ 0 w 2292"/>
                <a:gd name="T21" fmla="*/ 1252 h 1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92" h="1346">
                  <a:moveTo>
                    <a:pt x="0" y="1252"/>
                  </a:moveTo>
                  <a:cubicBezTo>
                    <a:pt x="0" y="1304"/>
                    <a:pt x="42" y="1346"/>
                    <a:pt x="94" y="1346"/>
                  </a:cubicBezTo>
                  <a:lnTo>
                    <a:pt x="1995" y="1346"/>
                  </a:lnTo>
                  <a:cubicBezTo>
                    <a:pt x="2159" y="1346"/>
                    <a:pt x="2292" y="1212"/>
                    <a:pt x="2292" y="1048"/>
                  </a:cubicBezTo>
                  <a:lnTo>
                    <a:pt x="2292" y="93"/>
                  </a:lnTo>
                  <a:cubicBezTo>
                    <a:pt x="2292" y="42"/>
                    <a:pt x="2250" y="0"/>
                    <a:pt x="2199" y="0"/>
                  </a:cubicBezTo>
                  <a:cubicBezTo>
                    <a:pt x="2147" y="0"/>
                    <a:pt x="2105" y="42"/>
                    <a:pt x="2105" y="93"/>
                  </a:cubicBezTo>
                  <a:lnTo>
                    <a:pt x="2105" y="1048"/>
                  </a:lnTo>
                  <a:cubicBezTo>
                    <a:pt x="2105" y="1109"/>
                    <a:pt x="2055" y="1158"/>
                    <a:pt x="1995" y="1158"/>
                  </a:cubicBezTo>
                  <a:lnTo>
                    <a:pt x="94" y="1158"/>
                  </a:lnTo>
                  <a:cubicBezTo>
                    <a:pt x="42" y="1158"/>
                    <a:pt x="0" y="1200"/>
                    <a:pt x="0" y="12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57" name="Freeform 92"/>
            <p:cNvSpPr>
              <a:spLocks noEditPoints="1"/>
            </p:cNvSpPr>
            <p:nvPr/>
          </p:nvSpPr>
          <p:spPr bwMode="auto">
            <a:xfrm>
              <a:off x="1965" y="3138"/>
              <a:ext cx="194" cy="137"/>
            </a:xfrm>
            <a:custGeom>
              <a:avLst/>
              <a:gdLst>
                <a:gd name="T0" fmla="*/ 3335 w 3670"/>
                <a:gd name="T1" fmla="*/ 0 h 2574"/>
                <a:gd name="T2" fmla="*/ 2782 w 3670"/>
                <a:gd name="T3" fmla="*/ 0 h 2574"/>
                <a:gd name="T4" fmla="*/ 2688 w 3670"/>
                <a:gd name="T5" fmla="*/ 94 h 2574"/>
                <a:gd name="T6" fmla="*/ 2782 w 3670"/>
                <a:gd name="T7" fmla="*/ 188 h 2574"/>
                <a:gd name="T8" fmla="*/ 3335 w 3670"/>
                <a:gd name="T9" fmla="*/ 188 h 2574"/>
                <a:gd name="T10" fmla="*/ 3474 w 3670"/>
                <a:gd name="T11" fmla="*/ 287 h 2574"/>
                <a:gd name="T12" fmla="*/ 1891 w 3670"/>
                <a:gd name="T13" fmla="*/ 1244 h 2574"/>
                <a:gd name="T14" fmla="*/ 1779 w 3670"/>
                <a:gd name="T15" fmla="*/ 1244 h 2574"/>
                <a:gd name="T16" fmla="*/ 196 w 3670"/>
                <a:gd name="T17" fmla="*/ 287 h 2574"/>
                <a:gd name="T18" fmla="*/ 334 w 3670"/>
                <a:gd name="T19" fmla="*/ 188 h 2574"/>
                <a:gd name="T20" fmla="*/ 2382 w 3670"/>
                <a:gd name="T21" fmla="*/ 188 h 2574"/>
                <a:gd name="T22" fmla="*/ 2476 w 3670"/>
                <a:gd name="T23" fmla="*/ 94 h 2574"/>
                <a:gd name="T24" fmla="*/ 2382 w 3670"/>
                <a:gd name="T25" fmla="*/ 0 h 2574"/>
                <a:gd name="T26" fmla="*/ 334 w 3670"/>
                <a:gd name="T27" fmla="*/ 0 h 2574"/>
                <a:gd name="T28" fmla="*/ 0 w 3670"/>
                <a:gd name="T29" fmla="*/ 335 h 2574"/>
                <a:gd name="T30" fmla="*/ 0 w 3670"/>
                <a:gd name="T31" fmla="*/ 2240 h 2574"/>
                <a:gd name="T32" fmla="*/ 334 w 3670"/>
                <a:gd name="T33" fmla="*/ 2574 h 2574"/>
                <a:gd name="T34" fmla="*/ 3335 w 3670"/>
                <a:gd name="T35" fmla="*/ 2574 h 2574"/>
                <a:gd name="T36" fmla="*/ 3670 w 3670"/>
                <a:gd name="T37" fmla="*/ 2240 h 2574"/>
                <a:gd name="T38" fmla="*/ 3670 w 3670"/>
                <a:gd name="T39" fmla="*/ 335 h 2574"/>
                <a:gd name="T40" fmla="*/ 3335 w 3670"/>
                <a:gd name="T41" fmla="*/ 0 h 2574"/>
                <a:gd name="T42" fmla="*/ 2318 w 3670"/>
                <a:gd name="T43" fmla="*/ 1205 h 2574"/>
                <a:gd name="T44" fmla="*/ 3482 w 3670"/>
                <a:gd name="T45" fmla="*/ 501 h 2574"/>
                <a:gd name="T46" fmla="*/ 3482 w 3670"/>
                <a:gd name="T47" fmla="*/ 2055 h 2574"/>
                <a:gd name="T48" fmla="*/ 2318 w 3670"/>
                <a:gd name="T49" fmla="*/ 1205 h 2574"/>
                <a:gd name="T50" fmla="*/ 1351 w 3670"/>
                <a:gd name="T51" fmla="*/ 1205 h 2574"/>
                <a:gd name="T52" fmla="*/ 187 w 3670"/>
                <a:gd name="T53" fmla="*/ 2055 h 2574"/>
                <a:gd name="T54" fmla="*/ 187 w 3670"/>
                <a:gd name="T55" fmla="*/ 501 h 2574"/>
                <a:gd name="T56" fmla="*/ 1351 w 3670"/>
                <a:gd name="T57" fmla="*/ 1205 h 2574"/>
                <a:gd name="T58" fmla="*/ 3335 w 3670"/>
                <a:gd name="T59" fmla="*/ 2386 h 2574"/>
                <a:gd name="T60" fmla="*/ 334 w 3670"/>
                <a:gd name="T61" fmla="*/ 2386 h 2574"/>
                <a:gd name="T62" fmla="*/ 194 w 3670"/>
                <a:gd name="T63" fmla="*/ 2282 h 2574"/>
                <a:gd name="T64" fmla="*/ 1525 w 3670"/>
                <a:gd name="T65" fmla="*/ 1310 h 2574"/>
                <a:gd name="T66" fmla="*/ 1682 w 3670"/>
                <a:gd name="T67" fmla="*/ 1405 h 2574"/>
                <a:gd name="T68" fmla="*/ 1835 w 3670"/>
                <a:gd name="T69" fmla="*/ 1448 h 2574"/>
                <a:gd name="T70" fmla="*/ 1988 w 3670"/>
                <a:gd name="T71" fmla="*/ 1405 h 2574"/>
                <a:gd name="T72" fmla="*/ 2144 w 3670"/>
                <a:gd name="T73" fmla="*/ 1310 h 2574"/>
                <a:gd name="T74" fmla="*/ 3475 w 3670"/>
                <a:gd name="T75" fmla="*/ 2283 h 2574"/>
                <a:gd name="T76" fmla="*/ 3335 w 3670"/>
                <a:gd name="T77" fmla="*/ 2386 h 2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70" h="2574">
                  <a:moveTo>
                    <a:pt x="3335" y="0"/>
                  </a:moveTo>
                  <a:lnTo>
                    <a:pt x="2782" y="0"/>
                  </a:lnTo>
                  <a:cubicBezTo>
                    <a:pt x="2730" y="0"/>
                    <a:pt x="2688" y="42"/>
                    <a:pt x="2688" y="94"/>
                  </a:cubicBezTo>
                  <a:cubicBezTo>
                    <a:pt x="2688" y="146"/>
                    <a:pt x="2730" y="188"/>
                    <a:pt x="2782" y="188"/>
                  </a:cubicBezTo>
                  <a:lnTo>
                    <a:pt x="3335" y="188"/>
                  </a:lnTo>
                  <a:cubicBezTo>
                    <a:pt x="3399" y="188"/>
                    <a:pt x="3454" y="229"/>
                    <a:pt x="3474" y="287"/>
                  </a:cubicBezTo>
                  <a:lnTo>
                    <a:pt x="1891" y="1244"/>
                  </a:lnTo>
                  <a:cubicBezTo>
                    <a:pt x="1856" y="1265"/>
                    <a:pt x="1813" y="1265"/>
                    <a:pt x="1779" y="1244"/>
                  </a:cubicBezTo>
                  <a:lnTo>
                    <a:pt x="196" y="287"/>
                  </a:lnTo>
                  <a:cubicBezTo>
                    <a:pt x="216" y="229"/>
                    <a:pt x="270" y="188"/>
                    <a:pt x="334" y="188"/>
                  </a:cubicBezTo>
                  <a:lnTo>
                    <a:pt x="2382" y="188"/>
                  </a:lnTo>
                  <a:cubicBezTo>
                    <a:pt x="2434" y="188"/>
                    <a:pt x="2476" y="146"/>
                    <a:pt x="2476" y="94"/>
                  </a:cubicBezTo>
                  <a:cubicBezTo>
                    <a:pt x="2476" y="42"/>
                    <a:pt x="2434" y="0"/>
                    <a:pt x="2382" y="0"/>
                  </a:cubicBezTo>
                  <a:lnTo>
                    <a:pt x="334" y="0"/>
                  </a:lnTo>
                  <a:cubicBezTo>
                    <a:pt x="150" y="0"/>
                    <a:pt x="0" y="150"/>
                    <a:pt x="0" y="335"/>
                  </a:cubicBezTo>
                  <a:lnTo>
                    <a:pt x="0" y="2240"/>
                  </a:lnTo>
                  <a:cubicBezTo>
                    <a:pt x="0" y="2424"/>
                    <a:pt x="150" y="2574"/>
                    <a:pt x="334" y="2574"/>
                  </a:cubicBezTo>
                  <a:lnTo>
                    <a:pt x="3335" y="2574"/>
                  </a:lnTo>
                  <a:cubicBezTo>
                    <a:pt x="3520" y="2574"/>
                    <a:pt x="3670" y="2424"/>
                    <a:pt x="3670" y="2240"/>
                  </a:cubicBezTo>
                  <a:lnTo>
                    <a:pt x="3670" y="335"/>
                  </a:lnTo>
                  <a:cubicBezTo>
                    <a:pt x="3670" y="150"/>
                    <a:pt x="3520" y="0"/>
                    <a:pt x="3335" y="0"/>
                  </a:cubicBezTo>
                  <a:close/>
                  <a:moveTo>
                    <a:pt x="2318" y="1205"/>
                  </a:moveTo>
                  <a:lnTo>
                    <a:pt x="3482" y="501"/>
                  </a:lnTo>
                  <a:lnTo>
                    <a:pt x="3482" y="2055"/>
                  </a:lnTo>
                  <a:lnTo>
                    <a:pt x="2318" y="1205"/>
                  </a:lnTo>
                  <a:close/>
                  <a:moveTo>
                    <a:pt x="1351" y="1205"/>
                  </a:moveTo>
                  <a:lnTo>
                    <a:pt x="187" y="2055"/>
                  </a:lnTo>
                  <a:lnTo>
                    <a:pt x="187" y="501"/>
                  </a:lnTo>
                  <a:lnTo>
                    <a:pt x="1351" y="1205"/>
                  </a:lnTo>
                  <a:close/>
                  <a:moveTo>
                    <a:pt x="3335" y="2386"/>
                  </a:moveTo>
                  <a:lnTo>
                    <a:pt x="334" y="2386"/>
                  </a:lnTo>
                  <a:cubicBezTo>
                    <a:pt x="268" y="2386"/>
                    <a:pt x="212" y="2343"/>
                    <a:pt x="194" y="2282"/>
                  </a:cubicBezTo>
                  <a:lnTo>
                    <a:pt x="1525" y="1310"/>
                  </a:lnTo>
                  <a:lnTo>
                    <a:pt x="1682" y="1405"/>
                  </a:lnTo>
                  <a:cubicBezTo>
                    <a:pt x="1729" y="1434"/>
                    <a:pt x="1782" y="1448"/>
                    <a:pt x="1835" y="1448"/>
                  </a:cubicBezTo>
                  <a:cubicBezTo>
                    <a:pt x="1888" y="1448"/>
                    <a:pt x="1941" y="1434"/>
                    <a:pt x="1988" y="1405"/>
                  </a:cubicBezTo>
                  <a:lnTo>
                    <a:pt x="2144" y="1310"/>
                  </a:lnTo>
                  <a:lnTo>
                    <a:pt x="3475" y="2283"/>
                  </a:lnTo>
                  <a:cubicBezTo>
                    <a:pt x="3457" y="2343"/>
                    <a:pt x="3401" y="2386"/>
                    <a:pt x="3335" y="238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grpSp>
        <p:nvGrpSpPr>
          <p:cNvPr id="58" name="Group 46"/>
          <p:cNvGrpSpPr>
            <a:grpSpLocks noChangeAspect="1"/>
          </p:cNvGrpSpPr>
          <p:nvPr/>
        </p:nvGrpSpPr>
        <p:grpSpPr bwMode="auto">
          <a:xfrm>
            <a:off x="8935966" y="3887249"/>
            <a:ext cx="468284" cy="432369"/>
            <a:chOff x="6575" y="805"/>
            <a:chExt cx="339" cy="313"/>
          </a:xfrm>
          <a:solidFill>
            <a:srgbClr val="E57518"/>
          </a:solidFill>
        </p:grpSpPr>
        <p:sp>
          <p:nvSpPr>
            <p:cNvPr id="59" name="Freeform 47"/>
            <p:cNvSpPr>
              <a:spLocks noEditPoints="1"/>
            </p:cNvSpPr>
            <p:nvPr/>
          </p:nvSpPr>
          <p:spPr bwMode="auto">
            <a:xfrm>
              <a:off x="6651" y="805"/>
              <a:ext cx="187" cy="177"/>
            </a:xfrm>
            <a:custGeom>
              <a:avLst/>
              <a:gdLst>
                <a:gd name="T0" fmla="*/ 3179 w 3520"/>
                <a:gd name="T1" fmla="*/ 2437 h 3347"/>
                <a:gd name="T2" fmla="*/ 3520 w 3520"/>
                <a:gd name="T3" fmla="*/ 1674 h 3347"/>
                <a:gd name="T4" fmla="*/ 3179 w 3520"/>
                <a:gd name="T5" fmla="*/ 911 h 3347"/>
                <a:gd name="T6" fmla="*/ 2094 w 3520"/>
                <a:gd name="T7" fmla="*/ 2 h 3347"/>
                <a:gd name="T8" fmla="*/ 1760 w 3520"/>
                <a:gd name="T9" fmla="*/ 142 h 3347"/>
                <a:gd name="T10" fmla="*/ 1426 w 3520"/>
                <a:gd name="T11" fmla="*/ 2 h 3347"/>
                <a:gd name="T12" fmla="*/ 341 w 3520"/>
                <a:gd name="T13" fmla="*/ 911 h 3347"/>
                <a:gd name="T14" fmla="*/ 0 w 3520"/>
                <a:gd name="T15" fmla="*/ 1674 h 3347"/>
                <a:gd name="T16" fmla="*/ 341 w 3520"/>
                <a:gd name="T17" fmla="*/ 2437 h 3347"/>
                <a:gd name="T18" fmla="*/ 1426 w 3520"/>
                <a:gd name="T19" fmla="*/ 3347 h 3347"/>
                <a:gd name="T20" fmla="*/ 1736 w 3520"/>
                <a:gd name="T21" fmla="*/ 3232 h 3347"/>
                <a:gd name="T22" fmla="*/ 1784 w 3520"/>
                <a:gd name="T23" fmla="*/ 3232 h 3347"/>
                <a:gd name="T24" fmla="*/ 2094 w 3520"/>
                <a:gd name="T25" fmla="*/ 3347 h 3347"/>
                <a:gd name="T26" fmla="*/ 1635 w 3520"/>
                <a:gd name="T27" fmla="*/ 2770 h 3347"/>
                <a:gd name="T28" fmla="*/ 1429 w 3520"/>
                <a:gd name="T29" fmla="*/ 3097 h 3347"/>
                <a:gd name="T30" fmla="*/ 1214 w 3520"/>
                <a:gd name="T31" fmla="*/ 2844 h 3347"/>
                <a:gd name="T32" fmla="*/ 1519 w 3520"/>
                <a:gd name="T33" fmla="*/ 2736 h 3347"/>
                <a:gd name="T34" fmla="*/ 1089 w 3520"/>
                <a:gd name="T35" fmla="*/ 2627 h 3347"/>
                <a:gd name="T36" fmla="*/ 591 w 3520"/>
                <a:gd name="T37" fmla="*/ 2437 h 3347"/>
                <a:gd name="T38" fmla="*/ 514 w 3520"/>
                <a:gd name="T39" fmla="*/ 2165 h 3347"/>
                <a:gd name="T40" fmla="*/ 514 w 3520"/>
                <a:gd name="T41" fmla="*/ 1183 h 3347"/>
                <a:gd name="T42" fmla="*/ 591 w 3520"/>
                <a:gd name="T43" fmla="*/ 911 h 3347"/>
                <a:gd name="T44" fmla="*/ 969 w 3520"/>
                <a:gd name="T45" fmla="*/ 545 h 3347"/>
                <a:gd name="T46" fmla="*/ 1062 w 3520"/>
                <a:gd name="T47" fmla="*/ 713 h 3347"/>
                <a:gd name="T48" fmla="*/ 1183 w 3520"/>
                <a:gd name="T49" fmla="*/ 870 h 3347"/>
                <a:gd name="T50" fmla="*/ 1172 w 3520"/>
                <a:gd name="T51" fmla="*/ 371 h 3347"/>
                <a:gd name="T52" fmla="*/ 1560 w 3520"/>
                <a:gd name="T53" fmla="*/ 294 h 3347"/>
                <a:gd name="T54" fmla="*/ 1635 w 3520"/>
                <a:gd name="T55" fmla="*/ 2770 h 3347"/>
                <a:gd name="T56" fmla="*/ 2370 w 3520"/>
                <a:gd name="T57" fmla="*/ 2483 h 3347"/>
                <a:gd name="T58" fmla="*/ 2348 w 3520"/>
                <a:gd name="T59" fmla="*/ 2977 h 3347"/>
                <a:gd name="T60" fmla="*/ 1960 w 3520"/>
                <a:gd name="T61" fmla="*/ 3054 h 3347"/>
                <a:gd name="T62" fmla="*/ 1885 w 3520"/>
                <a:gd name="T63" fmla="*/ 579 h 3347"/>
                <a:gd name="T64" fmla="*/ 2090 w 3520"/>
                <a:gd name="T65" fmla="*/ 252 h 3347"/>
                <a:gd name="T66" fmla="*/ 2306 w 3520"/>
                <a:gd name="T67" fmla="*/ 504 h 3347"/>
                <a:gd name="T68" fmla="*/ 2001 w 3520"/>
                <a:gd name="T69" fmla="*/ 613 h 3347"/>
                <a:gd name="T70" fmla="*/ 2207 w 3520"/>
                <a:gd name="T71" fmla="*/ 781 h 3347"/>
                <a:gd name="T72" fmla="*/ 2601 w 3520"/>
                <a:gd name="T73" fmla="*/ 547 h 3347"/>
                <a:gd name="T74" fmla="*/ 2921 w 3520"/>
                <a:gd name="T75" fmla="*/ 997 h 3347"/>
                <a:gd name="T76" fmla="*/ 3270 w 3520"/>
                <a:gd name="T77" fmla="*/ 1674 h 3347"/>
                <a:gd name="T78" fmla="*/ 2921 w 3520"/>
                <a:gd name="T79" fmla="*/ 2351 h 3347"/>
                <a:gd name="T80" fmla="*/ 2552 w 3520"/>
                <a:gd name="T81" fmla="*/ 2803 h 3347"/>
                <a:gd name="T82" fmla="*/ 2540 w 3520"/>
                <a:gd name="T83" fmla="*/ 2803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520" h="3347">
                  <a:moveTo>
                    <a:pt x="2597" y="3052"/>
                  </a:moveTo>
                  <a:cubicBezTo>
                    <a:pt x="2958" y="3034"/>
                    <a:pt x="3179" y="2802"/>
                    <a:pt x="3179" y="2437"/>
                  </a:cubicBezTo>
                  <a:cubicBezTo>
                    <a:pt x="3179" y="2410"/>
                    <a:pt x="3178" y="2382"/>
                    <a:pt x="3174" y="2355"/>
                  </a:cubicBezTo>
                  <a:cubicBezTo>
                    <a:pt x="3416" y="2201"/>
                    <a:pt x="3520" y="1994"/>
                    <a:pt x="3520" y="1674"/>
                  </a:cubicBezTo>
                  <a:cubicBezTo>
                    <a:pt x="3520" y="1354"/>
                    <a:pt x="3416" y="1147"/>
                    <a:pt x="3174" y="993"/>
                  </a:cubicBezTo>
                  <a:cubicBezTo>
                    <a:pt x="3178" y="966"/>
                    <a:pt x="3179" y="939"/>
                    <a:pt x="3179" y="911"/>
                  </a:cubicBezTo>
                  <a:cubicBezTo>
                    <a:pt x="3179" y="546"/>
                    <a:pt x="2958" y="314"/>
                    <a:pt x="2597" y="296"/>
                  </a:cubicBezTo>
                  <a:cubicBezTo>
                    <a:pt x="2501" y="116"/>
                    <a:pt x="2312" y="5"/>
                    <a:pt x="2094" y="2"/>
                  </a:cubicBezTo>
                  <a:cubicBezTo>
                    <a:pt x="1967" y="0"/>
                    <a:pt x="1863" y="38"/>
                    <a:pt x="1784" y="116"/>
                  </a:cubicBezTo>
                  <a:cubicBezTo>
                    <a:pt x="1776" y="124"/>
                    <a:pt x="1768" y="133"/>
                    <a:pt x="1760" y="142"/>
                  </a:cubicBezTo>
                  <a:cubicBezTo>
                    <a:pt x="1752" y="133"/>
                    <a:pt x="1744" y="124"/>
                    <a:pt x="1736" y="116"/>
                  </a:cubicBezTo>
                  <a:cubicBezTo>
                    <a:pt x="1657" y="38"/>
                    <a:pt x="1553" y="0"/>
                    <a:pt x="1426" y="2"/>
                  </a:cubicBezTo>
                  <a:cubicBezTo>
                    <a:pt x="1208" y="5"/>
                    <a:pt x="1019" y="116"/>
                    <a:pt x="923" y="296"/>
                  </a:cubicBezTo>
                  <a:cubicBezTo>
                    <a:pt x="562" y="314"/>
                    <a:pt x="341" y="546"/>
                    <a:pt x="341" y="911"/>
                  </a:cubicBezTo>
                  <a:cubicBezTo>
                    <a:pt x="341" y="939"/>
                    <a:pt x="342" y="966"/>
                    <a:pt x="346" y="993"/>
                  </a:cubicBezTo>
                  <a:cubicBezTo>
                    <a:pt x="104" y="1147"/>
                    <a:pt x="0" y="1354"/>
                    <a:pt x="0" y="1674"/>
                  </a:cubicBezTo>
                  <a:cubicBezTo>
                    <a:pt x="0" y="1994"/>
                    <a:pt x="104" y="2201"/>
                    <a:pt x="346" y="2355"/>
                  </a:cubicBezTo>
                  <a:cubicBezTo>
                    <a:pt x="342" y="2382"/>
                    <a:pt x="341" y="2410"/>
                    <a:pt x="341" y="2437"/>
                  </a:cubicBezTo>
                  <a:cubicBezTo>
                    <a:pt x="341" y="2802"/>
                    <a:pt x="562" y="3034"/>
                    <a:pt x="923" y="3052"/>
                  </a:cubicBezTo>
                  <a:cubicBezTo>
                    <a:pt x="1019" y="3232"/>
                    <a:pt x="1208" y="3344"/>
                    <a:pt x="1426" y="3347"/>
                  </a:cubicBezTo>
                  <a:cubicBezTo>
                    <a:pt x="1429" y="3347"/>
                    <a:pt x="1432" y="3347"/>
                    <a:pt x="1434" y="3347"/>
                  </a:cubicBezTo>
                  <a:cubicBezTo>
                    <a:pt x="1558" y="3347"/>
                    <a:pt x="1659" y="3308"/>
                    <a:pt x="1736" y="3232"/>
                  </a:cubicBezTo>
                  <a:cubicBezTo>
                    <a:pt x="1744" y="3224"/>
                    <a:pt x="1752" y="3216"/>
                    <a:pt x="1760" y="3207"/>
                  </a:cubicBezTo>
                  <a:cubicBezTo>
                    <a:pt x="1768" y="3216"/>
                    <a:pt x="1776" y="3224"/>
                    <a:pt x="1784" y="3232"/>
                  </a:cubicBezTo>
                  <a:cubicBezTo>
                    <a:pt x="1861" y="3308"/>
                    <a:pt x="1962" y="3347"/>
                    <a:pt x="2086" y="3347"/>
                  </a:cubicBezTo>
                  <a:cubicBezTo>
                    <a:pt x="2088" y="3347"/>
                    <a:pt x="2091" y="3347"/>
                    <a:pt x="2094" y="3347"/>
                  </a:cubicBezTo>
                  <a:cubicBezTo>
                    <a:pt x="2312" y="3343"/>
                    <a:pt x="2501" y="3232"/>
                    <a:pt x="2597" y="3052"/>
                  </a:cubicBezTo>
                  <a:close/>
                  <a:moveTo>
                    <a:pt x="1635" y="2770"/>
                  </a:moveTo>
                  <a:cubicBezTo>
                    <a:pt x="1635" y="2908"/>
                    <a:pt x="1609" y="3006"/>
                    <a:pt x="1560" y="3054"/>
                  </a:cubicBezTo>
                  <a:cubicBezTo>
                    <a:pt x="1531" y="3084"/>
                    <a:pt x="1488" y="3097"/>
                    <a:pt x="1429" y="3097"/>
                  </a:cubicBezTo>
                  <a:cubicBezTo>
                    <a:pt x="1300" y="3095"/>
                    <a:pt x="1189" y="3029"/>
                    <a:pt x="1138" y="2923"/>
                  </a:cubicBezTo>
                  <a:cubicBezTo>
                    <a:pt x="1155" y="2890"/>
                    <a:pt x="1181" y="2863"/>
                    <a:pt x="1214" y="2844"/>
                  </a:cubicBezTo>
                  <a:cubicBezTo>
                    <a:pt x="1260" y="2817"/>
                    <a:pt x="1314" y="2810"/>
                    <a:pt x="1366" y="2824"/>
                  </a:cubicBezTo>
                  <a:cubicBezTo>
                    <a:pt x="1432" y="2842"/>
                    <a:pt x="1501" y="2802"/>
                    <a:pt x="1519" y="2736"/>
                  </a:cubicBezTo>
                  <a:cubicBezTo>
                    <a:pt x="1537" y="2669"/>
                    <a:pt x="1497" y="2600"/>
                    <a:pt x="1430" y="2582"/>
                  </a:cubicBezTo>
                  <a:cubicBezTo>
                    <a:pt x="1314" y="2551"/>
                    <a:pt x="1193" y="2567"/>
                    <a:pt x="1089" y="2627"/>
                  </a:cubicBezTo>
                  <a:cubicBezTo>
                    <a:pt x="1016" y="2669"/>
                    <a:pt x="958" y="2729"/>
                    <a:pt x="919" y="2801"/>
                  </a:cubicBezTo>
                  <a:cubicBezTo>
                    <a:pt x="701" y="2786"/>
                    <a:pt x="591" y="2663"/>
                    <a:pt x="591" y="2437"/>
                  </a:cubicBezTo>
                  <a:cubicBezTo>
                    <a:pt x="591" y="2408"/>
                    <a:pt x="594" y="2379"/>
                    <a:pt x="599" y="2351"/>
                  </a:cubicBezTo>
                  <a:cubicBezTo>
                    <a:pt x="613" y="2277"/>
                    <a:pt x="579" y="2202"/>
                    <a:pt x="514" y="2165"/>
                  </a:cubicBezTo>
                  <a:cubicBezTo>
                    <a:pt x="319" y="2053"/>
                    <a:pt x="250" y="1924"/>
                    <a:pt x="250" y="1674"/>
                  </a:cubicBezTo>
                  <a:cubicBezTo>
                    <a:pt x="250" y="1424"/>
                    <a:pt x="319" y="1295"/>
                    <a:pt x="514" y="1183"/>
                  </a:cubicBezTo>
                  <a:cubicBezTo>
                    <a:pt x="579" y="1146"/>
                    <a:pt x="613" y="1071"/>
                    <a:pt x="599" y="997"/>
                  </a:cubicBezTo>
                  <a:cubicBezTo>
                    <a:pt x="594" y="969"/>
                    <a:pt x="591" y="940"/>
                    <a:pt x="591" y="911"/>
                  </a:cubicBezTo>
                  <a:cubicBezTo>
                    <a:pt x="591" y="668"/>
                    <a:pt x="718" y="545"/>
                    <a:pt x="968" y="545"/>
                  </a:cubicBezTo>
                  <a:lnTo>
                    <a:pt x="969" y="545"/>
                  </a:lnTo>
                  <a:cubicBezTo>
                    <a:pt x="973" y="545"/>
                    <a:pt x="977" y="545"/>
                    <a:pt x="980" y="545"/>
                  </a:cubicBezTo>
                  <a:cubicBezTo>
                    <a:pt x="1044" y="572"/>
                    <a:pt x="1080" y="643"/>
                    <a:pt x="1062" y="713"/>
                  </a:cubicBezTo>
                  <a:cubicBezTo>
                    <a:pt x="1044" y="779"/>
                    <a:pt x="1084" y="848"/>
                    <a:pt x="1151" y="866"/>
                  </a:cubicBezTo>
                  <a:cubicBezTo>
                    <a:pt x="1161" y="869"/>
                    <a:pt x="1172" y="870"/>
                    <a:pt x="1183" y="870"/>
                  </a:cubicBezTo>
                  <a:cubicBezTo>
                    <a:pt x="1238" y="870"/>
                    <a:pt x="1289" y="833"/>
                    <a:pt x="1303" y="777"/>
                  </a:cubicBezTo>
                  <a:cubicBezTo>
                    <a:pt x="1344" y="623"/>
                    <a:pt x="1288" y="466"/>
                    <a:pt x="1172" y="371"/>
                  </a:cubicBezTo>
                  <a:cubicBezTo>
                    <a:pt x="1230" y="297"/>
                    <a:pt x="1323" y="253"/>
                    <a:pt x="1430" y="252"/>
                  </a:cubicBezTo>
                  <a:cubicBezTo>
                    <a:pt x="1488" y="251"/>
                    <a:pt x="1531" y="265"/>
                    <a:pt x="1560" y="294"/>
                  </a:cubicBezTo>
                  <a:cubicBezTo>
                    <a:pt x="1609" y="342"/>
                    <a:pt x="1635" y="440"/>
                    <a:pt x="1635" y="579"/>
                  </a:cubicBezTo>
                  <a:lnTo>
                    <a:pt x="1635" y="2770"/>
                  </a:lnTo>
                  <a:close/>
                  <a:moveTo>
                    <a:pt x="2458" y="2636"/>
                  </a:moveTo>
                  <a:cubicBezTo>
                    <a:pt x="2476" y="2569"/>
                    <a:pt x="2436" y="2500"/>
                    <a:pt x="2370" y="2483"/>
                  </a:cubicBezTo>
                  <a:cubicBezTo>
                    <a:pt x="2303" y="2465"/>
                    <a:pt x="2234" y="2505"/>
                    <a:pt x="2217" y="2571"/>
                  </a:cubicBezTo>
                  <a:cubicBezTo>
                    <a:pt x="2176" y="2725"/>
                    <a:pt x="2232" y="2883"/>
                    <a:pt x="2348" y="2977"/>
                  </a:cubicBezTo>
                  <a:cubicBezTo>
                    <a:pt x="2290" y="3051"/>
                    <a:pt x="2197" y="3095"/>
                    <a:pt x="2090" y="3097"/>
                  </a:cubicBezTo>
                  <a:cubicBezTo>
                    <a:pt x="2032" y="3098"/>
                    <a:pt x="1989" y="3084"/>
                    <a:pt x="1960" y="3054"/>
                  </a:cubicBezTo>
                  <a:cubicBezTo>
                    <a:pt x="1911" y="3006"/>
                    <a:pt x="1885" y="2908"/>
                    <a:pt x="1885" y="2770"/>
                  </a:cubicBezTo>
                  <a:lnTo>
                    <a:pt x="1885" y="579"/>
                  </a:lnTo>
                  <a:cubicBezTo>
                    <a:pt x="1885" y="440"/>
                    <a:pt x="1911" y="342"/>
                    <a:pt x="1960" y="294"/>
                  </a:cubicBezTo>
                  <a:cubicBezTo>
                    <a:pt x="1989" y="265"/>
                    <a:pt x="2032" y="251"/>
                    <a:pt x="2090" y="252"/>
                  </a:cubicBezTo>
                  <a:cubicBezTo>
                    <a:pt x="2220" y="253"/>
                    <a:pt x="2331" y="320"/>
                    <a:pt x="2382" y="425"/>
                  </a:cubicBezTo>
                  <a:cubicBezTo>
                    <a:pt x="2365" y="458"/>
                    <a:pt x="2339" y="485"/>
                    <a:pt x="2306" y="504"/>
                  </a:cubicBezTo>
                  <a:cubicBezTo>
                    <a:pt x="2260" y="531"/>
                    <a:pt x="2206" y="538"/>
                    <a:pt x="2154" y="524"/>
                  </a:cubicBezTo>
                  <a:cubicBezTo>
                    <a:pt x="2088" y="506"/>
                    <a:pt x="2019" y="546"/>
                    <a:pt x="2001" y="613"/>
                  </a:cubicBezTo>
                  <a:cubicBezTo>
                    <a:pt x="1983" y="679"/>
                    <a:pt x="2023" y="748"/>
                    <a:pt x="2090" y="766"/>
                  </a:cubicBezTo>
                  <a:cubicBezTo>
                    <a:pt x="2128" y="776"/>
                    <a:pt x="2168" y="781"/>
                    <a:pt x="2207" y="781"/>
                  </a:cubicBezTo>
                  <a:cubicBezTo>
                    <a:pt x="2285" y="781"/>
                    <a:pt x="2362" y="761"/>
                    <a:pt x="2431" y="721"/>
                  </a:cubicBezTo>
                  <a:cubicBezTo>
                    <a:pt x="2504" y="679"/>
                    <a:pt x="2562" y="619"/>
                    <a:pt x="2601" y="547"/>
                  </a:cubicBezTo>
                  <a:cubicBezTo>
                    <a:pt x="2819" y="562"/>
                    <a:pt x="2929" y="685"/>
                    <a:pt x="2929" y="911"/>
                  </a:cubicBezTo>
                  <a:cubicBezTo>
                    <a:pt x="2929" y="940"/>
                    <a:pt x="2926" y="969"/>
                    <a:pt x="2921" y="997"/>
                  </a:cubicBezTo>
                  <a:cubicBezTo>
                    <a:pt x="2907" y="1071"/>
                    <a:pt x="2941" y="1146"/>
                    <a:pt x="3006" y="1183"/>
                  </a:cubicBezTo>
                  <a:cubicBezTo>
                    <a:pt x="3201" y="1295"/>
                    <a:pt x="3270" y="1424"/>
                    <a:pt x="3270" y="1674"/>
                  </a:cubicBezTo>
                  <a:cubicBezTo>
                    <a:pt x="3270" y="1924"/>
                    <a:pt x="3201" y="2053"/>
                    <a:pt x="3006" y="2165"/>
                  </a:cubicBezTo>
                  <a:cubicBezTo>
                    <a:pt x="2941" y="2202"/>
                    <a:pt x="2907" y="2277"/>
                    <a:pt x="2921" y="2351"/>
                  </a:cubicBezTo>
                  <a:cubicBezTo>
                    <a:pt x="2926" y="2379"/>
                    <a:pt x="2929" y="2408"/>
                    <a:pt x="2929" y="2437"/>
                  </a:cubicBezTo>
                  <a:cubicBezTo>
                    <a:pt x="2929" y="2680"/>
                    <a:pt x="2802" y="2803"/>
                    <a:pt x="2552" y="2803"/>
                  </a:cubicBezTo>
                  <a:lnTo>
                    <a:pt x="2551" y="2803"/>
                  </a:lnTo>
                  <a:cubicBezTo>
                    <a:pt x="2547" y="2803"/>
                    <a:pt x="2544" y="2803"/>
                    <a:pt x="2540" y="2803"/>
                  </a:cubicBezTo>
                  <a:cubicBezTo>
                    <a:pt x="2476" y="2776"/>
                    <a:pt x="2440" y="2705"/>
                    <a:pt x="2458" y="26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0" name="Freeform 48"/>
            <p:cNvSpPr>
              <a:spLocks/>
            </p:cNvSpPr>
            <p:nvPr/>
          </p:nvSpPr>
          <p:spPr bwMode="auto">
            <a:xfrm>
              <a:off x="6686" y="880"/>
              <a:ext cx="27" cy="35"/>
            </a:xfrm>
            <a:custGeom>
              <a:avLst/>
              <a:gdLst>
                <a:gd name="T0" fmla="*/ 394 w 519"/>
                <a:gd name="T1" fmla="*/ 0 h 665"/>
                <a:gd name="T2" fmla="*/ 59 w 519"/>
                <a:gd name="T3" fmla="*/ 220 h 665"/>
                <a:gd name="T4" fmla="*/ 126 w 519"/>
                <a:gd name="T5" fmla="*/ 614 h 665"/>
                <a:gd name="T6" fmla="*/ 140 w 519"/>
                <a:gd name="T7" fmla="*/ 629 h 665"/>
                <a:gd name="T8" fmla="*/ 229 w 519"/>
                <a:gd name="T9" fmla="*/ 665 h 665"/>
                <a:gd name="T10" fmla="*/ 317 w 519"/>
                <a:gd name="T11" fmla="*/ 629 h 665"/>
                <a:gd name="T12" fmla="*/ 317 w 519"/>
                <a:gd name="T13" fmla="*/ 452 h 665"/>
                <a:gd name="T14" fmla="*/ 309 w 519"/>
                <a:gd name="T15" fmla="*/ 443 h 665"/>
                <a:gd name="T16" fmla="*/ 288 w 519"/>
                <a:gd name="T17" fmla="*/ 320 h 665"/>
                <a:gd name="T18" fmla="*/ 394 w 519"/>
                <a:gd name="T19" fmla="*/ 250 h 665"/>
                <a:gd name="T20" fmla="*/ 519 w 519"/>
                <a:gd name="T21" fmla="*/ 125 h 665"/>
                <a:gd name="T22" fmla="*/ 394 w 519"/>
                <a:gd name="T23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9" h="665">
                  <a:moveTo>
                    <a:pt x="394" y="0"/>
                  </a:moveTo>
                  <a:cubicBezTo>
                    <a:pt x="246" y="0"/>
                    <a:pt x="118" y="85"/>
                    <a:pt x="59" y="220"/>
                  </a:cubicBezTo>
                  <a:cubicBezTo>
                    <a:pt x="0" y="355"/>
                    <a:pt x="26" y="506"/>
                    <a:pt x="126" y="614"/>
                  </a:cubicBezTo>
                  <a:cubicBezTo>
                    <a:pt x="131" y="619"/>
                    <a:pt x="135" y="624"/>
                    <a:pt x="140" y="629"/>
                  </a:cubicBezTo>
                  <a:cubicBezTo>
                    <a:pt x="165" y="653"/>
                    <a:pt x="197" y="665"/>
                    <a:pt x="229" y="665"/>
                  </a:cubicBezTo>
                  <a:cubicBezTo>
                    <a:pt x="261" y="665"/>
                    <a:pt x="293" y="653"/>
                    <a:pt x="317" y="629"/>
                  </a:cubicBezTo>
                  <a:cubicBezTo>
                    <a:pt x="366" y="580"/>
                    <a:pt x="366" y="501"/>
                    <a:pt x="317" y="452"/>
                  </a:cubicBezTo>
                  <a:cubicBezTo>
                    <a:pt x="314" y="449"/>
                    <a:pt x="311" y="446"/>
                    <a:pt x="309" y="443"/>
                  </a:cubicBezTo>
                  <a:cubicBezTo>
                    <a:pt x="262" y="393"/>
                    <a:pt x="281" y="336"/>
                    <a:pt x="288" y="320"/>
                  </a:cubicBezTo>
                  <a:cubicBezTo>
                    <a:pt x="295" y="304"/>
                    <a:pt x="324" y="250"/>
                    <a:pt x="394" y="250"/>
                  </a:cubicBezTo>
                  <a:cubicBezTo>
                    <a:pt x="463" y="250"/>
                    <a:pt x="519" y="194"/>
                    <a:pt x="519" y="125"/>
                  </a:cubicBezTo>
                  <a:cubicBezTo>
                    <a:pt x="519" y="56"/>
                    <a:pt x="463" y="0"/>
                    <a:pt x="3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1" name="Freeform 49"/>
            <p:cNvSpPr>
              <a:spLocks/>
            </p:cNvSpPr>
            <p:nvPr/>
          </p:nvSpPr>
          <p:spPr bwMode="auto">
            <a:xfrm>
              <a:off x="6775" y="880"/>
              <a:ext cx="28" cy="35"/>
            </a:xfrm>
            <a:custGeom>
              <a:avLst/>
              <a:gdLst>
                <a:gd name="T0" fmla="*/ 202 w 519"/>
                <a:gd name="T1" fmla="*/ 452 h 665"/>
                <a:gd name="T2" fmla="*/ 202 w 519"/>
                <a:gd name="T3" fmla="*/ 629 h 665"/>
                <a:gd name="T4" fmla="*/ 290 w 519"/>
                <a:gd name="T5" fmla="*/ 665 h 665"/>
                <a:gd name="T6" fmla="*/ 379 w 519"/>
                <a:gd name="T7" fmla="*/ 629 h 665"/>
                <a:gd name="T8" fmla="*/ 393 w 519"/>
                <a:gd name="T9" fmla="*/ 614 h 665"/>
                <a:gd name="T10" fmla="*/ 461 w 519"/>
                <a:gd name="T11" fmla="*/ 220 h 665"/>
                <a:gd name="T12" fmla="*/ 125 w 519"/>
                <a:gd name="T13" fmla="*/ 0 h 665"/>
                <a:gd name="T14" fmla="*/ 0 w 519"/>
                <a:gd name="T15" fmla="*/ 125 h 665"/>
                <a:gd name="T16" fmla="*/ 125 w 519"/>
                <a:gd name="T17" fmla="*/ 250 h 665"/>
                <a:gd name="T18" fmla="*/ 231 w 519"/>
                <a:gd name="T19" fmla="*/ 320 h 665"/>
                <a:gd name="T20" fmla="*/ 210 w 519"/>
                <a:gd name="T21" fmla="*/ 443 h 665"/>
                <a:gd name="T22" fmla="*/ 202 w 519"/>
                <a:gd name="T23" fmla="*/ 452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9" h="665">
                  <a:moveTo>
                    <a:pt x="202" y="452"/>
                  </a:moveTo>
                  <a:cubicBezTo>
                    <a:pt x="153" y="501"/>
                    <a:pt x="153" y="580"/>
                    <a:pt x="202" y="629"/>
                  </a:cubicBezTo>
                  <a:cubicBezTo>
                    <a:pt x="226" y="653"/>
                    <a:pt x="258" y="665"/>
                    <a:pt x="290" y="665"/>
                  </a:cubicBezTo>
                  <a:cubicBezTo>
                    <a:pt x="322" y="665"/>
                    <a:pt x="354" y="653"/>
                    <a:pt x="379" y="629"/>
                  </a:cubicBezTo>
                  <a:cubicBezTo>
                    <a:pt x="384" y="624"/>
                    <a:pt x="389" y="619"/>
                    <a:pt x="393" y="614"/>
                  </a:cubicBezTo>
                  <a:cubicBezTo>
                    <a:pt x="494" y="506"/>
                    <a:pt x="519" y="356"/>
                    <a:pt x="461" y="220"/>
                  </a:cubicBezTo>
                  <a:cubicBezTo>
                    <a:pt x="401" y="85"/>
                    <a:pt x="273" y="0"/>
                    <a:pt x="125" y="0"/>
                  </a:cubicBez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5" y="250"/>
                    <a:pt x="224" y="304"/>
                    <a:pt x="231" y="320"/>
                  </a:cubicBezTo>
                  <a:cubicBezTo>
                    <a:pt x="238" y="336"/>
                    <a:pt x="257" y="393"/>
                    <a:pt x="210" y="443"/>
                  </a:cubicBezTo>
                  <a:cubicBezTo>
                    <a:pt x="208" y="446"/>
                    <a:pt x="205" y="449"/>
                    <a:pt x="202" y="4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2" name="Freeform 50"/>
            <p:cNvSpPr>
              <a:spLocks noEditPoints="1"/>
            </p:cNvSpPr>
            <p:nvPr/>
          </p:nvSpPr>
          <p:spPr bwMode="auto">
            <a:xfrm>
              <a:off x="6575" y="843"/>
              <a:ext cx="131" cy="275"/>
            </a:xfrm>
            <a:custGeom>
              <a:avLst/>
              <a:gdLst>
                <a:gd name="T0" fmla="*/ 2083 w 2482"/>
                <a:gd name="T1" fmla="*/ 2637 h 5192"/>
                <a:gd name="T2" fmla="*/ 1212 w 2482"/>
                <a:gd name="T3" fmla="*/ 1779 h 5192"/>
                <a:gd name="T4" fmla="*/ 1212 w 2482"/>
                <a:gd name="T5" fmla="*/ 854 h 5192"/>
                <a:gd name="T6" fmla="*/ 833 w 2482"/>
                <a:gd name="T7" fmla="*/ 475 h 5192"/>
                <a:gd name="T8" fmla="*/ 820 w 2482"/>
                <a:gd name="T9" fmla="*/ 476 h 5192"/>
                <a:gd name="T10" fmla="*/ 757 w 2482"/>
                <a:gd name="T11" fmla="*/ 483 h 5192"/>
                <a:gd name="T12" fmla="*/ 757 w 2482"/>
                <a:gd name="T13" fmla="*/ 391 h 5192"/>
                <a:gd name="T14" fmla="*/ 396 w 2482"/>
                <a:gd name="T15" fmla="*/ 5 h 5192"/>
                <a:gd name="T16" fmla="*/ 103 w 2482"/>
                <a:gd name="T17" fmla="*/ 113 h 5192"/>
                <a:gd name="T18" fmla="*/ 3 w 2482"/>
                <a:gd name="T19" fmla="*/ 339 h 5192"/>
                <a:gd name="T20" fmla="*/ 0 w 2482"/>
                <a:gd name="T21" fmla="*/ 2437 h 5192"/>
                <a:gd name="T22" fmla="*/ 0 w 2482"/>
                <a:gd name="T23" fmla="*/ 2467 h 5192"/>
                <a:gd name="T24" fmla="*/ 373 w 2482"/>
                <a:gd name="T25" fmla="*/ 3283 h 5192"/>
                <a:gd name="T26" fmla="*/ 379 w 2482"/>
                <a:gd name="T27" fmla="*/ 3289 h 5192"/>
                <a:gd name="T28" fmla="*/ 1354 w 2482"/>
                <a:gd name="T29" fmla="*/ 4075 h 5192"/>
                <a:gd name="T30" fmla="*/ 1354 w 2482"/>
                <a:gd name="T31" fmla="*/ 5067 h 5192"/>
                <a:gd name="T32" fmla="*/ 1479 w 2482"/>
                <a:gd name="T33" fmla="*/ 5192 h 5192"/>
                <a:gd name="T34" fmla="*/ 2357 w 2482"/>
                <a:gd name="T35" fmla="*/ 5192 h 5192"/>
                <a:gd name="T36" fmla="*/ 2482 w 2482"/>
                <a:gd name="T37" fmla="*/ 5067 h 5192"/>
                <a:gd name="T38" fmla="*/ 2482 w 2482"/>
                <a:gd name="T39" fmla="*/ 3590 h 5192"/>
                <a:gd name="T40" fmla="*/ 2083 w 2482"/>
                <a:gd name="T41" fmla="*/ 2637 h 5192"/>
                <a:gd name="T42" fmla="*/ 828 w 2482"/>
                <a:gd name="T43" fmla="*/ 726 h 5192"/>
                <a:gd name="T44" fmla="*/ 833 w 2482"/>
                <a:gd name="T45" fmla="*/ 725 h 5192"/>
                <a:gd name="T46" fmla="*/ 962 w 2482"/>
                <a:gd name="T47" fmla="*/ 854 h 5192"/>
                <a:gd name="T48" fmla="*/ 962 w 2482"/>
                <a:gd name="T49" fmla="*/ 1636 h 5192"/>
                <a:gd name="T50" fmla="*/ 757 w 2482"/>
                <a:gd name="T51" fmla="*/ 1656 h 5192"/>
                <a:gd name="T52" fmla="*/ 757 w 2482"/>
                <a:gd name="T53" fmla="*/ 751 h 5192"/>
                <a:gd name="T54" fmla="*/ 828 w 2482"/>
                <a:gd name="T55" fmla="*/ 726 h 5192"/>
                <a:gd name="T56" fmla="*/ 2232 w 2482"/>
                <a:gd name="T57" fmla="*/ 4942 h 5192"/>
                <a:gd name="T58" fmla="*/ 1604 w 2482"/>
                <a:gd name="T59" fmla="*/ 4942 h 5192"/>
                <a:gd name="T60" fmla="*/ 1604 w 2482"/>
                <a:gd name="T61" fmla="*/ 4015 h 5192"/>
                <a:gd name="T62" fmla="*/ 1557 w 2482"/>
                <a:gd name="T63" fmla="*/ 3918 h 5192"/>
                <a:gd name="T64" fmla="*/ 539 w 2482"/>
                <a:gd name="T65" fmla="*/ 3097 h 5192"/>
                <a:gd name="T66" fmla="*/ 250 w 2482"/>
                <a:gd name="T67" fmla="*/ 2463 h 5192"/>
                <a:gd name="T68" fmla="*/ 250 w 2482"/>
                <a:gd name="T69" fmla="*/ 2438 h 5192"/>
                <a:gd name="T70" fmla="*/ 253 w 2482"/>
                <a:gd name="T71" fmla="*/ 339 h 5192"/>
                <a:gd name="T72" fmla="*/ 276 w 2482"/>
                <a:gd name="T73" fmla="*/ 294 h 5192"/>
                <a:gd name="T74" fmla="*/ 384 w 2482"/>
                <a:gd name="T75" fmla="*/ 255 h 5192"/>
                <a:gd name="T76" fmla="*/ 507 w 2482"/>
                <a:gd name="T77" fmla="*/ 391 h 5192"/>
                <a:gd name="T78" fmla="*/ 507 w 2482"/>
                <a:gd name="T79" fmla="*/ 1927 h 5192"/>
                <a:gd name="T80" fmla="*/ 497 w 2482"/>
                <a:gd name="T81" fmla="*/ 1974 h 5192"/>
                <a:gd name="T82" fmla="*/ 607 w 2482"/>
                <a:gd name="T83" fmla="*/ 2320 h 5192"/>
                <a:gd name="T84" fmla="*/ 1488 w 2482"/>
                <a:gd name="T85" fmla="*/ 3241 h 5192"/>
                <a:gd name="T86" fmla="*/ 1665 w 2482"/>
                <a:gd name="T87" fmla="*/ 3245 h 5192"/>
                <a:gd name="T88" fmla="*/ 1669 w 2482"/>
                <a:gd name="T89" fmla="*/ 3068 h 5192"/>
                <a:gd name="T90" fmla="*/ 788 w 2482"/>
                <a:gd name="T91" fmla="*/ 2146 h 5192"/>
                <a:gd name="T92" fmla="*/ 786 w 2482"/>
                <a:gd name="T93" fmla="*/ 2145 h 5192"/>
                <a:gd name="T94" fmla="*/ 744 w 2482"/>
                <a:gd name="T95" fmla="*/ 2012 h 5192"/>
                <a:gd name="T96" fmla="*/ 785 w 2482"/>
                <a:gd name="T97" fmla="*/ 1929 h 5192"/>
                <a:gd name="T98" fmla="*/ 801 w 2482"/>
                <a:gd name="T99" fmla="*/ 1914 h 5192"/>
                <a:gd name="T100" fmla="*/ 1007 w 2482"/>
                <a:gd name="T101" fmla="*/ 1928 h 5192"/>
                <a:gd name="T102" fmla="*/ 1008 w 2482"/>
                <a:gd name="T103" fmla="*/ 1929 h 5192"/>
                <a:gd name="T104" fmla="*/ 1908 w 2482"/>
                <a:gd name="T105" fmla="*/ 2815 h 5192"/>
                <a:gd name="T106" fmla="*/ 2232 w 2482"/>
                <a:gd name="T107" fmla="*/ 3590 h 5192"/>
                <a:gd name="T108" fmla="*/ 2232 w 2482"/>
                <a:gd name="T109" fmla="*/ 4942 h 5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82" h="5192">
                  <a:moveTo>
                    <a:pt x="2083" y="2637"/>
                  </a:moveTo>
                  <a:lnTo>
                    <a:pt x="1212" y="1779"/>
                  </a:lnTo>
                  <a:lnTo>
                    <a:pt x="1212" y="854"/>
                  </a:lnTo>
                  <a:cubicBezTo>
                    <a:pt x="1212" y="645"/>
                    <a:pt x="1042" y="475"/>
                    <a:pt x="833" y="475"/>
                  </a:cubicBezTo>
                  <a:cubicBezTo>
                    <a:pt x="831" y="475"/>
                    <a:pt x="820" y="476"/>
                    <a:pt x="820" y="476"/>
                  </a:cubicBezTo>
                  <a:cubicBezTo>
                    <a:pt x="799" y="476"/>
                    <a:pt x="777" y="479"/>
                    <a:pt x="757" y="483"/>
                  </a:cubicBezTo>
                  <a:lnTo>
                    <a:pt x="757" y="391"/>
                  </a:lnTo>
                  <a:cubicBezTo>
                    <a:pt x="757" y="184"/>
                    <a:pt x="598" y="15"/>
                    <a:pt x="396" y="5"/>
                  </a:cubicBezTo>
                  <a:cubicBezTo>
                    <a:pt x="288" y="0"/>
                    <a:pt x="179" y="40"/>
                    <a:pt x="103" y="113"/>
                  </a:cubicBezTo>
                  <a:cubicBezTo>
                    <a:pt x="39" y="174"/>
                    <a:pt x="3" y="255"/>
                    <a:pt x="3" y="339"/>
                  </a:cubicBezTo>
                  <a:cubicBezTo>
                    <a:pt x="3" y="634"/>
                    <a:pt x="1" y="2007"/>
                    <a:pt x="0" y="2437"/>
                  </a:cubicBezTo>
                  <a:cubicBezTo>
                    <a:pt x="0" y="2447"/>
                    <a:pt x="0" y="2457"/>
                    <a:pt x="0" y="2467"/>
                  </a:cubicBezTo>
                  <a:cubicBezTo>
                    <a:pt x="6" y="2774"/>
                    <a:pt x="142" y="3071"/>
                    <a:pt x="373" y="3283"/>
                  </a:cubicBezTo>
                  <a:cubicBezTo>
                    <a:pt x="375" y="3285"/>
                    <a:pt x="377" y="3287"/>
                    <a:pt x="379" y="3289"/>
                  </a:cubicBezTo>
                  <a:lnTo>
                    <a:pt x="1354" y="4075"/>
                  </a:lnTo>
                  <a:lnTo>
                    <a:pt x="1354" y="5067"/>
                  </a:lnTo>
                  <a:cubicBezTo>
                    <a:pt x="1354" y="5136"/>
                    <a:pt x="1410" y="5192"/>
                    <a:pt x="1479" y="5192"/>
                  </a:cubicBezTo>
                  <a:lnTo>
                    <a:pt x="2357" y="5192"/>
                  </a:lnTo>
                  <a:cubicBezTo>
                    <a:pt x="2426" y="5192"/>
                    <a:pt x="2482" y="5136"/>
                    <a:pt x="2482" y="5067"/>
                  </a:cubicBezTo>
                  <a:lnTo>
                    <a:pt x="2482" y="3590"/>
                  </a:lnTo>
                  <a:cubicBezTo>
                    <a:pt x="2482" y="3235"/>
                    <a:pt x="2337" y="2887"/>
                    <a:pt x="2083" y="2637"/>
                  </a:cubicBezTo>
                  <a:close/>
                  <a:moveTo>
                    <a:pt x="828" y="726"/>
                  </a:moveTo>
                  <a:lnTo>
                    <a:pt x="833" y="725"/>
                  </a:lnTo>
                  <a:cubicBezTo>
                    <a:pt x="904" y="725"/>
                    <a:pt x="962" y="783"/>
                    <a:pt x="962" y="854"/>
                  </a:cubicBezTo>
                  <a:lnTo>
                    <a:pt x="962" y="1636"/>
                  </a:lnTo>
                  <a:cubicBezTo>
                    <a:pt x="894" y="1625"/>
                    <a:pt x="823" y="1632"/>
                    <a:pt x="757" y="1656"/>
                  </a:cubicBezTo>
                  <a:lnTo>
                    <a:pt x="757" y="751"/>
                  </a:lnTo>
                  <a:cubicBezTo>
                    <a:pt x="777" y="735"/>
                    <a:pt x="802" y="727"/>
                    <a:pt x="828" y="726"/>
                  </a:cubicBezTo>
                  <a:close/>
                  <a:moveTo>
                    <a:pt x="2232" y="4942"/>
                  </a:moveTo>
                  <a:lnTo>
                    <a:pt x="1604" y="4942"/>
                  </a:lnTo>
                  <a:lnTo>
                    <a:pt x="1604" y="4015"/>
                  </a:lnTo>
                  <a:cubicBezTo>
                    <a:pt x="1604" y="3977"/>
                    <a:pt x="1586" y="3942"/>
                    <a:pt x="1557" y="3918"/>
                  </a:cubicBezTo>
                  <a:lnTo>
                    <a:pt x="539" y="3097"/>
                  </a:lnTo>
                  <a:cubicBezTo>
                    <a:pt x="360" y="2931"/>
                    <a:pt x="255" y="2700"/>
                    <a:pt x="250" y="2463"/>
                  </a:cubicBezTo>
                  <a:cubicBezTo>
                    <a:pt x="250" y="2454"/>
                    <a:pt x="250" y="2446"/>
                    <a:pt x="250" y="2438"/>
                  </a:cubicBezTo>
                  <a:cubicBezTo>
                    <a:pt x="251" y="2008"/>
                    <a:pt x="253" y="634"/>
                    <a:pt x="253" y="339"/>
                  </a:cubicBezTo>
                  <a:cubicBezTo>
                    <a:pt x="253" y="323"/>
                    <a:pt x="261" y="308"/>
                    <a:pt x="276" y="294"/>
                  </a:cubicBezTo>
                  <a:cubicBezTo>
                    <a:pt x="302" y="268"/>
                    <a:pt x="345" y="253"/>
                    <a:pt x="384" y="255"/>
                  </a:cubicBezTo>
                  <a:cubicBezTo>
                    <a:pt x="452" y="258"/>
                    <a:pt x="507" y="319"/>
                    <a:pt x="507" y="391"/>
                  </a:cubicBezTo>
                  <a:lnTo>
                    <a:pt x="507" y="1927"/>
                  </a:lnTo>
                  <a:cubicBezTo>
                    <a:pt x="502" y="1943"/>
                    <a:pt x="499" y="1958"/>
                    <a:pt x="497" y="1974"/>
                  </a:cubicBezTo>
                  <a:cubicBezTo>
                    <a:pt x="477" y="2100"/>
                    <a:pt x="518" y="2229"/>
                    <a:pt x="607" y="2320"/>
                  </a:cubicBezTo>
                  <a:lnTo>
                    <a:pt x="1488" y="3241"/>
                  </a:lnTo>
                  <a:cubicBezTo>
                    <a:pt x="1536" y="3291"/>
                    <a:pt x="1615" y="3292"/>
                    <a:pt x="1665" y="3245"/>
                  </a:cubicBezTo>
                  <a:cubicBezTo>
                    <a:pt x="1714" y="3197"/>
                    <a:pt x="1716" y="3118"/>
                    <a:pt x="1669" y="3068"/>
                  </a:cubicBezTo>
                  <a:lnTo>
                    <a:pt x="788" y="2146"/>
                  </a:lnTo>
                  <a:cubicBezTo>
                    <a:pt x="787" y="2146"/>
                    <a:pt x="787" y="2146"/>
                    <a:pt x="786" y="2145"/>
                  </a:cubicBezTo>
                  <a:cubicBezTo>
                    <a:pt x="752" y="2110"/>
                    <a:pt x="736" y="2061"/>
                    <a:pt x="744" y="2012"/>
                  </a:cubicBezTo>
                  <a:cubicBezTo>
                    <a:pt x="749" y="1981"/>
                    <a:pt x="763" y="1952"/>
                    <a:pt x="785" y="1929"/>
                  </a:cubicBezTo>
                  <a:cubicBezTo>
                    <a:pt x="789" y="1926"/>
                    <a:pt x="797" y="1918"/>
                    <a:pt x="801" y="1914"/>
                  </a:cubicBezTo>
                  <a:cubicBezTo>
                    <a:pt x="863" y="1866"/>
                    <a:pt x="951" y="1871"/>
                    <a:pt x="1007" y="1928"/>
                  </a:cubicBezTo>
                  <a:cubicBezTo>
                    <a:pt x="1007" y="1928"/>
                    <a:pt x="1008" y="1929"/>
                    <a:pt x="1008" y="1929"/>
                  </a:cubicBezTo>
                  <a:lnTo>
                    <a:pt x="1908" y="2815"/>
                  </a:lnTo>
                  <a:cubicBezTo>
                    <a:pt x="2114" y="3019"/>
                    <a:pt x="2232" y="3301"/>
                    <a:pt x="2232" y="3590"/>
                  </a:cubicBezTo>
                  <a:lnTo>
                    <a:pt x="2232" y="49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3" name="Freeform 51"/>
            <p:cNvSpPr>
              <a:spLocks noEditPoints="1"/>
            </p:cNvSpPr>
            <p:nvPr/>
          </p:nvSpPr>
          <p:spPr bwMode="auto">
            <a:xfrm>
              <a:off x="6782" y="843"/>
              <a:ext cx="132" cy="275"/>
            </a:xfrm>
            <a:custGeom>
              <a:avLst/>
              <a:gdLst>
                <a:gd name="T0" fmla="*/ 2479 w 2482"/>
                <a:gd name="T1" fmla="*/ 339 h 5192"/>
                <a:gd name="T2" fmla="*/ 2379 w 2482"/>
                <a:gd name="T3" fmla="*/ 113 h 5192"/>
                <a:gd name="T4" fmla="*/ 2086 w 2482"/>
                <a:gd name="T5" fmla="*/ 5 h 5192"/>
                <a:gd name="T6" fmla="*/ 1725 w 2482"/>
                <a:gd name="T7" fmla="*/ 391 h 5192"/>
                <a:gd name="T8" fmla="*/ 1725 w 2482"/>
                <a:gd name="T9" fmla="*/ 483 h 5192"/>
                <a:gd name="T10" fmla="*/ 1662 w 2482"/>
                <a:gd name="T11" fmla="*/ 476 h 5192"/>
                <a:gd name="T12" fmla="*/ 1649 w 2482"/>
                <a:gd name="T13" fmla="*/ 475 h 5192"/>
                <a:gd name="T14" fmla="*/ 1270 w 2482"/>
                <a:gd name="T15" fmla="*/ 854 h 5192"/>
                <a:gd name="T16" fmla="*/ 1270 w 2482"/>
                <a:gd name="T17" fmla="*/ 1779 h 5192"/>
                <a:gd name="T18" fmla="*/ 399 w 2482"/>
                <a:gd name="T19" fmla="*/ 2637 h 5192"/>
                <a:gd name="T20" fmla="*/ 0 w 2482"/>
                <a:gd name="T21" fmla="*/ 3590 h 5192"/>
                <a:gd name="T22" fmla="*/ 0 w 2482"/>
                <a:gd name="T23" fmla="*/ 5067 h 5192"/>
                <a:gd name="T24" fmla="*/ 125 w 2482"/>
                <a:gd name="T25" fmla="*/ 5192 h 5192"/>
                <a:gd name="T26" fmla="*/ 1003 w 2482"/>
                <a:gd name="T27" fmla="*/ 5192 h 5192"/>
                <a:gd name="T28" fmla="*/ 1128 w 2482"/>
                <a:gd name="T29" fmla="*/ 5067 h 5192"/>
                <a:gd name="T30" fmla="*/ 1128 w 2482"/>
                <a:gd name="T31" fmla="*/ 4075 h 5192"/>
                <a:gd name="T32" fmla="*/ 2103 w 2482"/>
                <a:gd name="T33" fmla="*/ 3289 h 5192"/>
                <a:gd name="T34" fmla="*/ 2109 w 2482"/>
                <a:gd name="T35" fmla="*/ 3283 h 5192"/>
                <a:gd name="T36" fmla="*/ 2482 w 2482"/>
                <a:gd name="T37" fmla="*/ 2467 h 5192"/>
                <a:gd name="T38" fmla="*/ 2482 w 2482"/>
                <a:gd name="T39" fmla="*/ 2437 h 5192"/>
                <a:gd name="T40" fmla="*/ 2479 w 2482"/>
                <a:gd name="T41" fmla="*/ 339 h 5192"/>
                <a:gd name="T42" fmla="*/ 1648 w 2482"/>
                <a:gd name="T43" fmla="*/ 725 h 5192"/>
                <a:gd name="T44" fmla="*/ 1654 w 2482"/>
                <a:gd name="T45" fmla="*/ 726 h 5192"/>
                <a:gd name="T46" fmla="*/ 1725 w 2482"/>
                <a:gd name="T47" fmla="*/ 751 h 5192"/>
                <a:gd name="T48" fmla="*/ 1725 w 2482"/>
                <a:gd name="T49" fmla="*/ 1656 h 5192"/>
                <a:gd name="T50" fmla="*/ 1520 w 2482"/>
                <a:gd name="T51" fmla="*/ 1636 h 5192"/>
                <a:gd name="T52" fmla="*/ 1520 w 2482"/>
                <a:gd name="T53" fmla="*/ 854 h 5192"/>
                <a:gd name="T54" fmla="*/ 1648 w 2482"/>
                <a:gd name="T55" fmla="*/ 725 h 5192"/>
                <a:gd name="T56" fmla="*/ 2232 w 2482"/>
                <a:gd name="T57" fmla="*/ 2463 h 5192"/>
                <a:gd name="T58" fmla="*/ 1943 w 2482"/>
                <a:gd name="T59" fmla="*/ 3097 h 5192"/>
                <a:gd name="T60" fmla="*/ 925 w 2482"/>
                <a:gd name="T61" fmla="*/ 3918 h 5192"/>
                <a:gd name="T62" fmla="*/ 878 w 2482"/>
                <a:gd name="T63" fmla="*/ 4015 h 5192"/>
                <a:gd name="T64" fmla="*/ 878 w 2482"/>
                <a:gd name="T65" fmla="*/ 4942 h 5192"/>
                <a:gd name="T66" fmla="*/ 250 w 2482"/>
                <a:gd name="T67" fmla="*/ 4942 h 5192"/>
                <a:gd name="T68" fmla="*/ 250 w 2482"/>
                <a:gd name="T69" fmla="*/ 3590 h 5192"/>
                <a:gd name="T70" fmla="*/ 574 w 2482"/>
                <a:gd name="T71" fmla="*/ 2816 h 5192"/>
                <a:gd name="T72" fmla="*/ 1474 w 2482"/>
                <a:gd name="T73" fmla="*/ 1929 h 5192"/>
                <a:gd name="T74" fmla="*/ 1475 w 2482"/>
                <a:gd name="T75" fmla="*/ 1928 h 5192"/>
                <a:gd name="T76" fmla="*/ 1681 w 2482"/>
                <a:gd name="T77" fmla="*/ 1914 h 5192"/>
                <a:gd name="T78" fmla="*/ 1697 w 2482"/>
                <a:gd name="T79" fmla="*/ 1929 h 5192"/>
                <a:gd name="T80" fmla="*/ 1738 w 2482"/>
                <a:gd name="T81" fmla="*/ 2012 h 5192"/>
                <a:gd name="T82" fmla="*/ 1696 w 2482"/>
                <a:gd name="T83" fmla="*/ 2145 h 5192"/>
                <a:gd name="T84" fmla="*/ 1695 w 2482"/>
                <a:gd name="T85" fmla="*/ 2146 h 5192"/>
                <a:gd name="T86" fmla="*/ 1251 w 2482"/>
                <a:gd name="T87" fmla="*/ 2608 h 5192"/>
                <a:gd name="T88" fmla="*/ 1254 w 2482"/>
                <a:gd name="T89" fmla="*/ 2785 h 5192"/>
                <a:gd name="T90" fmla="*/ 1431 w 2482"/>
                <a:gd name="T91" fmla="*/ 2781 h 5192"/>
                <a:gd name="T92" fmla="*/ 1874 w 2482"/>
                <a:gd name="T93" fmla="*/ 2320 h 5192"/>
                <a:gd name="T94" fmla="*/ 1985 w 2482"/>
                <a:gd name="T95" fmla="*/ 1974 h 5192"/>
                <a:gd name="T96" fmla="*/ 1975 w 2482"/>
                <a:gd name="T97" fmla="*/ 1927 h 5192"/>
                <a:gd name="T98" fmla="*/ 1975 w 2482"/>
                <a:gd name="T99" fmla="*/ 391 h 5192"/>
                <a:gd name="T100" fmla="*/ 2098 w 2482"/>
                <a:gd name="T101" fmla="*/ 255 h 5192"/>
                <a:gd name="T102" fmla="*/ 2206 w 2482"/>
                <a:gd name="T103" fmla="*/ 294 h 5192"/>
                <a:gd name="T104" fmla="*/ 2229 w 2482"/>
                <a:gd name="T105" fmla="*/ 339 h 5192"/>
                <a:gd name="T106" fmla="*/ 2232 w 2482"/>
                <a:gd name="T107" fmla="*/ 2438 h 5192"/>
                <a:gd name="T108" fmla="*/ 2232 w 2482"/>
                <a:gd name="T109" fmla="*/ 2463 h 5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82" h="5192">
                  <a:moveTo>
                    <a:pt x="2479" y="339"/>
                  </a:moveTo>
                  <a:cubicBezTo>
                    <a:pt x="2479" y="255"/>
                    <a:pt x="2443" y="174"/>
                    <a:pt x="2379" y="113"/>
                  </a:cubicBezTo>
                  <a:cubicBezTo>
                    <a:pt x="2303" y="40"/>
                    <a:pt x="2194" y="0"/>
                    <a:pt x="2086" y="5"/>
                  </a:cubicBezTo>
                  <a:cubicBezTo>
                    <a:pt x="1884" y="15"/>
                    <a:pt x="1725" y="184"/>
                    <a:pt x="1725" y="391"/>
                  </a:cubicBezTo>
                  <a:lnTo>
                    <a:pt x="1725" y="483"/>
                  </a:lnTo>
                  <a:cubicBezTo>
                    <a:pt x="1705" y="479"/>
                    <a:pt x="1683" y="476"/>
                    <a:pt x="1662" y="476"/>
                  </a:cubicBezTo>
                  <a:cubicBezTo>
                    <a:pt x="1662" y="476"/>
                    <a:pt x="1651" y="475"/>
                    <a:pt x="1649" y="475"/>
                  </a:cubicBezTo>
                  <a:cubicBezTo>
                    <a:pt x="1440" y="475"/>
                    <a:pt x="1270" y="645"/>
                    <a:pt x="1270" y="854"/>
                  </a:cubicBezTo>
                  <a:lnTo>
                    <a:pt x="1270" y="1779"/>
                  </a:lnTo>
                  <a:lnTo>
                    <a:pt x="399" y="2637"/>
                  </a:lnTo>
                  <a:cubicBezTo>
                    <a:pt x="145" y="2887"/>
                    <a:pt x="0" y="3235"/>
                    <a:pt x="0" y="3590"/>
                  </a:cubicBezTo>
                  <a:lnTo>
                    <a:pt x="0" y="5067"/>
                  </a:lnTo>
                  <a:cubicBezTo>
                    <a:pt x="0" y="5136"/>
                    <a:pt x="56" y="5192"/>
                    <a:pt x="125" y="5192"/>
                  </a:cubicBezTo>
                  <a:lnTo>
                    <a:pt x="1003" y="5192"/>
                  </a:lnTo>
                  <a:cubicBezTo>
                    <a:pt x="1072" y="5192"/>
                    <a:pt x="1128" y="5136"/>
                    <a:pt x="1128" y="5067"/>
                  </a:cubicBezTo>
                  <a:lnTo>
                    <a:pt x="1128" y="4075"/>
                  </a:lnTo>
                  <a:lnTo>
                    <a:pt x="2103" y="3289"/>
                  </a:lnTo>
                  <a:cubicBezTo>
                    <a:pt x="2105" y="3287"/>
                    <a:pt x="2107" y="3285"/>
                    <a:pt x="2109" y="3283"/>
                  </a:cubicBezTo>
                  <a:cubicBezTo>
                    <a:pt x="2340" y="3071"/>
                    <a:pt x="2476" y="2774"/>
                    <a:pt x="2482" y="2467"/>
                  </a:cubicBezTo>
                  <a:cubicBezTo>
                    <a:pt x="2482" y="2457"/>
                    <a:pt x="2482" y="2447"/>
                    <a:pt x="2482" y="2437"/>
                  </a:cubicBezTo>
                  <a:cubicBezTo>
                    <a:pt x="2481" y="2007"/>
                    <a:pt x="2479" y="634"/>
                    <a:pt x="2479" y="339"/>
                  </a:cubicBezTo>
                  <a:close/>
                  <a:moveTo>
                    <a:pt x="1648" y="725"/>
                  </a:moveTo>
                  <a:lnTo>
                    <a:pt x="1654" y="726"/>
                  </a:lnTo>
                  <a:cubicBezTo>
                    <a:pt x="1680" y="727"/>
                    <a:pt x="1705" y="735"/>
                    <a:pt x="1725" y="751"/>
                  </a:cubicBezTo>
                  <a:lnTo>
                    <a:pt x="1725" y="1656"/>
                  </a:lnTo>
                  <a:cubicBezTo>
                    <a:pt x="1659" y="1631"/>
                    <a:pt x="1588" y="1625"/>
                    <a:pt x="1520" y="1636"/>
                  </a:cubicBezTo>
                  <a:lnTo>
                    <a:pt x="1520" y="854"/>
                  </a:lnTo>
                  <a:cubicBezTo>
                    <a:pt x="1520" y="783"/>
                    <a:pt x="1578" y="725"/>
                    <a:pt x="1648" y="725"/>
                  </a:cubicBezTo>
                  <a:close/>
                  <a:moveTo>
                    <a:pt x="2232" y="2463"/>
                  </a:moveTo>
                  <a:cubicBezTo>
                    <a:pt x="2227" y="2700"/>
                    <a:pt x="2122" y="2931"/>
                    <a:pt x="1943" y="3097"/>
                  </a:cubicBezTo>
                  <a:lnTo>
                    <a:pt x="925" y="3918"/>
                  </a:lnTo>
                  <a:cubicBezTo>
                    <a:pt x="896" y="3942"/>
                    <a:pt x="878" y="3977"/>
                    <a:pt x="878" y="4015"/>
                  </a:cubicBezTo>
                  <a:lnTo>
                    <a:pt x="878" y="4942"/>
                  </a:lnTo>
                  <a:lnTo>
                    <a:pt x="250" y="4942"/>
                  </a:lnTo>
                  <a:lnTo>
                    <a:pt x="250" y="3590"/>
                  </a:lnTo>
                  <a:cubicBezTo>
                    <a:pt x="250" y="3301"/>
                    <a:pt x="368" y="3019"/>
                    <a:pt x="574" y="2816"/>
                  </a:cubicBezTo>
                  <a:lnTo>
                    <a:pt x="1474" y="1929"/>
                  </a:lnTo>
                  <a:cubicBezTo>
                    <a:pt x="1474" y="1929"/>
                    <a:pt x="1475" y="1928"/>
                    <a:pt x="1475" y="1928"/>
                  </a:cubicBezTo>
                  <a:cubicBezTo>
                    <a:pt x="1531" y="1871"/>
                    <a:pt x="1619" y="1866"/>
                    <a:pt x="1681" y="1914"/>
                  </a:cubicBezTo>
                  <a:cubicBezTo>
                    <a:pt x="1685" y="1918"/>
                    <a:pt x="1693" y="1926"/>
                    <a:pt x="1697" y="1929"/>
                  </a:cubicBezTo>
                  <a:cubicBezTo>
                    <a:pt x="1719" y="1952"/>
                    <a:pt x="1733" y="1981"/>
                    <a:pt x="1738" y="2012"/>
                  </a:cubicBezTo>
                  <a:cubicBezTo>
                    <a:pt x="1746" y="2061"/>
                    <a:pt x="1730" y="2110"/>
                    <a:pt x="1696" y="2145"/>
                  </a:cubicBezTo>
                  <a:cubicBezTo>
                    <a:pt x="1695" y="2145"/>
                    <a:pt x="1695" y="2146"/>
                    <a:pt x="1695" y="2146"/>
                  </a:cubicBezTo>
                  <a:lnTo>
                    <a:pt x="1251" y="2608"/>
                  </a:lnTo>
                  <a:cubicBezTo>
                    <a:pt x="1203" y="2658"/>
                    <a:pt x="1204" y="2737"/>
                    <a:pt x="1254" y="2785"/>
                  </a:cubicBezTo>
                  <a:cubicBezTo>
                    <a:pt x="1304" y="2833"/>
                    <a:pt x="1383" y="2831"/>
                    <a:pt x="1431" y="2781"/>
                  </a:cubicBezTo>
                  <a:lnTo>
                    <a:pt x="1874" y="2320"/>
                  </a:lnTo>
                  <a:cubicBezTo>
                    <a:pt x="1964" y="2229"/>
                    <a:pt x="2005" y="2100"/>
                    <a:pt x="1985" y="1974"/>
                  </a:cubicBezTo>
                  <a:cubicBezTo>
                    <a:pt x="1983" y="1958"/>
                    <a:pt x="1980" y="1943"/>
                    <a:pt x="1975" y="1927"/>
                  </a:cubicBezTo>
                  <a:lnTo>
                    <a:pt x="1975" y="391"/>
                  </a:lnTo>
                  <a:cubicBezTo>
                    <a:pt x="1975" y="319"/>
                    <a:pt x="2030" y="258"/>
                    <a:pt x="2098" y="255"/>
                  </a:cubicBezTo>
                  <a:cubicBezTo>
                    <a:pt x="2137" y="253"/>
                    <a:pt x="2180" y="268"/>
                    <a:pt x="2206" y="294"/>
                  </a:cubicBezTo>
                  <a:cubicBezTo>
                    <a:pt x="2221" y="308"/>
                    <a:pt x="2229" y="323"/>
                    <a:pt x="2229" y="339"/>
                  </a:cubicBezTo>
                  <a:cubicBezTo>
                    <a:pt x="2229" y="634"/>
                    <a:pt x="2231" y="2008"/>
                    <a:pt x="2232" y="2438"/>
                  </a:cubicBezTo>
                  <a:cubicBezTo>
                    <a:pt x="2232" y="2446"/>
                    <a:pt x="2232" y="2454"/>
                    <a:pt x="2232" y="2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64" name="Freeform 52"/>
            <p:cNvSpPr>
              <a:spLocks/>
            </p:cNvSpPr>
            <p:nvPr/>
          </p:nvSpPr>
          <p:spPr bwMode="auto">
            <a:xfrm>
              <a:off x="6825" y="1001"/>
              <a:ext cx="15" cy="13"/>
            </a:xfrm>
            <a:custGeom>
              <a:avLst/>
              <a:gdLst>
                <a:gd name="T0" fmla="*/ 250 w 272"/>
                <a:gd name="T1" fmla="*/ 82 h 262"/>
                <a:gd name="T2" fmla="*/ 123 w 272"/>
                <a:gd name="T3" fmla="*/ 5 h 262"/>
                <a:gd name="T4" fmla="*/ 14 w 272"/>
                <a:gd name="T5" fmla="*/ 97 h 262"/>
                <a:gd name="T6" fmla="*/ 61 w 272"/>
                <a:gd name="T7" fmla="*/ 231 h 262"/>
                <a:gd name="T8" fmla="*/ 205 w 272"/>
                <a:gd name="T9" fmla="*/ 232 h 262"/>
                <a:gd name="T10" fmla="*/ 250 w 272"/>
                <a:gd name="T11" fmla="*/ 8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2" h="262">
                  <a:moveTo>
                    <a:pt x="250" y="82"/>
                  </a:moveTo>
                  <a:cubicBezTo>
                    <a:pt x="229" y="32"/>
                    <a:pt x="177" y="0"/>
                    <a:pt x="123" y="5"/>
                  </a:cubicBezTo>
                  <a:cubicBezTo>
                    <a:pt x="71" y="9"/>
                    <a:pt x="27" y="47"/>
                    <a:pt x="14" y="97"/>
                  </a:cubicBezTo>
                  <a:cubicBezTo>
                    <a:pt x="0" y="147"/>
                    <a:pt x="20" y="201"/>
                    <a:pt x="61" y="231"/>
                  </a:cubicBezTo>
                  <a:cubicBezTo>
                    <a:pt x="104" y="261"/>
                    <a:pt x="163" y="262"/>
                    <a:pt x="205" y="232"/>
                  </a:cubicBezTo>
                  <a:cubicBezTo>
                    <a:pt x="253" y="199"/>
                    <a:pt x="272" y="135"/>
                    <a:pt x="250" y="8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66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11460163" y="6314400"/>
            <a:ext cx="553334" cy="365125"/>
          </a:xfrm>
        </p:spPr>
        <p:txBody>
          <a:bodyPr/>
          <a:lstStyle/>
          <a:p>
            <a:pPr rtl="1"/>
            <a:r>
              <a:rPr lang="en-US" b="1" dirty="0">
                <a:solidFill>
                  <a:srgbClr val="FEC232"/>
                </a:solidFill>
                <a:latin typeface="Montserrat" panose="00000500000000000000" pitchFamily="50" charset="0"/>
              </a:rPr>
              <a:t>| </a:t>
            </a:r>
            <a:fld id="{DABD2AA5-CABB-4467-8A69-C511B00C377E}" type="slidenum">
              <a:rPr lang="en-US" b="1" smtClean="0">
                <a:solidFill>
                  <a:srgbClr val="A136A0"/>
                </a:solidFill>
                <a:latin typeface="Montserrat" panose="00000500000000000000" pitchFamily="50" charset="0"/>
              </a:rPr>
              <a:pPr rtl="1"/>
              <a:t>21</a:t>
            </a:fld>
            <a:endParaRPr lang="en-US" b="1" dirty="0">
              <a:solidFill>
                <a:srgbClr val="A136A0"/>
              </a:solidFill>
              <a:latin typeface="Montserrat" panose="00000500000000000000" pitchFamily="50" charset="0"/>
            </a:endParaRPr>
          </a:p>
        </p:txBody>
      </p:sp>
      <p:pic>
        <p:nvPicPr>
          <p:cNvPr id="67" name="Image 6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9" t="32727" r="10153"/>
          <a:stretch/>
        </p:blipFill>
        <p:spPr>
          <a:xfrm>
            <a:off x="334963" y="6017538"/>
            <a:ext cx="999049" cy="5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503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50"/>
    </mc:Choice>
    <mc:Fallback xmlns="">
      <p:transition spd="slow" advTm="115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0" name="Diapositive think-cell" r:id="rId4" imgW="592" imgH="595" progId="TCLayout.ActiveDocument.1">
                  <p:embed/>
                </p:oleObj>
              </mc:Choice>
              <mc:Fallback>
                <p:oleObj name="Diapositive think-cell" r:id="rId4" imgW="592" imgH="595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334963" y="197998"/>
            <a:ext cx="115935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What’s your digital ROI?  - </a:t>
            </a:r>
            <a:r>
              <a:rPr lang="en-US" sz="2000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Realizing the value of digital investments</a:t>
            </a:r>
          </a:p>
        </p:txBody>
      </p:sp>
      <p:grpSp>
        <p:nvGrpSpPr>
          <p:cNvPr id="18" name="Groupe 17"/>
          <p:cNvGrpSpPr/>
          <p:nvPr/>
        </p:nvGrpSpPr>
        <p:grpSpPr>
          <a:xfrm>
            <a:off x="5813906" y="912105"/>
            <a:ext cx="564189" cy="178742"/>
            <a:chOff x="1362075" y="448766"/>
            <a:chExt cx="810879" cy="256897"/>
          </a:xfrm>
        </p:grpSpPr>
        <p:sp>
          <p:nvSpPr>
            <p:cNvPr id="19" name="Rectangle 18"/>
            <p:cNvSpPr/>
            <p:nvPr/>
          </p:nvSpPr>
          <p:spPr>
            <a:xfrm>
              <a:off x="1362075" y="554356"/>
              <a:ext cx="261360" cy="45719"/>
            </a:xfrm>
            <a:prstGeom prst="rect">
              <a:avLst/>
            </a:prstGeom>
            <a:solidFill>
              <a:srgbClr val="FEC2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911594" y="554356"/>
              <a:ext cx="261360" cy="45719"/>
            </a:xfrm>
            <a:prstGeom prst="rect">
              <a:avLst/>
            </a:prstGeom>
            <a:solidFill>
              <a:srgbClr val="FEC2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1665494" y="448766"/>
              <a:ext cx="204040" cy="256897"/>
            </a:xfrm>
            <a:custGeom>
              <a:avLst/>
              <a:gdLst>
                <a:gd name="T0" fmla="*/ 555 w 841"/>
                <a:gd name="T1" fmla="*/ 971 h 1059"/>
                <a:gd name="T2" fmla="*/ 841 w 841"/>
                <a:gd name="T3" fmla="*/ 436 h 1059"/>
                <a:gd name="T4" fmla="*/ 841 w 841"/>
                <a:gd name="T5" fmla="*/ 204 h 1059"/>
                <a:gd name="T6" fmla="*/ 772 w 841"/>
                <a:gd name="T7" fmla="*/ 109 h 1059"/>
                <a:gd name="T8" fmla="*/ 452 w 841"/>
                <a:gd name="T9" fmla="*/ 5 h 1059"/>
                <a:gd name="T10" fmla="*/ 420 w 841"/>
                <a:gd name="T11" fmla="*/ 0 h 1059"/>
                <a:gd name="T12" fmla="*/ 390 w 841"/>
                <a:gd name="T13" fmla="*/ 5 h 1059"/>
                <a:gd name="T14" fmla="*/ 70 w 841"/>
                <a:gd name="T15" fmla="*/ 109 h 1059"/>
                <a:gd name="T16" fmla="*/ 0 w 841"/>
                <a:gd name="T17" fmla="*/ 204 h 1059"/>
                <a:gd name="T18" fmla="*/ 0 w 841"/>
                <a:gd name="T19" fmla="*/ 436 h 1059"/>
                <a:gd name="T20" fmla="*/ 287 w 841"/>
                <a:gd name="T21" fmla="*/ 971 h 1059"/>
                <a:gd name="T22" fmla="*/ 420 w 841"/>
                <a:gd name="T23" fmla="*/ 1059 h 1059"/>
                <a:gd name="T24" fmla="*/ 555 w 841"/>
                <a:gd name="T25" fmla="*/ 971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1" h="1059">
                  <a:moveTo>
                    <a:pt x="555" y="971"/>
                  </a:moveTo>
                  <a:cubicBezTo>
                    <a:pt x="733" y="851"/>
                    <a:pt x="841" y="651"/>
                    <a:pt x="841" y="436"/>
                  </a:cubicBezTo>
                  <a:lnTo>
                    <a:pt x="841" y="204"/>
                  </a:lnTo>
                  <a:cubicBezTo>
                    <a:pt x="841" y="161"/>
                    <a:pt x="813" y="122"/>
                    <a:pt x="772" y="109"/>
                  </a:cubicBezTo>
                  <a:lnTo>
                    <a:pt x="452" y="5"/>
                  </a:lnTo>
                  <a:cubicBezTo>
                    <a:pt x="441" y="2"/>
                    <a:pt x="431" y="0"/>
                    <a:pt x="420" y="0"/>
                  </a:cubicBezTo>
                  <a:cubicBezTo>
                    <a:pt x="410" y="0"/>
                    <a:pt x="400" y="2"/>
                    <a:pt x="390" y="5"/>
                  </a:cubicBezTo>
                  <a:lnTo>
                    <a:pt x="70" y="109"/>
                  </a:lnTo>
                  <a:cubicBezTo>
                    <a:pt x="28" y="122"/>
                    <a:pt x="0" y="161"/>
                    <a:pt x="0" y="204"/>
                  </a:cubicBezTo>
                  <a:lnTo>
                    <a:pt x="0" y="436"/>
                  </a:lnTo>
                  <a:cubicBezTo>
                    <a:pt x="0" y="651"/>
                    <a:pt x="108" y="851"/>
                    <a:pt x="287" y="971"/>
                  </a:cubicBezTo>
                  <a:lnTo>
                    <a:pt x="420" y="1059"/>
                  </a:lnTo>
                  <a:lnTo>
                    <a:pt x="555" y="971"/>
                  </a:lnTo>
                  <a:close/>
                </a:path>
              </a:pathLst>
            </a:custGeom>
            <a:solidFill>
              <a:srgbClr val="A136A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rgbClr val="FEC232"/>
                </a:solidFill>
                <a:latin typeface="Montserrat Black" panose="00000A00000000000000" pitchFamily="50" charset="0"/>
              </a:endParaRPr>
            </a:p>
          </p:txBody>
        </p:sp>
      </p:grpSp>
      <p:sp>
        <p:nvSpPr>
          <p:cNvPr id="13" name="Freeform 74"/>
          <p:cNvSpPr>
            <a:spLocks/>
          </p:cNvSpPr>
          <p:nvPr/>
        </p:nvSpPr>
        <p:spPr bwMode="auto">
          <a:xfrm>
            <a:off x="8677274" y="1875583"/>
            <a:ext cx="3251200" cy="3251200"/>
          </a:xfrm>
          <a:custGeom>
            <a:avLst/>
            <a:gdLst>
              <a:gd name="T0" fmla="*/ 5785 w 6134"/>
              <a:gd name="T1" fmla="*/ 2614 h 6133"/>
              <a:gd name="T2" fmla="*/ 5557 w 6134"/>
              <a:gd name="T3" fmla="*/ 2400 h 6133"/>
              <a:gd name="T4" fmla="*/ 5649 w 6134"/>
              <a:gd name="T5" fmla="*/ 2087 h 6133"/>
              <a:gd name="T6" fmla="*/ 5722 w 6134"/>
              <a:gd name="T7" fmla="*/ 1534 h 6133"/>
              <a:gd name="T8" fmla="*/ 5201 w 6134"/>
              <a:gd name="T9" fmla="*/ 1321 h 6133"/>
              <a:gd name="T10" fmla="*/ 4889 w 6134"/>
              <a:gd name="T11" fmla="*/ 1246 h 6133"/>
              <a:gd name="T12" fmla="*/ 4815 w 6134"/>
              <a:gd name="T13" fmla="*/ 934 h 6133"/>
              <a:gd name="T14" fmla="*/ 4602 w 6134"/>
              <a:gd name="T15" fmla="*/ 412 h 6133"/>
              <a:gd name="T16" fmla="*/ 4047 w 6134"/>
              <a:gd name="T17" fmla="*/ 485 h 6133"/>
              <a:gd name="T18" fmla="*/ 3734 w 6134"/>
              <a:gd name="T19" fmla="*/ 576 h 6133"/>
              <a:gd name="T20" fmla="*/ 3521 w 6134"/>
              <a:gd name="T21" fmla="*/ 349 h 6133"/>
              <a:gd name="T22" fmla="*/ 3067 w 6134"/>
              <a:gd name="T23" fmla="*/ 0 h 6133"/>
              <a:gd name="T24" fmla="*/ 2613 w 6134"/>
              <a:gd name="T25" fmla="*/ 349 h 6133"/>
              <a:gd name="T26" fmla="*/ 2400 w 6134"/>
              <a:gd name="T27" fmla="*/ 577 h 6133"/>
              <a:gd name="T28" fmla="*/ 2087 w 6134"/>
              <a:gd name="T29" fmla="*/ 485 h 6133"/>
              <a:gd name="T30" fmla="*/ 1533 w 6134"/>
              <a:gd name="T31" fmla="*/ 411 h 6133"/>
              <a:gd name="T32" fmla="*/ 1318 w 6134"/>
              <a:gd name="T33" fmla="*/ 934 h 6133"/>
              <a:gd name="T34" fmla="*/ 1244 w 6134"/>
              <a:gd name="T35" fmla="*/ 1245 h 6133"/>
              <a:gd name="T36" fmla="*/ 933 w 6134"/>
              <a:gd name="T37" fmla="*/ 1318 h 6133"/>
              <a:gd name="T38" fmla="*/ 412 w 6134"/>
              <a:gd name="T39" fmla="*/ 1532 h 6133"/>
              <a:gd name="T40" fmla="*/ 484 w 6134"/>
              <a:gd name="T41" fmla="*/ 2086 h 6133"/>
              <a:gd name="T42" fmla="*/ 576 w 6134"/>
              <a:gd name="T43" fmla="*/ 2400 h 6133"/>
              <a:gd name="T44" fmla="*/ 348 w 6134"/>
              <a:gd name="T45" fmla="*/ 2614 h 6133"/>
              <a:gd name="T46" fmla="*/ 0 w 6134"/>
              <a:gd name="T47" fmla="*/ 3067 h 6133"/>
              <a:gd name="T48" fmla="*/ 349 w 6134"/>
              <a:gd name="T49" fmla="*/ 3520 h 6133"/>
              <a:gd name="T50" fmla="*/ 576 w 6134"/>
              <a:gd name="T51" fmla="*/ 3734 h 6133"/>
              <a:gd name="T52" fmla="*/ 485 w 6134"/>
              <a:gd name="T53" fmla="*/ 4046 h 6133"/>
              <a:gd name="T54" fmla="*/ 411 w 6134"/>
              <a:gd name="T55" fmla="*/ 4600 h 6133"/>
              <a:gd name="T56" fmla="*/ 932 w 6134"/>
              <a:gd name="T57" fmla="*/ 4813 h 6133"/>
              <a:gd name="T58" fmla="*/ 1244 w 6134"/>
              <a:gd name="T59" fmla="*/ 4887 h 6133"/>
              <a:gd name="T60" fmla="*/ 1318 w 6134"/>
              <a:gd name="T61" fmla="*/ 5200 h 6133"/>
              <a:gd name="T62" fmla="*/ 1531 w 6134"/>
              <a:gd name="T63" fmla="*/ 5722 h 6133"/>
              <a:gd name="T64" fmla="*/ 2085 w 6134"/>
              <a:gd name="T65" fmla="*/ 5648 h 6133"/>
              <a:gd name="T66" fmla="*/ 2400 w 6134"/>
              <a:gd name="T67" fmla="*/ 5557 h 6133"/>
              <a:gd name="T68" fmla="*/ 2613 w 6134"/>
              <a:gd name="T69" fmla="*/ 5785 h 6133"/>
              <a:gd name="T70" fmla="*/ 3067 w 6134"/>
              <a:gd name="T71" fmla="*/ 6133 h 6133"/>
              <a:gd name="T72" fmla="*/ 3520 w 6134"/>
              <a:gd name="T73" fmla="*/ 5785 h 6133"/>
              <a:gd name="T74" fmla="*/ 3733 w 6134"/>
              <a:gd name="T75" fmla="*/ 5557 h 6133"/>
              <a:gd name="T76" fmla="*/ 4046 w 6134"/>
              <a:gd name="T77" fmla="*/ 5649 h 6133"/>
              <a:gd name="T78" fmla="*/ 4600 w 6134"/>
              <a:gd name="T79" fmla="*/ 5723 h 6133"/>
              <a:gd name="T80" fmla="*/ 4814 w 6134"/>
              <a:gd name="T81" fmla="*/ 5201 h 6133"/>
              <a:gd name="T82" fmla="*/ 4889 w 6134"/>
              <a:gd name="T83" fmla="*/ 4889 h 6133"/>
              <a:gd name="T84" fmla="*/ 5200 w 6134"/>
              <a:gd name="T85" fmla="*/ 4816 h 6133"/>
              <a:gd name="T86" fmla="*/ 5722 w 6134"/>
              <a:gd name="T87" fmla="*/ 4602 h 6133"/>
              <a:gd name="T88" fmla="*/ 5648 w 6134"/>
              <a:gd name="T89" fmla="*/ 4049 h 6133"/>
              <a:gd name="T90" fmla="*/ 5557 w 6134"/>
              <a:gd name="T91" fmla="*/ 3734 h 6133"/>
              <a:gd name="T92" fmla="*/ 5785 w 6134"/>
              <a:gd name="T93" fmla="*/ 3520 h 6133"/>
              <a:gd name="T94" fmla="*/ 6134 w 6134"/>
              <a:gd name="T95" fmla="*/ 3067 h 6133"/>
              <a:gd name="T96" fmla="*/ 5785 w 6134"/>
              <a:gd name="T97" fmla="*/ 2614 h 6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134" h="6133">
                <a:moveTo>
                  <a:pt x="5785" y="2614"/>
                </a:moveTo>
                <a:cubicBezTo>
                  <a:pt x="5690" y="2544"/>
                  <a:pt x="5571" y="2457"/>
                  <a:pt x="5557" y="2400"/>
                </a:cubicBezTo>
                <a:cubicBezTo>
                  <a:pt x="5563" y="2290"/>
                  <a:pt x="5595" y="2183"/>
                  <a:pt x="5649" y="2087"/>
                </a:cubicBezTo>
                <a:cubicBezTo>
                  <a:pt x="5732" y="1897"/>
                  <a:pt x="5818" y="1699"/>
                  <a:pt x="5722" y="1534"/>
                </a:cubicBezTo>
                <a:cubicBezTo>
                  <a:pt x="5627" y="1370"/>
                  <a:pt x="5410" y="1343"/>
                  <a:pt x="5201" y="1321"/>
                </a:cubicBezTo>
                <a:cubicBezTo>
                  <a:pt x="5093" y="1320"/>
                  <a:pt x="4986" y="1295"/>
                  <a:pt x="4889" y="1246"/>
                </a:cubicBezTo>
                <a:cubicBezTo>
                  <a:pt x="4841" y="1149"/>
                  <a:pt x="4816" y="1042"/>
                  <a:pt x="4815" y="934"/>
                </a:cubicBezTo>
                <a:cubicBezTo>
                  <a:pt x="4792" y="725"/>
                  <a:pt x="4767" y="509"/>
                  <a:pt x="4602" y="412"/>
                </a:cubicBezTo>
                <a:cubicBezTo>
                  <a:pt x="4436" y="316"/>
                  <a:pt x="4238" y="400"/>
                  <a:pt x="4047" y="485"/>
                </a:cubicBezTo>
                <a:cubicBezTo>
                  <a:pt x="3951" y="539"/>
                  <a:pt x="3844" y="570"/>
                  <a:pt x="3734" y="576"/>
                </a:cubicBezTo>
                <a:cubicBezTo>
                  <a:pt x="3677" y="561"/>
                  <a:pt x="3590" y="443"/>
                  <a:pt x="3521" y="349"/>
                </a:cubicBezTo>
                <a:cubicBezTo>
                  <a:pt x="3400" y="185"/>
                  <a:pt x="3263" y="0"/>
                  <a:pt x="3067" y="0"/>
                </a:cubicBezTo>
                <a:cubicBezTo>
                  <a:pt x="2870" y="0"/>
                  <a:pt x="2734" y="185"/>
                  <a:pt x="2613" y="349"/>
                </a:cubicBezTo>
                <a:cubicBezTo>
                  <a:pt x="2543" y="443"/>
                  <a:pt x="2457" y="562"/>
                  <a:pt x="2400" y="577"/>
                </a:cubicBezTo>
                <a:cubicBezTo>
                  <a:pt x="2290" y="570"/>
                  <a:pt x="2183" y="539"/>
                  <a:pt x="2087" y="485"/>
                </a:cubicBezTo>
                <a:cubicBezTo>
                  <a:pt x="1895" y="400"/>
                  <a:pt x="1697" y="316"/>
                  <a:pt x="1533" y="411"/>
                </a:cubicBezTo>
                <a:cubicBezTo>
                  <a:pt x="1369" y="506"/>
                  <a:pt x="1342" y="723"/>
                  <a:pt x="1318" y="934"/>
                </a:cubicBezTo>
                <a:cubicBezTo>
                  <a:pt x="1317" y="1042"/>
                  <a:pt x="1292" y="1148"/>
                  <a:pt x="1244" y="1245"/>
                </a:cubicBezTo>
                <a:cubicBezTo>
                  <a:pt x="1147" y="1293"/>
                  <a:pt x="1041" y="1318"/>
                  <a:pt x="933" y="1318"/>
                </a:cubicBezTo>
                <a:cubicBezTo>
                  <a:pt x="724" y="1342"/>
                  <a:pt x="508" y="1366"/>
                  <a:pt x="412" y="1532"/>
                </a:cubicBezTo>
                <a:cubicBezTo>
                  <a:pt x="315" y="1697"/>
                  <a:pt x="400" y="1895"/>
                  <a:pt x="484" y="2086"/>
                </a:cubicBezTo>
                <a:cubicBezTo>
                  <a:pt x="539" y="2183"/>
                  <a:pt x="570" y="2290"/>
                  <a:pt x="576" y="2400"/>
                </a:cubicBezTo>
                <a:cubicBezTo>
                  <a:pt x="561" y="2458"/>
                  <a:pt x="443" y="2545"/>
                  <a:pt x="348" y="2614"/>
                </a:cubicBezTo>
                <a:cubicBezTo>
                  <a:pt x="185" y="2734"/>
                  <a:pt x="0" y="2870"/>
                  <a:pt x="0" y="3067"/>
                </a:cubicBezTo>
                <a:cubicBezTo>
                  <a:pt x="0" y="3264"/>
                  <a:pt x="185" y="3400"/>
                  <a:pt x="349" y="3520"/>
                </a:cubicBezTo>
                <a:cubicBezTo>
                  <a:pt x="443" y="3590"/>
                  <a:pt x="562" y="3677"/>
                  <a:pt x="576" y="3734"/>
                </a:cubicBezTo>
                <a:cubicBezTo>
                  <a:pt x="570" y="3844"/>
                  <a:pt x="539" y="3951"/>
                  <a:pt x="485" y="4046"/>
                </a:cubicBezTo>
                <a:cubicBezTo>
                  <a:pt x="401" y="4237"/>
                  <a:pt x="315" y="4435"/>
                  <a:pt x="411" y="4600"/>
                </a:cubicBezTo>
                <a:cubicBezTo>
                  <a:pt x="506" y="4764"/>
                  <a:pt x="723" y="4791"/>
                  <a:pt x="932" y="4813"/>
                </a:cubicBezTo>
                <a:cubicBezTo>
                  <a:pt x="1041" y="4814"/>
                  <a:pt x="1147" y="4839"/>
                  <a:pt x="1244" y="4887"/>
                </a:cubicBezTo>
                <a:cubicBezTo>
                  <a:pt x="1292" y="4985"/>
                  <a:pt x="1318" y="5092"/>
                  <a:pt x="1318" y="5200"/>
                </a:cubicBezTo>
                <a:cubicBezTo>
                  <a:pt x="1342" y="5409"/>
                  <a:pt x="1366" y="5625"/>
                  <a:pt x="1531" y="5722"/>
                </a:cubicBezTo>
                <a:cubicBezTo>
                  <a:pt x="1697" y="5818"/>
                  <a:pt x="1894" y="5731"/>
                  <a:pt x="2085" y="5648"/>
                </a:cubicBezTo>
                <a:cubicBezTo>
                  <a:pt x="2182" y="5594"/>
                  <a:pt x="2289" y="5563"/>
                  <a:pt x="2400" y="5557"/>
                </a:cubicBezTo>
                <a:cubicBezTo>
                  <a:pt x="2458" y="5573"/>
                  <a:pt x="2544" y="5691"/>
                  <a:pt x="2613" y="5785"/>
                </a:cubicBezTo>
                <a:cubicBezTo>
                  <a:pt x="2734" y="5948"/>
                  <a:pt x="2870" y="6133"/>
                  <a:pt x="3067" y="6133"/>
                </a:cubicBezTo>
                <a:cubicBezTo>
                  <a:pt x="3264" y="6133"/>
                  <a:pt x="3400" y="5948"/>
                  <a:pt x="3520" y="5785"/>
                </a:cubicBezTo>
                <a:cubicBezTo>
                  <a:pt x="3590" y="5690"/>
                  <a:pt x="3677" y="5572"/>
                  <a:pt x="3733" y="5557"/>
                </a:cubicBezTo>
                <a:cubicBezTo>
                  <a:pt x="3843" y="5563"/>
                  <a:pt x="3951" y="5594"/>
                  <a:pt x="4046" y="5649"/>
                </a:cubicBezTo>
                <a:cubicBezTo>
                  <a:pt x="4237" y="5732"/>
                  <a:pt x="4436" y="5817"/>
                  <a:pt x="4600" y="5723"/>
                </a:cubicBezTo>
                <a:cubicBezTo>
                  <a:pt x="4764" y="5628"/>
                  <a:pt x="4791" y="5410"/>
                  <a:pt x="4814" y="5201"/>
                </a:cubicBezTo>
                <a:cubicBezTo>
                  <a:pt x="4815" y="5093"/>
                  <a:pt x="4841" y="4986"/>
                  <a:pt x="4889" y="4889"/>
                </a:cubicBezTo>
                <a:cubicBezTo>
                  <a:pt x="4985" y="4841"/>
                  <a:pt x="5092" y="4816"/>
                  <a:pt x="5200" y="4816"/>
                </a:cubicBezTo>
                <a:cubicBezTo>
                  <a:pt x="5409" y="4792"/>
                  <a:pt x="5625" y="4768"/>
                  <a:pt x="5722" y="4602"/>
                </a:cubicBezTo>
                <a:cubicBezTo>
                  <a:pt x="5818" y="4437"/>
                  <a:pt x="5731" y="4240"/>
                  <a:pt x="5648" y="4049"/>
                </a:cubicBezTo>
                <a:cubicBezTo>
                  <a:pt x="5594" y="3952"/>
                  <a:pt x="5563" y="3844"/>
                  <a:pt x="5557" y="3734"/>
                </a:cubicBezTo>
                <a:cubicBezTo>
                  <a:pt x="5573" y="3676"/>
                  <a:pt x="5691" y="3589"/>
                  <a:pt x="5785" y="3520"/>
                </a:cubicBezTo>
                <a:cubicBezTo>
                  <a:pt x="5948" y="3400"/>
                  <a:pt x="6134" y="3263"/>
                  <a:pt x="6134" y="3067"/>
                </a:cubicBezTo>
                <a:cubicBezTo>
                  <a:pt x="6134" y="2870"/>
                  <a:pt x="5948" y="2734"/>
                  <a:pt x="5785" y="2614"/>
                </a:cubicBezTo>
                <a:close/>
              </a:path>
            </a:pathLst>
          </a:custGeom>
          <a:gradFill flip="none" rotWithShape="1">
            <a:gsLst>
              <a:gs pos="100000">
                <a:srgbClr val="6A174D"/>
              </a:gs>
              <a:gs pos="0">
                <a:srgbClr val="A136A0">
                  <a:alpha val="53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360000" tIns="45720" rIns="36000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2400" dirty="0">
                <a:solidFill>
                  <a:schemeClr val="bg1"/>
                </a:solidFill>
                <a:latin typeface="Montserrat" panose="00000500000000000000" pitchFamily="50" charset="0"/>
              </a:rPr>
              <a:t>We are saving around </a:t>
            </a:r>
            <a:r>
              <a:rPr lang="en-GB" sz="2800" b="1" dirty="0">
                <a:solidFill>
                  <a:srgbClr val="FEC232"/>
                </a:solidFill>
                <a:latin typeface="Montserrat" panose="00000500000000000000" pitchFamily="50" charset="0"/>
              </a:rPr>
              <a:t>40%</a:t>
            </a:r>
            <a:r>
              <a:rPr lang="en-GB" sz="2400" dirty="0">
                <a:solidFill>
                  <a:schemeClr val="bg1"/>
                </a:solidFill>
                <a:latin typeface="Montserrat" panose="00000500000000000000" pitchFamily="50" charset="0"/>
              </a:rPr>
              <a:t> of management costs  per project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/>
        </p:nvGraphicFramePr>
        <p:xfrm>
          <a:off x="311213" y="1529384"/>
          <a:ext cx="8476528" cy="45134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38264">
                  <a:extLst>
                    <a:ext uri="{9D8B030D-6E8A-4147-A177-3AD203B41FA5}">
                      <a16:colId xmlns:a16="http://schemas.microsoft.com/office/drawing/2014/main" val="2960018976"/>
                    </a:ext>
                  </a:extLst>
                </a:gridCol>
                <a:gridCol w="4238264">
                  <a:extLst>
                    <a:ext uri="{9D8B030D-6E8A-4147-A177-3AD203B41FA5}">
                      <a16:colId xmlns:a16="http://schemas.microsoft.com/office/drawing/2014/main" val="2264937783"/>
                    </a:ext>
                  </a:extLst>
                </a:gridCol>
              </a:tblGrid>
              <a:tr h="720630"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Blip>
                          <a:blip r:embed="rId6"/>
                        </a:buBlip>
                      </a:pPr>
                      <a:r>
                        <a:rPr lang="en-US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Cost to create a traditional site file circa</a:t>
                      </a:r>
                      <a:r>
                        <a:rPr lang="en-US" sz="18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 </a:t>
                      </a:r>
                      <a:r>
                        <a:rPr lang="en-US" sz="1800" b="1" dirty="0">
                          <a:solidFill>
                            <a:srgbClr val="A136A0"/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£500 </a:t>
                      </a:r>
                      <a:r>
                        <a:rPr lang="en-US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per projec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Blip>
                          <a:blip r:embed="rId7"/>
                        </a:buBlip>
                      </a:pPr>
                      <a:r>
                        <a:rPr lang="en-US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Now closer to </a:t>
                      </a:r>
                      <a:r>
                        <a:rPr lang="en-US" sz="1800" b="1" dirty="0">
                          <a:solidFill>
                            <a:srgbClr val="A136A0"/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£50 </a:t>
                      </a:r>
                      <a:r>
                        <a:rPr lang="en-US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thanks to our digital platform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7877379"/>
                  </a:ext>
                </a:extLst>
              </a:tr>
              <a:tr h="1024055"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Blip>
                          <a:blip r:embed="rId6"/>
                        </a:buBlip>
                      </a:pPr>
                      <a:r>
                        <a:rPr lang="en-US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It was </a:t>
                      </a:r>
                      <a:r>
                        <a:rPr lang="en-US" sz="1800" b="1" dirty="0">
                          <a:solidFill>
                            <a:srgbClr val="A136A0"/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extremely costly </a:t>
                      </a:r>
                      <a:r>
                        <a:rPr lang="en-US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maintaining site records and supply of blank form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Blip>
                          <a:blip r:embed="rId7"/>
                        </a:buBlip>
                      </a:pPr>
                      <a:r>
                        <a:rPr lang="en-US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Now this is </a:t>
                      </a:r>
                      <a:r>
                        <a:rPr lang="en-US" sz="1800" b="1" dirty="0">
                          <a:solidFill>
                            <a:srgbClr val="A136A0"/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fully automated </a:t>
                      </a:r>
                      <a:r>
                        <a:rPr lang="en-US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and we can create an unlimited number of digital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406506"/>
                  </a:ext>
                </a:extLst>
              </a:tr>
              <a:tr h="720630"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Blip>
                          <a:blip r:embed="rId6"/>
                        </a:buBlip>
                      </a:pPr>
                      <a:r>
                        <a:rPr lang="en-US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No need to copy paper files and print </a:t>
                      </a:r>
                      <a:r>
                        <a:rPr lang="en-US" sz="1800" b="1" dirty="0">
                          <a:solidFill>
                            <a:srgbClr val="A136A0"/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100’s of documents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Blip>
                          <a:blip r:embed="rId7"/>
                        </a:buBlip>
                      </a:pPr>
                      <a:r>
                        <a:rPr lang="en-US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Now available on all devices </a:t>
                      </a:r>
                      <a:r>
                        <a:rPr lang="en-US" sz="1800" b="1" dirty="0">
                          <a:solidFill>
                            <a:srgbClr val="A136A0"/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anywhere in the world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5959246"/>
                  </a:ext>
                </a:extLst>
              </a:tr>
              <a:tr h="1024055"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Blip>
                          <a:blip r:embed="rId6"/>
                        </a:buBlip>
                      </a:pPr>
                      <a:r>
                        <a:rPr lang="en-US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No need to </a:t>
                      </a:r>
                      <a:r>
                        <a:rPr lang="en-US" sz="1800" b="1" dirty="0">
                          <a:solidFill>
                            <a:srgbClr val="A136A0"/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distribute revisions </a:t>
                      </a:r>
                      <a:r>
                        <a:rPr lang="en-US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of documents to sit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Blip>
                          <a:blip r:embed="rId7"/>
                        </a:buBlip>
                      </a:pPr>
                      <a:r>
                        <a:rPr lang="en-US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Now </a:t>
                      </a:r>
                      <a:r>
                        <a:rPr lang="en-US" sz="1800" b="1" dirty="0">
                          <a:solidFill>
                            <a:srgbClr val="A136A0"/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instantaneously distribute a revision </a:t>
                      </a:r>
                      <a:r>
                        <a:rPr lang="en-US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and track its receipt and sign off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8312689"/>
                  </a:ext>
                </a:extLst>
              </a:tr>
              <a:tr h="1024055"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Blip>
                          <a:blip r:embed="rId6"/>
                        </a:buBlip>
                      </a:pPr>
                      <a:r>
                        <a:rPr lang="en-US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No Need to rent </a:t>
                      </a:r>
                      <a:r>
                        <a:rPr lang="en-US" sz="1800" b="1" dirty="0">
                          <a:solidFill>
                            <a:srgbClr val="A136A0"/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costly storage units </a:t>
                      </a:r>
                      <a:r>
                        <a:rPr lang="en-US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to archive box files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Blip>
                          <a:blip r:embed="rId7"/>
                        </a:buBlip>
                      </a:pPr>
                      <a:r>
                        <a:rPr lang="en-US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Now </a:t>
                      </a:r>
                      <a:r>
                        <a:rPr lang="en-US" sz="1800" b="1" dirty="0">
                          <a:solidFill>
                            <a:srgbClr val="A136A0"/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instantly accessible </a:t>
                      </a:r>
                      <a:r>
                        <a:rPr lang="en-US" sz="18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" panose="020F0502020204030203" pitchFamily="34" charset="0"/>
                          <a:ea typeface="Lato" panose="020F0502020204030203" pitchFamily="34" charset="0"/>
                          <a:cs typeface="Lato" panose="020F0502020204030203" pitchFamily="34" charset="0"/>
                        </a:rPr>
                        <a:t>in the relevant project file without our system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3657148"/>
                  </a:ext>
                </a:extLst>
              </a:tr>
            </a:tbl>
          </a:graphicData>
        </a:graphic>
      </p:graphicFrame>
      <p:sp>
        <p:nvSpPr>
          <p:cNvPr id="22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11460163" y="6314400"/>
            <a:ext cx="553334" cy="365125"/>
          </a:xfrm>
        </p:spPr>
        <p:txBody>
          <a:bodyPr/>
          <a:lstStyle/>
          <a:p>
            <a:pPr rtl="1"/>
            <a:r>
              <a:rPr lang="en-US" b="1" dirty="0">
                <a:solidFill>
                  <a:srgbClr val="FEC232"/>
                </a:solidFill>
                <a:latin typeface="Montserrat" panose="00000500000000000000" pitchFamily="50" charset="0"/>
              </a:rPr>
              <a:t>| </a:t>
            </a:r>
            <a:fld id="{DABD2AA5-CABB-4467-8A69-C511B00C377E}" type="slidenum">
              <a:rPr lang="en-US" b="1" smtClean="0">
                <a:solidFill>
                  <a:srgbClr val="A136A0"/>
                </a:solidFill>
                <a:latin typeface="Montserrat" panose="00000500000000000000" pitchFamily="50" charset="0"/>
              </a:rPr>
              <a:pPr rtl="1"/>
              <a:t>22</a:t>
            </a:fld>
            <a:endParaRPr lang="en-US" b="1" dirty="0">
              <a:solidFill>
                <a:srgbClr val="A136A0"/>
              </a:solidFill>
              <a:latin typeface="Montserrat" panose="00000500000000000000" pitchFamily="50" charset="0"/>
            </a:endParaRP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9" t="32727" r="10153"/>
          <a:stretch/>
        </p:blipFill>
        <p:spPr>
          <a:xfrm>
            <a:off x="334963" y="6017538"/>
            <a:ext cx="999049" cy="5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203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50"/>
    </mc:Choice>
    <mc:Fallback xmlns="">
      <p:transition spd="slow" advTm="205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4" name="Diapositive think-cell" r:id="rId4" imgW="592" imgH="595" progId="TCLayout.ActiveDocument.1">
                  <p:embed/>
                </p:oleObj>
              </mc:Choice>
              <mc:Fallback>
                <p:oleObj name="Diapositive think-cell" r:id="rId4" imgW="592" imgH="595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334963" y="197998"/>
            <a:ext cx="115935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What’s your digital ROI?  - </a:t>
            </a:r>
            <a:r>
              <a:rPr lang="en-US" sz="2000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Realizing the value of digital investments</a:t>
            </a:r>
          </a:p>
        </p:txBody>
      </p:sp>
      <p:sp>
        <p:nvSpPr>
          <p:cNvPr id="15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11460163" y="6314400"/>
            <a:ext cx="553334" cy="365125"/>
          </a:xfrm>
        </p:spPr>
        <p:txBody>
          <a:bodyPr/>
          <a:lstStyle/>
          <a:p>
            <a:pPr rtl="1"/>
            <a:r>
              <a:rPr lang="en-US" b="1" dirty="0">
                <a:solidFill>
                  <a:srgbClr val="FEC232"/>
                </a:solidFill>
                <a:latin typeface="Montserrat" panose="00000500000000000000" pitchFamily="50" charset="0"/>
              </a:rPr>
              <a:t>| </a:t>
            </a:r>
            <a:fld id="{DABD2AA5-CABB-4467-8A69-C511B00C377E}" type="slidenum">
              <a:rPr lang="en-US" b="1" smtClean="0">
                <a:solidFill>
                  <a:srgbClr val="A136A0"/>
                </a:solidFill>
                <a:latin typeface="Montserrat" panose="00000500000000000000" pitchFamily="50" charset="0"/>
              </a:rPr>
              <a:pPr rtl="1"/>
              <a:t>23</a:t>
            </a:fld>
            <a:endParaRPr lang="en-US" b="1" dirty="0">
              <a:solidFill>
                <a:srgbClr val="A136A0"/>
              </a:solidFill>
              <a:latin typeface="Montserrat" panose="00000500000000000000" pitchFamily="50" charset="0"/>
            </a:endParaRPr>
          </a:p>
        </p:txBody>
      </p:sp>
      <p:grpSp>
        <p:nvGrpSpPr>
          <p:cNvPr id="18" name="Groupe 17"/>
          <p:cNvGrpSpPr/>
          <p:nvPr/>
        </p:nvGrpSpPr>
        <p:grpSpPr>
          <a:xfrm>
            <a:off x="5813906" y="912105"/>
            <a:ext cx="564189" cy="178742"/>
            <a:chOff x="1362075" y="448766"/>
            <a:chExt cx="810879" cy="256897"/>
          </a:xfrm>
        </p:grpSpPr>
        <p:sp>
          <p:nvSpPr>
            <p:cNvPr id="19" name="Rectangle 18"/>
            <p:cNvSpPr/>
            <p:nvPr/>
          </p:nvSpPr>
          <p:spPr>
            <a:xfrm>
              <a:off x="1362075" y="554356"/>
              <a:ext cx="261360" cy="45719"/>
            </a:xfrm>
            <a:prstGeom prst="rect">
              <a:avLst/>
            </a:prstGeom>
            <a:solidFill>
              <a:srgbClr val="FEC2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911594" y="554356"/>
              <a:ext cx="261360" cy="45719"/>
            </a:xfrm>
            <a:prstGeom prst="rect">
              <a:avLst/>
            </a:prstGeom>
            <a:solidFill>
              <a:srgbClr val="FEC2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1665494" y="448766"/>
              <a:ext cx="204040" cy="256897"/>
            </a:xfrm>
            <a:custGeom>
              <a:avLst/>
              <a:gdLst>
                <a:gd name="T0" fmla="*/ 555 w 841"/>
                <a:gd name="T1" fmla="*/ 971 h 1059"/>
                <a:gd name="T2" fmla="*/ 841 w 841"/>
                <a:gd name="T3" fmla="*/ 436 h 1059"/>
                <a:gd name="T4" fmla="*/ 841 w 841"/>
                <a:gd name="T5" fmla="*/ 204 h 1059"/>
                <a:gd name="T6" fmla="*/ 772 w 841"/>
                <a:gd name="T7" fmla="*/ 109 h 1059"/>
                <a:gd name="T8" fmla="*/ 452 w 841"/>
                <a:gd name="T9" fmla="*/ 5 h 1059"/>
                <a:gd name="T10" fmla="*/ 420 w 841"/>
                <a:gd name="T11" fmla="*/ 0 h 1059"/>
                <a:gd name="T12" fmla="*/ 390 w 841"/>
                <a:gd name="T13" fmla="*/ 5 h 1059"/>
                <a:gd name="T14" fmla="*/ 70 w 841"/>
                <a:gd name="T15" fmla="*/ 109 h 1059"/>
                <a:gd name="T16" fmla="*/ 0 w 841"/>
                <a:gd name="T17" fmla="*/ 204 h 1059"/>
                <a:gd name="T18" fmla="*/ 0 w 841"/>
                <a:gd name="T19" fmla="*/ 436 h 1059"/>
                <a:gd name="T20" fmla="*/ 287 w 841"/>
                <a:gd name="T21" fmla="*/ 971 h 1059"/>
                <a:gd name="T22" fmla="*/ 420 w 841"/>
                <a:gd name="T23" fmla="*/ 1059 h 1059"/>
                <a:gd name="T24" fmla="*/ 555 w 841"/>
                <a:gd name="T25" fmla="*/ 971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1" h="1059">
                  <a:moveTo>
                    <a:pt x="555" y="971"/>
                  </a:moveTo>
                  <a:cubicBezTo>
                    <a:pt x="733" y="851"/>
                    <a:pt x="841" y="651"/>
                    <a:pt x="841" y="436"/>
                  </a:cubicBezTo>
                  <a:lnTo>
                    <a:pt x="841" y="204"/>
                  </a:lnTo>
                  <a:cubicBezTo>
                    <a:pt x="841" y="161"/>
                    <a:pt x="813" y="122"/>
                    <a:pt x="772" y="109"/>
                  </a:cubicBezTo>
                  <a:lnTo>
                    <a:pt x="452" y="5"/>
                  </a:lnTo>
                  <a:cubicBezTo>
                    <a:pt x="441" y="2"/>
                    <a:pt x="431" y="0"/>
                    <a:pt x="420" y="0"/>
                  </a:cubicBezTo>
                  <a:cubicBezTo>
                    <a:pt x="410" y="0"/>
                    <a:pt x="400" y="2"/>
                    <a:pt x="390" y="5"/>
                  </a:cubicBezTo>
                  <a:lnTo>
                    <a:pt x="70" y="109"/>
                  </a:lnTo>
                  <a:cubicBezTo>
                    <a:pt x="28" y="122"/>
                    <a:pt x="0" y="161"/>
                    <a:pt x="0" y="204"/>
                  </a:cubicBezTo>
                  <a:lnTo>
                    <a:pt x="0" y="436"/>
                  </a:lnTo>
                  <a:cubicBezTo>
                    <a:pt x="0" y="651"/>
                    <a:pt x="108" y="851"/>
                    <a:pt x="287" y="971"/>
                  </a:cubicBezTo>
                  <a:lnTo>
                    <a:pt x="420" y="1059"/>
                  </a:lnTo>
                  <a:lnTo>
                    <a:pt x="555" y="971"/>
                  </a:lnTo>
                  <a:close/>
                </a:path>
              </a:pathLst>
            </a:custGeom>
            <a:solidFill>
              <a:srgbClr val="A136A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rgbClr val="FEC232"/>
                </a:solidFill>
                <a:latin typeface="Montserrat Black" panose="00000A00000000000000" pitchFamily="50" charset="0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9A16A857-1D65-48FB-B491-829031C02AA7}"/>
              </a:ext>
            </a:extLst>
          </p:cNvPr>
          <p:cNvSpPr/>
          <p:nvPr/>
        </p:nvSpPr>
        <p:spPr>
          <a:xfrm>
            <a:off x="4280701" y="1764579"/>
            <a:ext cx="7377723" cy="3447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uditing has become an </a:t>
            </a:r>
            <a:r>
              <a:rPr lang="en-GB" b="1" dirty="0">
                <a:solidFill>
                  <a:srgbClr val="A136A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utomatic process </a:t>
            </a:r>
          </a:p>
          <a:p>
            <a:pPr algn="ctr"/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roviding </a:t>
            </a:r>
            <a:r>
              <a:rPr lang="en-GB" b="1" dirty="0">
                <a:solidFill>
                  <a:srgbClr val="A136A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eusable deep data</a:t>
            </a:r>
          </a:p>
          <a:p>
            <a:pPr algn="ctr"/>
            <a:endParaRPr lang="en-GB" dirty="0">
              <a:solidFill>
                <a:schemeClr val="tx1">
                  <a:lumMod val="75000"/>
                  <a:lumOff val="25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>
              <a:spcAft>
                <a:spcPts val="0"/>
              </a:spcAft>
            </a:pPr>
            <a:r>
              <a:rPr lang="en-GB" sz="2800" b="1" dirty="0">
                <a:gradFill>
                  <a:gsLst>
                    <a:gs pos="100000">
                      <a:srgbClr val="FEC232"/>
                    </a:gs>
                    <a:gs pos="0">
                      <a:srgbClr val="E57518"/>
                    </a:gs>
                  </a:gsLst>
                  <a:path path="circle">
                    <a:fillToRect t="100000" r="100000"/>
                  </a:path>
                </a:gra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ts all automated !!</a:t>
            </a:r>
          </a:p>
          <a:p>
            <a:pPr algn="ctr">
              <a:spcAft>
                <a:spcPts val="0"/>
              </a:spcAft>
            </a:pPr>
            <a:endParaRPr lang="en-GB" b="1" dirty="0">
              <a:solidFill>
                <a:schemeClr val="tx1">
                  <a:lumMod val="75000"/>
                  <a:lumOff val="25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ctr">
              <a:spcAft>
                <a:spcPts val="0"/>
              </a:spcAft>
            </a:pPr>
            <a:r>
              <a:rPr lang="en-GB" sz="2800" b="1" dirty="0">
                <a:gradFill>
                  <a:gsLst>
                    <a:gs pos="100000">
                      <a:srgbClr val="A136A0"/>
                    </a:gs>
                    <a:gs pos="0">
                      <a:srgbClr val="7030A0"/>
                    </a:gs>
                  </a:gsLst>
                  <a:path path="circle">
                    <a:fillToRect t="100000" r="100000"/>
                  </a:path>
                </a:gra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nd that’s not all</a:t>
            </a:r>
          </a:p>
          <a:p>
            <a:pPr algn="ctr">
              <a:spcAft>
                <a:spcPts val="0"/>
              </a:spcAft>
            </a:pPr>
            <a:endParaRPr lang="en-GB" b="1" dirty="0">
              <a:solidFill>
                <a:schemeClr val="tx1">
                  <a:lumMod val="75000"/>
                  <a:lumOff val="25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285750" indent="-285750" algn="ctr">
              <a:spcAft>
                <a:spcPts val="0"/>
              </a:spcAft>
              <a:buBlip>
                <a:blip r:embed="rId6"/>
              </a:buBlip>
            </a:pP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e are seeing very significant ROI’S across the business</a:t>
            </a:r>
          </a:p>
          <a:p>
            <a:pPr marL="285750" indent="-285750" algn="ctr">
              <a:spcAft>
                <a:spcPts val="0"/>
              </a:spcAft>
              <a:buBlip>
                <a:blip r:embed="rId6"/>
              </a:buBlip>
            </a:pP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killed senior members of the team no longer audit paper trails</a:t>
            </a:r>
          </a:p>
          <a:p>
            <a:pPr marL="285750" indent="-285750" algn="ctr">
              <a:spcAft>
                <a:spcPts val="0"/>
              </a:spcAft>
              <a:buBlip>
                <a:blip r:embed="rId6"/>
              </a:buBlip>
            </a:pP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educed admin involvement </a:t>
            </a:r>
          </a:p>
          <a:p>
            <a:pPr marL="285750" indent="-285750" algn="ctr">
              <a:spcAft>
                <a:spcPts val="0"/>
              </a:spcAft>
              <a:buBlip>
                <a:blip r:embed="rId6"/>
              </a:buBlip>
            </a:pP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perational efficiencies driven</a:t>
            </a:r>
          </a:p>
        </p:txBody>
      </p:sp>
      <p:sp>
        <p:nvSpPr>
          <p:cNvPr id="22" name="Freeform 74"/>
          <p:cNvSpPr>
            <a:spLocks/>
          </p:cNvSpPr>
          <p:nvPr/>
        </p:nvSpPr>
        <p:spPr bwMode="auto">
          <a:xfrm>
            <a:off x="731838" y="1875583"/>
            <a:ext cx="3251200" cy="3251200"/>
          </a:xfrm>
          <a:custGeom>
            <a:avLst/>
            <a:gdLst>
              <a:gd name="T0" fmla="*/ 5785 w 6134"/>
              <a:gd name="T1" fmla="*/ 2614 h 6133"/>
              <a:gd name="T2" fmla="*/ 5557 w 6134"/>
              <a:gd name="T3" fmla="*/ 2400 h 6133"/>
              <a:gd name="T4" fmla="*/ 5649 w 6134"/>
              <a:gd name="T5" fmla="*/ 2087 h 6133"/>
              <a:gd name="T6" fmla="*/ 5722 w 6134"/>
              <a:gd name="T7" fmla="*/ 1534 h 6133"/>
              <a:gd name="T8" fmla="*/ 5201 w 6134"/>
              <a:gd name="T9" fmla="*/ 1321 h 6133"/>
              <a:gd name="T10" fmla="*/ 4889 w 6134"/>
              <a:gd name="T11" fmla="*/ 1246 h 6133"/>
              <a:gd name="T12" fmla="*/ 4815 w 6134"/>
              <a:gd name="T13" fmla="*/ 934 h 6133"/>
              <a:gd name="T14" fmla="*/ 4602 w 6134"/>
              <a:gd name="T15" fmla="*/ 412 h 6133"/>
              <a:gd name="T16" fmla="*/ 4047 w 6134"/>
              <a:gd name="T17" fmla="*/ 485 h 6133"/>
              <a:gd name="T18" fmla="*/ 3734 w 6134"/>
              <a:gd name="T19" fmla="*/ 576 h 6133"/>
              <a:gd name="T20" fmla="*/ 3521 w 6134"/>
              <a:gd name="T21" fmla="*/ 349 h 6133"/>
              <a:gd name="T22" fmla="*/ 3067 w 6134"/>
              <a:gd name="T23" fmla="*/ 0 h 6133"/>
              <a:gd name="T24" fmla="*/ 2613 w 6134"/>
              <a:gd name="T25" fmla="*/ 349 h 6133"/>
              <a:gd name="T26" fmla="*/ 2400 w 6134"/>
              <a:gd name="T27" fmla="*/ 577 h 6133"/>
              <a:gd name="T28" fmla="*/ 2087 w 6134"/>
              <a:gd name="T29" fmla="*/ 485 h 6133"/>
              <a:gd name="T30" fmla="*/ 1533 w 6134"/>
              <a:gd name="T31" fmla="*/ 411 h 6133"/>
              <a:gd name="T32" fmla="*/ 1318 w 6134"/>
              <a:gd name="T33" fmla="*/ 934 h 6133"/>
              <a:gd name="T34" fmla="*/ 1244 w 6134"/>
              <a:gd name="T35" fmla="*/ 1245 h 6133"/>
              <a:gd name="T36" fmla="*/ 933 w 6134"/>
              <a:gd name="T37" fmla="*/ 1318 h 6133"/>
              <a:gd name="T38" fmla="*/ 412 w 6134"/>
              <a:gd name="T39" fmla="*/ 1532 h 6133"/>
              <a:gd name="T40" fmla="*/ 484 w 6134"/>
              <a:gd name="T41" fmla="*/ 2086 h 6133"/>
              <a:gd name="T42" fmla="*/ 576 w 6134"/>
              <a:gd name="T43" fmla="*/ 2400 h 6133"/>
              <a:gd name="T44" fmla="*/ 348 w 6134"/>
              <a:gd name="T45" fmla="*/ 2614 h 6133"/>
              <a:gd name="T46" fmla="*/ 0 w 6134"/>
              <a:gd name="T47" fmla="*/ 3067 h 6133"/>
              <a:gd name="T48" fmla="*/ 349 w 6134"/>
              <a:gd name="T49" fmla="*/ 3520 h 6133"/>
              <a:gd name="T50" fmla="*/ 576 w 6134"/>
              <a:gd name="T51" fmla="*/ 3734 h 6133"/>
              <a:gd name="T52" fmla="*/ 485 w 6134"/>
              <a:gd name="T53" fmla="*/ 4046 h 6133"/>
              <a:gd name="T54" fmla="*/ 411 w 6134"/>
              <a:gd name="T55" fmla="*/ 4600 h 6133"/>
              <a:gd name="T56" fmla="*/ 932 w 6134"/>
              <a:gd name="T57" fmla="*/ 4813 h 6133"/>
              <a:gd name="T58" fmla="*/ 1244 w 6134"/>
              <a:gd name="T59" fmla="*/ 4887 h 6133"/>
              <a:gd name="T60" fmla="*/ 1318 w 6134"/>
              <a:gd name="T61" fmla="*/ 5200 h 6133"/>
              <a:gd name="T62" fmla="*/ 1531 w 6134"/>
              <a:gd name="T63" fmla="*/ 5722 h 6133"/>
              <a:gd name="T64" fmla="*/ 2085 w 6134"/>
              <a:gd name="T65" fmla="*/ 5648 h 6133"/>
              <a:gd name="T66" fmla="*/ 2400 w 6134"/>
              <a:gd name="T67" fmla="*/ 5557 h 6133"/>
              <a:gd name="T68" fmla="*/ 2613 w 6134"/>
              <a:gd name="T69" fmla="*/ 5785 h 6133"/>
              <a:gd name="T70" fmla="*/ 3067 w 6134"/>
              <a:gd name="T71" fmla="*/ 6133 h 6133"/>
              <a:gd name="T72" fmla="*/ 3520 w 6134"/>
              <a:gd name="T73" fmla="*/ 5785 h 6133"/>
              <a:gd name="T74" fmla="*/ 3733 w 6134"/>
              <a:gd name="T75" fmla="*/ 5557 h 6133"/>
              <a:gd name="T76" fmla="*/ 4046 w 6134"/>
              <a:gd name="T77" fmla="*/ 5649 h 6133"/>
              <a:gd name="T78" fmla="*/ 4600 w 6134"/>
              <a:gd name="T79" fmla="*/ 5723 h 6133"/>
              <a:gd name="T80" fmla="*/ 4814 w 6134"/>
              <a:gd name="T81" fmla="*/ 5201 h 6133"/>
              <a:gd name="T82" fmla="*/ 4889 w 6134"/>
              <a:gd name="T83" fmla="*/ 4889 h 6133"/>
              <a:gd name="T84" fmla="*/ 5200 w 6134"/>
              <a:gd name="T85" fmla="*/ 4816 h 6133"/>
              <a:gd name="T86" fmla="*/ 5722 w 6134"/>
              <a:gd name="T87" fmla="*/ 4602 h 6133"/>
              <a:gd name="T88" fmla="*/ 5648 w 6134"/>
              <a:gd name="T89" fmla="*/ 4049 h 6133"/>
              <a:gd name="T90" fmla="*/ 5557 w 6134"/>
              <a:gd name="T91" fmla="*/ 3734 h 6133"/>
              <a:gd name="T92" fmla="*/ 5785 w 6134"/>
              <a:gd name="T93" fmla="*/ 3520 h 6133"/>
              <a:gd name="T94" fmla="*/ 6134 w 6134"/>
              <a:gd name="T95" fmla="*/ 3067 h 6133"/>
              <a:gd name="T96" fmla="*/ 5785 w 6134"/>
              <a:gd name="T97" fmla="*/ 2614 h 6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134" h="6133">
                <a:moveTo>
                  <a:pt x="5785" y="2614"/>
                </a:moveTo>
                <a:cubicBezTo>
                  <a:pt x="5690" y="2544"/>
                  <a:pt x="5571" y="2457"/>
                  <a:pt x="5557" y="2400"/>
                </a:cubicBezTo>
                <a:cubicBezTo>
                  <a:pt x="5563" y="2290"/>
                  <a:pt x="5595" y="2183"/>
                  <a:pt x="5649" y="2087"/>
                </a:cubicBezTo>
                <a:cubicBezTo>
                  <a:pt x="5732" y="1897"/>
                  <a:pt x="5818" y="1699"/>
                  <a:pt x="5722" y="1534"/>
                </a:cubicBezTo>
                <a:cubicBezTo>
                  <a:pt x="5627" y="1370"/>
                  <a:pt x="5410" y="1343"/>
                  <a:pt x="5201" y="1321"/>
                </a:cubicBezTo>
                <a:cubicBezTo>
                  <a:pt x="5093" y="1320"/>
                  <a:pt x="4986" y="1295"/>
                  <a:pt x="4889" y="1246"/>
                </a:cubicBezTo>
                <a:cubicBezTo>
                  <a:pt x="4841" y="1149"/>
                  <a:pt x="4816" y="1042"/>
                  <a:pt x="4815" y="934"/>
                </a:cubicBezTo>
                <a:cubicBezTo>
                  <a:pt x="4792" y="725"/>
                  <a:pt x="4767" y="509"/>
                  <a:pt x="4602" y="412"/>
                </a:cubicBezTo>
                <a:cubicBezTo>
                  <a:pt x="4436" y="316"/>
                  <a:pt x="4238" y="400"/>
                  <a:pt x="4047" y="485"/>
                </a:cubicBezTo>
                <a:cubicBezTo>
                  <a:pt x="3951" y="539"/>
                  <a:pt x="3844" y="570"/>
                  <a:pt x="3734" y="576"/>
                </a:cubicBezTo>
                <a:cubicBezTo>
                  <a:pt x="3677" y="561"/>
                  <a:pt x="3590" y="443"/>
                  <a:pt x="3521" y="349"/>
                </a:cubicBezTo>
                <a:cubicBezTo>
                  <a:pt x="3400" y="185"/>
                  <a:pt x="3263" y="0"/>
                  <a:pt x="3067" y="0"/>
                </a:cubicBezTo>
                <a:cubicBezTo>
                  <a:pt x="2870" y="0"/>
                  <a:pt x="2734" y="185"/>
                  <a:pt x="2613" y="349"/>
                </a:cubicBezTo>
                <a:cubicBezTo>
                  <a:pt x="2543" y="443"/>
                  <a:pt x="2457" y="562"/>
                  <a:pt x="2400" y="577"/>
                </a:cubicBezTo>
                <a:cubicBezTo>
                  <a:pt x="2290" y="570"/>
                  <a:pt x="2183" y="539"/>
                  <a:pt x="2087" y="485"/>
                </a:cubicBezTo>
                <a:cubicBezTo>
                  <a:pt x="1895" y="400"/>
                  <a:pt x="1697" y="316"/>
                  <a:pt x="1533" y="411"/>
                </a:cubicBezTo>
                <a:cubicBezTo>
                  <a:pt x="1369" y="506"/>
                  <a:pt x="1342" y="723"/>
                  <a:pt x="1318" y="934"/>
                </a:cubicBezTo>
                <a:cubicBezTo>
                  <a:pt x="1317" y="1042"/>
                  <a:pt x="1292" y="1148"/>
                  <a:pt x="1244" y="1245"/>
                </a:cubicBezTo>
                <a:cubicBezTo>
                  <a:pt x="1147" y="1293"/>
                  <a:pt x="1041" y="1318"/>
                  <a:pt x="933" y="1318"/>
                </a:cubicBezTo>
                <a:cubicBezTo>
                  <a:pt x="724" y="1342"/>
                  <a:pt x="508" y="1366"/>
                  <a:pt x="412" y="1532"/>
                </a:cubicBezTo>
                <a:cubicBezTo>
                  <a:pt x="315" y="1697"/>
                  <a:pt x="400" y="1895"/>
                  <a:pt x="484" y="2086"/>
                </a:cubicBezTo>
                <a:cubicBezTo>
                  <a:pt x="539" y="2183"/>
                  <a:pt x="570" y="2290"/>
                  <a:pt x="576" y="2400"/>
                </a:cubicBezTo>
                <a:cubicBezTo>
                  <a:pt x="561" y="2458"/>
                  <a:pt x="443" y="2545"/>
                  <a:pt x="348" y="2614"/>
                </a:cubicBezTo>
                <a:cubicBezTo>
                  <a:pt x="185" y="2734"/>
                  <a:pt x="0" y="2870"/>
                  <a:pt x="0" y="3067"/>
                </a:cubicBezTo>
                <a:cubicBezTo>
                  <a:pt x="0" y="3264"/>
                  <a:pt x="185" y="3400"/>
                  <a:pt x="349" y="3520"/>
                </a:cubicBezTo>
                <a:cubicBezTo>
                  <a:pt x="443" y="3590"/>
                  <a:pt x="562" y="3677"/>
                  <a:pt x="576" y="3734"/>
                </a:cubicBezTo>
                <a:cubicBezTo>
                  <a:pt x="570" y="3844"/>
                  <a:pt x="539" y="3951"/>
                  <a:pt x="485" y="4046"/>
                </a:cubicBezTo>
                <a:cubicBezTo>
                  <a:pt x="401" y="4237"/>
                  <a:pt x="315" y="4435"/>
                  <a:pt x="411" y="4600"/>
                </a:cubicBezTo>
                <a:cubicBezTo>
                  <a:pt x="506" y="4764"/>
                  <a:pt x="723" y="4791"/>
                  <a:pt x="932" y="4813"/>
                </a:cubicBezTo>
                <a:cubicBezTo>
                  <a:pt x="1041" y="4814"/>
                  <a:pt x="1147" y="4839"/>
                  <a:pt x="1244" y="4887"/>
                </a:cubicBezTo>
                <a:cubicBezTo>
                  <a:pt x="1292" y="4985"/>
                  <a:pt x="1318" y="5092"/>
                  <a:pt x="1318" y="5200"/>
                </a:cubicBezTo>
                <a:cubicBezTo>
                  <a:pt x="1342" y="5409"/>
                  <a:pt x="1366" y="5625"/>
                  <a:pt x="1531" y="5722"/>
                </a:cubicBezTo>
                <a:cubicBezTo>
                  <a:pt x="1697" y="5818"/>
                  <a:pt x="1894" y="5731"/>
                  <a:pt x="2085" y="5648"/>
                </a:cubicBezTo>
                <a:cubicBezTo>
                  <a:pt x="2182" y="5594"/>
                  <a:pt x="2289" y="5563"/>
                  <a:pt x="2400" y="5557"/>
                </a:cubicBezTo>
                <a:cubicBezTo>
                  <a:pt x="2458" y="5573"/>
                  <a:pt x="2544" y="5691"/>
                  <a:pt x="2613" y="5785"/>
                </a:cubicBezTo>
                <a:cubicBezTo>
                  <a:pt x="2734" y="5948"/>
                  <a:pt x="2870" y="6133"/>
                  <a:pt x="3067" y="6133"/>
                </a:cubicBezTo>
                <a:cubicBezTo>
                  <a:pt x="3264" y="6133"/>
                  <a:pt x="3400" y="5948"/>
                  <a:pt x="3520" y="5785"/>
                </a:cubicBezTo>
                <a:cubicBezTo>
                  <a:pt x="3590" y="5690"/>
                  <a:pt x="3677" y="5572"/>
                  <a:pt x="3733" y="5557"/>
                </a:cubicBezTo>
                <a:cubicBezTo>
                  <a:pt x="3843" y="5563"/>
                  <a:pt x="3951" y="5594"/>
                  <a:pt x="4046" y="5649"/>
                </a:cubicBezTo>
                <a:cubicBezTo>
                  <a:pt x="4237" y="5732"/>
                  <a:pt x="4436" y="5817"/>
                  <a:pt x="4600" y="5723"/>
                </a:cubicBezTo>
                <a:cubicBezTo>
                  <a:pt x="4764" y="5628"/>
                  <a:pt x="4791" y="5410"/>
                  <a:pt x="4814" y="5201"/>
                </a:cubicBezTo>
                <a:cubicBezTo>
                  <a:pt x="4815" y="5093"/>
                  <a:pt x="4841" y="4986"/>
                  <a:pt x="4889" y="4889"/>
                </a:cubicBezTo>
                <a:cubicBezTo>
                  <a:pt x="4985" y="4841"/>
                  <a:pt x="5092" y="4816"/>
                  <a:pt x="5200" y="4816"/>
                </a:cubicBezTo>
                <a:cubicBezTo>
                  <a:pt x="5409" y="4792"/>
                  <a:pt x="5625" y="4768"/>
                  <a:pt x="5722" y="4602"/>
                </a:cubicBezTo>
                <a:cubicBezTo>
                  <a:pt x="5818" y="4437"/>
                  <a:pt x="5731" y="4240"/>
                  <a:pt x="5648" y="4049"/>
                </a:cubicBezTo>
                <a:cubicBezTo>
                  <a:pt x="5594" y="3952"/>
                  <a:pt x="5563" y="3844"/>
                  <a:pt x="5557" y="3734"/>
                </a:cubicBezTo>
                <a:cubicBezTo>
                  <a:pt x="5573" y="3676"/>
                  <a:pt x="5691" y="3589"/>
                  <a:pt x="5785" y="3520"/>
                </a:cubicBezTo>
                <a:cubicBezTo>
                  <a:pt x="5948" y="3400"/>
                  <a:pt x="6134" y="3263"/>
                  <a:pt x="6134" y="3067"/>
                </a:cubicBezTo>
                <a:cubicBezTo>
                  <a:pt x="6134" y="2870"/>
                  <a:pt x="5948" y="2734"/>
                  <a:pt x="5785" y="2614"/>
                </a:cubicBezTo>
                <a:close/>
              </a:path>
            </a:pathLst>
          </a:custGeom>
          <a:gradFill>
            <a:gsLst>
              <a:gs pos="100000">
                <a:srgbClr val="E57518"/>
              </a:gs>
              <a:gs pos="0">
                <a:srgbClr val="FEC232">
                  <a:alpha val="78000"/>
                </a:srgbClr>
              </a:gs>
            </a:gsLst>
            <a:path path="circle">
              <a:fillToRect t="100000" r="100000"/>
            </a:path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360000" tIns="45720" rIns="36000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ens of thousands of pounds are being saved across our business 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9" t="32727" r="10153"/>
          <a:stretch/>
        </p:blipFill>
        <p:spPr>
          <a:xfrm>
            <a:off x="334963" y="6017538"/>
            <a:ext cx="999049" cy="5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260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50"/>
    </mc:Choice>
    <mc:Fallback xmlns="">
      <p:transition spd="slow" advTm="1550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8" name="Diapositive think-cell" r:id="rId4" imgW="592" imgH="595" progId="TCLayout.ActiveDocument.1">
                  <p:embed/>
                </p:oleObj>
              </mc:Choice>
              <mc:Fallback>
                <p:oleObj name="Diapositive think-cell" r:id="rId4" imgW="592" imgH="595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 rot="10800000">
            <a:off x="0" y="-5"/>
            <a:ext cx="12192000" cy="6858004"/>
          </a:xfrm>
          <a:prstGeom prst="rect">
            <a:avLst/>
          </a:prstGeom>
          <a:gradFill flip="none" rotWithShape="1">
            <a:gsLst>
              <a:gs pos="100000">
                <a:srgbClr val="E57518"/>
              </a:gs>
              <a:gs pos="0">
                <a:srgbClr val="FEC232">
                  <a:alpha val="69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Blip>
                <a:blip r:embed="rId6"/>
              </a:buBlip>
            </a:pPr>
            <a:endParaRPr lang="en-US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6170" y="0"/>
            <a:ext cx="10275830" cy="6858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334963" y="197998"/>
            <a:ext cx="115935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Piece of mind  - </a:t>
            </a:r>
            <a:r>
              <a:rPr lang="en-US" sz="2000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at all times, digitally</a:t>
            </a:r>
          </a:p>
        </p:txBody>
      </p:sp>
      <p:sp>
        <p:nvSpPr>
          <p:cNvPr id="15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chemeClr val="bg1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chemeClr val="bg1"/>
                </a:solidFill>
                <a:latin typeface="Lato Medium"/>
                <a:ea typeface="Lato Medium"/>
                <a:cs typeface="Lato Medium"/>
              </a:rPr>
              <a:t>be-safetech</a:t>
            </a:r>
            <a:r>
              <a:rPr lang="en-US" dirty="0">
                <a:solidFill>
                  <a:schemeClr val="bg1"/>
                </a:solidFill>
                <a:latin typeface="Lato Light"/>
                <a:ea typeface="Lato Light"/>
                <a:cs typeface="Lato Light"/>
              </a:rPr>
              <a:t>.c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| </a:t>
            </a:r>
            <a:fld id="{DABD2AA5-CABB-4467-8A69-C511B00C377E}" type="slidenum">
              <a:rPr lang="en-US" b="1" dirty="0" smtClean="0">
                <a:solidFill>
                  <a:schemeClr val="bg1"/>
                </a:solidFill>
                <a:latin typeface="Montserrat"/>
              </a:rPr>
              <a:pPr algn="l" rtl="1"/>
              <a:t>24</a:t>
            </a:fld>
            <a:endParaRPr lang="en-US" b="1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442531" y="6329699"/>
            <a:ext cx="270138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Be-Safe Technologies Ltd confidential</a:t>
            </a:r>
          </a:p>
        </p:txBody>
      </p:sp>
      <p:grpSp>
        <p:nvGrpSpPr>
          <p:cNvPr id="18" name="Groupe 17"/>
          <p:cNvGrpSpPr/>
          <p:nvPr/>
        </p:nvGrpSpPr>
        <p:grpSpPr>
          <a:xfrm>
            <a:off x="5813906" y="912105"/>
            <a:ext cx="564189" cy="178742"/>
            <a:chOff x="1362075" y="448766"/>
            <a:chExt cx="810879" cy="256897"/>
          </a:xfrm>
          <a:solidFill>
            <a:schemeClr val="bg1"/>
          </a:solidFill>
        </p:grpSpPr>
        <p:sp>
          <p:nvSpPr>
            <p:cNvPr id="19" name="Rectangle 18"/>
            <p:cNvSpPr/>
            <p:nvPr/>
          </p:nvSpPr>
          <p:spPr>
            <a:xfrm>
              <a:off x="1362075" y="554356"/>
              <a:ext cx="261360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911594" y="554356"/>
              <a:ext cx="261360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1665494" y="448766"/>
              <a:ext cx="204040" cy="256897"/>
            </a:xfrm>
            <a:custGeom>
              <a:avLst/>
              <a:gdLst>
                <a:gd name="T0" fmla="*/ 555 w 841"/>
                <a:gd name="T1" fmla="*/ 971 h 1059"/>
                <a:gd name="T2" fmla="*/ 841 w 841"/>
                <a:gd name="T3" fmla="*/ 436 h 1059"/>
                <a:gd name="T4" fmla="*/ 841 w 841"/>
                <a:gd name="T5" fmla="*/ 204 h 1059"/>
                <a:gd name="T6" fmla="*/ 772 w 841"/>
                <a:gd name="T7" fmla="*/ 109 h 1059"/>
                <a:gd name="T8" fmla="*/ 452 w 841"/>
                <a:gd name="T9" fmla="*/ 5 h 1059"/>
                <a:gd name="T10" fmla="*/ 420 w 841"/>
                <a:gd name="T11" fmla="*/ 0 h 1059"/>
                <a:gd name="T12" fmla="*/ 390 w 841"/>
                <a:gd name="T13" fmla="*/ 5 h 1059"/>
                <a:gd name="T14" fmla="*/ 70 w 841"/>
                <a:gd name="T15" fmla="*/ 109 h 1059"/>
                <a:gd name="T16" fmla="*/ 0 w 841"/>
                <a:gd name="T17" fmla="*/ 204 h 1059"/>
                <a:gd name="T18" fmla="*/ 0 w 841"/>
                <a:gd name="T19" fmla="*/ 436 h 1059"/>
                <a:gd name="T20" fmla="*/ 287 w 841"/>
                <a:gd name="T21" fmla="*/ 971 h 1059"/>
                <a:gd name="T22" fmla="*/ 420 w 841"/>
                <a:gd name="T23" fmla="*/ 1059 h 1059"/>
                <a:gd name="T24" fmla="*/ 555 w 841"/>
                <a:gd name="T25" fmla="*/ 971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1" h="1059">
                  <a:moveTo>
                    <a:pt x="555" y="971"/>
                  </a:moveTo>
                  <a:cubicBezTo>
                    <a:pt x="733" y="851"/>
                    <a:pt x="841" y="651"/>
                    <a:pt x="841" y="436"/>
                  </a:cubicBezTo>
                  <a:lnTo>
                    <a:pt x="841" y="204"/>
                  </a:lnTo>
                  <a:cubicBezTo>
                    <a:pt x="841" y="161"/>
                    <a:pt x="813" y="122"/>
                    <a:pt x="772" y="109"/>
                  </a:cubicBezTo>
                  <a:lnTo>
                    <a:pt x="452" y="5"/>
                  </a:lnTo>
                  <a:cubicBezTo>
                    <a:pt x="441" y="2"/>
                    <a:pt x="431" y="0"/>
                    <a:pt x="420" y="0"/>
                  </a:cubicBezTo>
                  <a:cubicBezTo>
                    <a:pt x="410" y="0"/>
                    <a:pt x="400" y="2"/>
                    <a:pt x="390" y="5"/>
                  </a:cubicBezTo>
                  <a:lnTo>
                    <a:pt x="70" y="109"/>
                  </a:lnTo>
                  <a:cubicBezTo>
                    <a:pt x="28" y="122"/>
                    <a:pt x="0" y="161"/>
                    <a:pt x="0" y="204"/>
                  </a:cubicBezTo>
                  <a:lnTo>
                    <a:pt x="0" y="436"/>
                  </a:lnTo>
                  <a:cubicBezTo>
                    <a:pt x="0" y="651"/>
                    <a:pt x="108" y="851"/>
                    <a:pt x="287" y="971"/>
                  </a:cubicBezTo>
                  <a:lnTo>
                    <a:pt x="420" y="1059"/>
                  </a:lnTo>
                  <a:lnTo>
                    <a:pt x="555" y="971"/>
                  </a:lnTo>
                  <a:close/>
                </a:path>
              </a:pathLst>
            </a:custGeom>
            <a:solidFill>
              <a:srgbClr val="A136A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solidFill>
                  <a:srgbClr val="FEC232"/>
                </a:solidFill>
                <a:latin typeface="Montserrat Black" panose="00000A00000000000000" pitchFamily="50" charset="0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7754AB50-F04D-472C-A563-19E10B86FB4A}"/>
              </a:ext>
            </a:extLst>
          </p:cNvPr>
          <p:cNvSpPr/>
          <p:nvPr/>
        </p:nvSpPr>
        <p:spPr>
          <a:xfrm>
            <a:off x="311913" y="1475590"/>
            <a:ext cx="5629161" cy="33616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0"/>
              </a:spcAft>
              <a:buBlip>
                <a:blip r:embed="rId6"/>
              </a:buBlip>
            </a:pPr>
            <a:r>
              <a:rPr lang="en-GB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emote management </a:t>
            </a: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Blip>
                <a:blip r:embed="rId6"/>
              </a:buBlip>
            </a:pPr>
            <a:r>
              <a:rPr lang="en-GB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ncreased visibility of our Health and Safety Status for all</a:t>
            </a: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Blip>
                <a:blip r:embed="rId6"/>
              </a:buBlip>
            </a:pPr>
            <a:r>
              <a:rPr lang="en-GB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elped change internal culture in respect to H&amp;S and drive transparency	</a:t>
            </a: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Blip>
                <a:blip r:embed="rId6"/>
              </a:buBlip>
            </a:pPr>
            <a:r>
              <a:rPr lang="en-GB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 understand my H&amp;S performance every day across all of my sites within minutes</a:t>
            </a: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Blip>
                <a:blip r:embed="rId6"/>
              </a:buBlip>
            </a:pPr>
            <a:r>
              <a:rPr lang="en-GB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e confident our workforce and customers are safe</a:t>
            </a:r>
          </a:p>
        </p:txBody>
      </p:sp>
      <p:sp>
        <p:nvSpPr>
          <p:cNvPr id="2" name="Rectangle 1"/>
          <p:cNvSpPr/>
          <p:nvPr/>
        </p:nvSpPr>
        <p:spPr>
          <a:xfrm>
            <a:off x="6277407" y="1475590"/>
            <a:ext cx="5630400" cy="46081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Blip>
                <a:blip r:embed="rId6"/>
              </a:buBlip>
            </a:pPr>
            <a:r>
              <a:rPr lang="en-GB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ur employees now follow step by step processes on site to ensure usability</a:t>
            </a:r>
          </a:p>
          <a:p>
            <a:pPr marL="285750" indent="-285750">
              <a:lnSpc>
                <a:spcPct val="150000"/>
              </a:lnSpc>
              <a:buBlip>
                <a:blip r:embed="rId6"/>
              </a:buBlip>
            </a:pPr>
            <a:r>
              <a:rPr lang="en-GB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l employees know what they can and cant do based on their skillsets and the system knows too!</a:t>
            </a:r>
          </a:p>
          <a:p>
            <a:pPr marL="285750" indent="-285750">
              <a:lnSpc>
                <a:spcPct val="150000"/>
              </a:lnSpc>
              <a:buBlip>
                <a:blip r:embed="rId6"/>
              </a:buBlip>
            </a:pPr>
            <a:r>
              <a:rPr lang="en-GB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anage sub-contractors in the same way in the same app</a:t>
            </a:r>
          </a:p>
          <a:p>
            <a:pPr marL="285750" indent="-285750">
              <a:lnSpc>
                <a:spcPct val="150000"/>
              </a:lnSpc>
              <a:buBlip>
                <a:blip r:embed="rId6"/>
              </a:buBlip>
            </a:pPr>
            <a:r>
              <a:rPr lang="en-GB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rectors and HSE managers know that all HSE procedures are being followed and are automatically notified by the system if they’re not.</a:t>
            </a:r>
          </a:p>
          <a:p>
            <a:pPr marL="285750" indent="-285750">
              <a:lnSpc>
                <a:spcPct val="150000"/>
              </a:lnSpc>
              <a:buBlip>
                <a:blip r:embed="rId6"/>
              </a:buBlip>
            </a:pPr>
            <a:r>
              <a:rPr lang="en-GB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veryone is safe, secure and importantly more efficient too</a:t>
            </a:r>
          </a:p>
        </p:txBody>
      </p:sp>
      <p:pic>
        <p:nvPicPr>
          <p:cNvPr id="23" name="Image 2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9" t="32727" r="10153"/>
          <a:stretch/>
        </p:blipFill>
        <p:spPr>
          <a:xfrm>
            <a:off x="334963" y="6017538"/>
            <a:ext cx="999049" cy="5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15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60"/>
    </mc:Choice>
    <mc:Fallback xmlns="">
      <p:transition spd="slow" advTm="146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 1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075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9" name="Diapositive think-cell" r:id="rId5" imgW="592" imgH="595" progId="TCLayout.ActiveDocument.1">
                  <p:embed/>
                </p:oleObj>
              </mc:Choice>
              <mc:Fallback>
                <p:oleObj name="Diapositive think-cell" r:id="rId5" imgW="592" imgH="595" progId="TCLayout.ActiveDocument.1">
                  <p:embed/>
                  <p:pic>
                    <p:nvPicPr>
                      <p:cNvPr id="12" name="Obje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37" r="6137"/>
          <a:stretch/>
        </p:blipFill>
        <p:spPr>
          <a:xfrm>
            <a:off x="0" y="-1"/>
            <a:ext cx="12192000" cy="6858002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 rot="10800000">
            <a:off x="0" y="6095"/>
            <a:ext cx="12192000" cy="6858001"/>
          </a:xfrm>
          <a:prstGeom prst="rect">
            <a:avLst/>
          </a:prstGeom>
          <a:solidFill>
            <a:schemeClr val="accent2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2956240" y="206624"/>
            <a:ext cx="62795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A136A0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Compliance Genie</a:t>
            </a:r>
            <a:r>
              <a:rPr lang="en-US" sz="2800" dirty="0">
                <a:solidFill>
                  <a:srgbClr val="A136A0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™</a:t>
            </a:r>
            <a:r>
              <a:rPr lang="en-US" sz="2800" b="1" dirty="0">
                <a:solidFill>
                  <a:srgbClr val="A136A0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 Benefits</a:t>
            </a:r>
          </a:p>
        </p:txBody>
      </p:sp>
      <p:sp>
        <p:nvSpPr>
          <p:cNvPr id="17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chemeClr val="bg1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chemeClr val="bg1"/>
                </a:solidFill>
                <a:latin typeface="Lato Medium"/>
                <a:ea typeface="Lato Medium"/>
                <a:cs typeface="Lato Medium"/>
              </a:rPr>
              <a:t>be-safetech</a:t>
            </a:r>
            <a:r>
              <a:rPr lang="en-US" dirty="0">
                <a:solidFill>
                  <a:schemeClr val="bg1"/>
                </a:solidFill>
                <a:latin typeface="Lato Light"/>
                <a:ea typeface="Lato Light"/>
                <a:cs typeface="Lato Light"/>
              </a:rPr>
              <a:t>.c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| </a:t>
            </a:r>
            <a:fld id="{DABD2AA5-CABB-4467-8A69-C511B00C377E}" type="slidenum">
              <a:rPr lang="en-US" b="1" dirty="0" smtClean="0">
                <a:solidFill>
                  <a:schemeClr val="bg1"/>
                </a:solidFill>
                <a:latin typeface="Montserrat"/>
              </a:rPr>
              <a:pPr algn="l" rtl="1"/>
              <a:t>25</a:t>
            </a:fld>
            <a:endParaRPr lang="en-US" b="1" dirty="0">
              <a:solidFill>
                <a:schemeClr val="bg1"/>
              </a:solidFill>
              <a:latin typeface="Montserrat"/>
            </a:endParaRP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982373"/>
            <a:ext cx="1174243" cy="542252"/>
          </a:xfrm>
          <a:prstGeom prst="rect">
            <a:avLst/>
          </a:prstGeom>
        </p:spPr>
      </p:pic>
      <p:sp>
        <p:nvSpPr>
          <p:cNvPr id="148" name="Rectangle 147"/>
          <p:cNvSpPr/>
          <p:nvPr/>
        </p:nvSpPr>
        <p:spPr>
          <a:xfrm>
            <a:off x="334963" y="2319433"/>
            <a:ext cx="23711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Enable your management to be in multiple places at the same time  – without leaving their desk!</a:t>
            </a:r>
          </a:p>
        </p:txBody>
      </p:sp>
      <p:sp>
        <p:nvSpPr>
          <p:cNvPr id="149" name="Rectangle 148"/>
          <p:cNvSpPr/>
          <p:nvPr/>
        </p:nvSpPr>
        <p:spPr>
          <a:xfrm>
            <a:off x="334963" y="4117482"/>
            <a:ext cx="23711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Live Dashboards to manage more easily</a:t>
            </a:r>
          </a:p>
        </p:txBody>
      </p:sp>
      <p:sp>
        <p:nvSpPr>
          <p:cNvPr id="150" name="Rectangle 149"/>
          <p:cNvSpPr/>
          <p:nvPr/>
        </p:nvSpPr>
        <p:spPr>
          <a:xfrm>
            <a:off x="3409071" y="2319433"/>
            <a:ext cx="23711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Modular Solution Covering all key aspects of H&amp;S </a:t>
            </a:r>
          </a:p>
        </p:txBody>
      </p:sp>
      <p:sp>
        <p:nvSpPr>
          <p:cNvPr id="151" name="Rectangle 150"/>
          <p:cNvSpPr/>
          <p:nvPr/>
        </p:nvSpPr>
        <p:spPr>
          <a:xfrm>
            <a:off x="6483179" y="2319433"/>
            <a:ext cx="237118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Capture incidents, monitor trends and assign individuals </a:t>
            </a:r>
          </a:p>
        </p:txBody>
      </p:sp>
      <p:sp>
        <p:nvSpPr>
          <p:cNvPr id="152" name="Rectangle 151"/>
          <p:cNvSpPr/>
          <p:nvPr/>
        </p:nvSpPr>
        <p:spPr>
          <a:xfrm>
            <a:off x="9557287" y="2319433"/>
            <a:ext cx="23711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Ensure robust corrective actions are implemented</a:t>
            </a:r>
          </a:p>
        </p:txBody>
      </p:sp>
      <p:sp>
        <p:nvSpPr>
          <p:cNvPr id="153" name="Rectangle 152"/>
          <p:cNvSpPr/>
          <p:nvPr/>
        </p:nvSpPr>
        <p:spPr>
          <a:xfrm>
            <a:off x="3409071" y="4117482"/>
            <a:ext cx="23711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Virtual HAVS data fully integrated</a:t>
            </a:r>
          </a:p>
        </p:txBody>
      </p:sp>
      <p:sp>
        <p:nvSpPr>
          <p:cNvPr id="154" name="Rectangle 153"/>
          <p:cNvSpPr/>
          <p:nvPr/>
        </p:nvSpPr>
        <p:spPr>
          <a:xfrm>
            <a:off x="6483179" y="4117482"/>
            <a:ext cx="23711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Saves Money and Time</a:t>
            </a:r>
          </a:p>
        </p:txBody>
      </p:sp>
      <p:sp>
        <p:nvSpPr>
          <p:cNvPr id="156" name="Rectangle 155"/>
          <p:cNvSpPr/>
          <p:nvPr/>
        </p:nvSpPr>
        <p:spPr>
          <a:xfrm>
            <a:off x="4910406" y="5915531"/>
            <a:ext cx="23711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 err="1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ll-In-ONE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App</a:t>
            </a:r>
          </a:p>
        </p:txBody>
      </p:sp>
      <p:sp>
        <p:nvSpPr>
          <p:cNvPr id="157" name="Rectangle 156"/>
          <p:cNvSpPr/>
          <p:nvPr/>
        </p:nvSpPr>
        <p:spPr>
          <a:xfrm>
            <a:off x="9521687" y="4117481"/>
            <a:ext cx="23711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void litigation accidents and fines</a:t>
            </a:r>
          </a:p>
        </p:txBody>
      </p:sp>
      <p:sp>
        <p:nvSpPr>
          <p:cNvPr id="3" name="Rectangle 2"/>
          <p:cNvSpPr/>
          <p:nvPr/>
        </p:nvSpPr>
        <p:spPr>
          <a:xfrm>
            <a:off x="1655763" y="813260"/>
            <a:ext cx="88804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A136A0"/>
                </a:solidFill>
                <a:latin typeface="Montserrat Medium" panose="000006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STREAMLINE THE MANAGEMENT OF YOUR REMOTE WORKFORCE</a:t>
            </a:r>
          </a:p>
        </p:txBody>
      </p:sp>
      <p:grpSp>
        <p:nvGrpSpPr>
          <p:cNvPr id="44" name="Group 65"/>
          <p:cNvGrpSpPr>
            <a:grpSpLocks noChangeAspect="1"/>
          </p:cNvGrpSpPr>
          <p:nvPr/>
        </p:nvGrpSpPr>
        <p:grpSpPr bwMode="auto">
          <a:xfrm>
            <a:off x="1199358" y="1748252"/>
            <a:ext cx="506512" cy="540000"/>
            <a:chOff x="5636" y="61"/>
            <a:chExt cx="363" cy="387"/>
          </a:xfrm>
          <a:solidFill>
            <a:schemeClr val="bg1"/>
          </a:solidFill>
        </p:grpSpPr>
        <p:sp>
          <p:nvSpPr>
            <p:cNvPr id="45" name="Freeform 66"/>
            <p:cNvSpPr>
              <a:spLocks noEditPoints="1"/>
            </p:cNvSpPr>
            <p:nvPr/>
          </p:nvSpPr>
          <p:spPr bwMode="auto">
            <a:xfrm>
              <a:off x="5636" y="61"/>
              <a:ext cx="363" cy="387"/>
            </a:xfrm>
            <a:custGeom>
              <a:avLst/>
              <a:gdLst>
                <a:gd name="T0" fmla="*/ 6009 w 6017"/>
                <a:gd name="T1" fmla="*/ 1596 h 6400"/>
                <a:gd name="T2" fmla="*/ 5308 w 6017"/>
                <a:gd name="T3" fmla="*/ 844 h 6400"/>
                <a:gd name="T4" fmla="*/ 4845 w 6017"/>
                <a:gd name="T5" fmla="*/ 1010 h 6400"/>
                <a:gd name="T6" fmla="*/ 1753 w 6017"/>
                <a:gd name="T7" fmla="*/ 658 h 6400"/>
                <a:gd name="T8" fmla="*/ 1054 w 6017"/>
                <a:gd name="T9" fmla="*/ 0 h 6400"/>
                <a:gd name="T10" fmla="*/ 548 w 6017"/>
                <a:gd name="T11" fmla="*/ 205 h 6400"/>
                <a:gd name="T12" fmla="*/ 645 w 6017"/>
                <a:gd name="T13" fmla="*/ 1530 h 6400"/>
                <a:gd name="T14" fmla="*/ 253 w 6017"/>
                <a:gd name="T15" fmla="*/ 2435 h 6400"/>
                <a:gd name="T16" fmla="*/ 374 w 6017"/>
                <a:gd name="T17" fmla="*/ 2381 h 6400"/>
                <a:gd name="T18" fmla="*/ 758 w 6017"/>
                <a:gd name="T19" fmla="*/ 1752 h 6400"/>
                <a:gd name="T20" fmla="*/ 887 w 6017"/>
                <a:gd name="T21" fmla="*/ 2419 h 6400"/>
                <a:gd name="T22" fmla="*/ 1135 w 6017"/>
                <a:gd name="T23" fmla="*/ 2404 h 6400"/>
                <a:gd name="T24" fmla="*/ 1789 w 6017"/>
                <a:gd name="T25" fmla="*/ 2071 h 6400"/>
                <a:gd name="T26" fmla="*/ 2664 w 6017"/>
                <a:gd name="T27" fmla="*/ 1888 h 6400"/>
                <a:gd name="T28" fmla="*/ 3108 w 6017"/>
                <a:gd name="T29" fmla="*/ 934 h 6400"/>
                <a:gd name="T30" fmla="*/ 2867 w 6017"/>
                <a:gd name="T31" fmla="*/ 575 h 6400"/>
                <a:gd name="T32" fmla="*/ 4718 w 6017"/>
                <a:gd name="T33" fmla="*/ 1148 h 6400"/>
                <a:gd name="T34" fmla="*/ 4656 w 6017"/>
                <a:gd name="T35" fmla="*/ 1926 h 6400"/>
                <a:gd name="T36" fmla="*/ 4925 w 6017"/>
                <a:gd name="T37" fmla="*/ 2929 h 6400"/>
                <a:gd name="T38" fmla="*/ 5815 w 6017"/>
                <a:gd name="T39" fmla="*/ 3184 h 6400"/>
                <a:gd name="T40" fmla="*/ 5829 w 6017"/>
                <a:gd name="T41" fmla="*/ 3392 h 6400"/>
                <a:gd name="T42" fmla="*/ 187 w 6017"/>
                <a:gd name="T43" fmla="*/ 3392 h 6400"/>
                <a:gd name="T44" fmla="*/ 192 w 6017"/>
                <a:gd name="T45" fmla="*/ 2633 h 6400"/>
                <a:gd name="T46" fmla="*/ 0 w 6017"/>
                <a:gd name="T47" fmla="*/ 3392 h 6400"/>
                <a:gd name="T48" fmla="*/ 3008 w 6017"/>
                <a:gd name="T49" fmla="*/ 6400 h 6400"/>
                <a:gd name="T50" fmla="*/ 6016 w 6017"/>
                <a:gd name="T51" fmla="*/ 3392 h 6400"/>
                <a:gd name="T52" fmla="*/ 679 w 6017"/>
                <a:gd name="T53" fmla="*/ 338 h 6400"/>
                <a:gd name="T54" fmla="*/ 1052 w 6017"/>
                <a:gd name="T55" fmla="*/ 187 h 6400"/>
                <a:gd name="T56" fmla="*/ 1568 w 6017"/>
                <a:gd name="T57" fmla="*/ 744 h 6400"/>
                <a:gd name="T58" fmla="*/ 1021 w 6017"/>
                <a:gd name="T59" fmla="*/ 1678 h 6400"/>
                <a:gd name="T60" fmla="*/ 679 w 6017"/>
                <a:gd name="T61" fmla="*/ 338 h 6400"/>
                <a:gd name="T62" fmla="*/ 2967 w 6017"/>
                <a:gd name="T63" fmla="*/ 1057 h 6400"/>
                <a:gd name="T64" fmla="*/ 2532 w 6017"/>
                <a:gd name="T65" fmla="*/ 1755 h 6400"/>
                <a:gd name="T66" fmla="*/ 1789 w 6017"/>
                <a:gd name="T67" fmla="*/ 1884 h 6400"/>
                <a:gd name="T68" fmla="*/ 1028 w 6017"/>
                <a:gd name="T69" fmla="*/ 2250 h 6400"/>
                <a:gd name="T70" fmla="*/ 945 w 6017"/>
                <a:gd name="T71" fmla="*/ 2207 h 6400"/>
                <a:gd name="T72" fmla="*/ 1047 w 6017"/>
                <a:gd name="T73" fmla="*/ 1876 h 6400"/>
                <a:gd name="T74" fmla="*/ 1744 w 6017"/>
                <a:gd name="T75" fmla="*/ 870 h 6400"/>
                <a:gd name="T76" fmla="*/ 2759 w 6017"/>
                <a:gd name="T77" fmla="*/ 819 h 6400"/>
                <a:gd name="T78" fmla="*/ 5306 w 6017"/>
                <a:gd name="T79" fmla="*/ 1032 h 6400"/>
                <a:gd name="T80" fmla="*/ 5822 w 6017"/>
                <a:gd name="T81" fmla="*/ 1588 h 6400"/>
                <a:gd name="T82" fmla="*/ 5275 w 6017"/>
                <a:gd name="T83" fmla="*/ 2523 h 6400"/>
                <a:gd name="T84" fmla="*/ 4933 w 6017"/>
                <a:gd name="T85" fmla="*/ 1183 h 6400"/>
                <a:gd name="T86" fmla="*/ 5711 w 6017"/>
                <a:gd name="T87" fmla="*/ 3028 h 6400"/>
                <a:gd name="T88" fmla="*/ 5096 w 6017"/>
                <a:gd name="T89" fmla="*/ 2852 h 6400"/>
                <a:gd name="T90" fmla="*/ 4873 w 6017"/>
                <a:gd name="T91" fmla="*/ 2338 h 6400"/>
                <a:gd name="T92" fmla="*/ 5300 w 6017"/>
                <a:gd name="T93" fmla="*/ 2720 h 6400"/>
                <a:gd name="T94" fmla="*/ 5660 w 6017"/>
                <a:gd name="T95" fmla="*/ 2428 h 6400"/>
                <a:gd name="T96" fmla="*/ 5711 w 6017"/>
                <a:gd name="T97" fmla="*/ 3028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017" h="6400">
                  <a:moveTo>
                    <a:pt x="5789" y="2244"/>
                  </a:moveTo>
                  <a:cubicBezTo>
                    <a:pt x="5905" y="2059"/>
                    <a:pt x="5999" y="1836"/>
                    <a:pt x="6009" y="1596"/>
                  </a:cubicBezTo>
                  <a:cubicBezTo>
                    <a:pt x="6017" y="1400"/>
                    <a:pt x="5945" y="1206"/>
                    <a:pt x="5810" y="1065"/>
                  </a:cubicBezTo>
                  <a:cubicBezTo>
                    <a:pt x="5677" y="925"/>
                    <a:pt x="5499" y="847"/>
                    <a:pt x="5308" y="844"/>
                  </a:cubicBezTo>
                  <a:cubicBezTo>
                    <a:pt x="5305" y="844"/>
                    <a:pt x="5303" y="844"/>
                    <a:pt x="5300" y="844"/>
                  </a:cubicBezTo>
                  <a:cubicBezTo>
                    <a:pt x="5132" y="844"/>
                    <a:pt x="4973" y="903"/>
                    <a:pt x="4845" y="1010"/>
                  </a:cubicBezTo>
                  <a:cubicBezTo>
                    <a:pt x="4321" y="606"/>
                    <a:pt x="3672" y="384"/>
                    <a:pt x="3008" y="384"/>
                  </a:cubicBezTo>
                  <a:cubicBezTo>
                    <a:pt x="2575" y="384"/>
                    <a:pt x="2144" y="478"/>
                    <a:pt x="1753" y="658"/>
                  </a:cubicBezTo>
                  <a:cubicBezTo>
                    <a:pt x="1739" y="495"/>
                    <a:pt x="1670" y="339"/>
                    <a:pt x="1557" y="220"/>
                  </a:cubicBezTo>
                  <a:cubicBezTo>
                    <a:pt x="1424" y="80"/>
                    <a:pt x="1246" y="2"/>
                    <a:pt x="1054" y="0"/>
                  </a:cubicBezTo>
                  <a:cubicBezTo>
                    <a:pt x="1052" y="0"/>
                    <a:pt x="1049" y="0"/>
                    <a:pt x="1047" y="0"/>
                  </a:cubicBezTo>
                  <a:cubicBezTo>
                    <a:pt x="858" y="0"/>
                    <a:pt x="681" y="73"/>
                    <a:pt x="548" y="205"/>
                  </a:cubicBezTo>
                  <a:cubicBezTo>
                    <a:pt x="412" y="339"/>
                    <a:pt x="337" y="519"/>
                    <a:pt x="337" y="710"/>
                  </a:cubicBezTo>
                  <a:cubicBezTo>
                    <a:pt x="337" y="1025"/>
                    <a:pt x="485" y="1312"/>
                    <a:pt x="645" y="1530"/>
                  </a:cubicBezTo>
                  <a:cubicBezTo>
                    <a:pt x="457" y="1768"/>
                    <a:pt x="307" y="2032"/>
                    <a:pt x="199" y="2314"/>
                  </a:cubicBezTo>
                  <a:cubicBezTo>
                    <a:pt x="180" y="2362"/>
                    <a:pt x="204" y="2416"/>
                    <a:pt x="253" y="2435"/>
                  </a:cubicBezTo>
                  <a:cubicBezTo>
                    <a:pt x="264" y="2439"/>
                    <a:pt x="275" y="2441"/>
                    <a:pt x="286" y="2441"/>
                  </a:cubicBezTo>
                  <a:cubicBezTo>
                    <a:pt x="324" y="2441"/>
                    <a:pt x="359" y="2418"/>
                    <a:pt x="374" y="2381"/>
                  </a:cubicBezTo>
                  <a:cubicBezTo>
                    <a:pt x="469" y="2132"/>
                    <a:pt x="600" y="1898"/>
                    <a:pt x="762" y="1685"/>
                  </a:cubicBezTo>
                  <a:cubicBezTo>
                    <a:pt x="759" y="1708"/>
                    <a:pt x="758" y="1730"/>
                    <a:pt x="758" y="1752"/>
                  </a:cubicBezTo>
                  <a:lnTo>
                    <a:pt x="758" y="2207"/>
                  </a:lnTo>
                  <a:cubicBezTo>
                    <a:pt x="758" y="2296"/>
                    <a:pt x="807" y="2378"/>
                    <a:pt x="887" y="2419"/>
                  </a:cubicBezTo>
                  <a:cubicBezTo>
                    <a:pt x="922" y="2438"/>
                    <a:pt x="960" y="2447"/>
                    <a:pt x="998" y="2447"/>
                  </a:cubicBezTo>
                  <a:cubicBezTo>
                    <a:pt x="1046" y="2447"/>
                    <a:pt x="1094" y="2432"/>
                    <a:pt x="1135" y="2404"/>
                  </a:cubicBezTo>
                  <a:lnTo>
                    <a:pt x="1470" y="2171"/>
                  </a:lnTo>
                  <a:cubicBezTo>
                    <a:pt x="1564" y="2106"/>
                    <a:pt x="1674" y="2071"/>
                    <a:pt x="1789" y="2071"/>
                  </a:cubicBezTo>
                  <a:lnTo>
                    <a:pt x="2221" y="2071"/>
                  </a:lnTo>
                  <a:cubicBezTo>
                    <a:pt x="2388" y="2071"/>
                    <a:pt x="2546" y="2006"/>
                    <a:pt x="2664" y="1888"/>
                  </a:cubicBezTo>
                  <a:lnTo>
                    <a:pt x="3090" y="1461"/>
                  </a:lnTo>
                  <a:cubicBezTo>
                    <a:pt x="3233" y="1318"/>
                    <a:pt x="3241" y="1086"/>
                    <a:pt x="3108" y="934"/>
                  </a:cubicBezTo>
                  <a:lnTo>
                    <a:pt x="2901" y="696"/>
                  </a:lnTo>
                  <a:cubicBezTo>
                    <a:pt x="2871" y="662"/>
                    <a:pt x="2860" y="618"/>
                    <a:pt x="2867" y="575"/>
                  </a:cubicBezTo>
                  <a:cubicBezTo>
                    <a:pt x="2914" y="573"/>
                    <a:pt x="2961" y="571"/>
                    <a:pt x="3008" y="571"/>
                  </a:cubicBezTo>
                  <a:cubicBezTo>
                    <a:pt x="3625" y="571"/>
                    <a:pt x="4229" y="776"/>
                    <a:pt x="4718" y="1148"/>
                  </a:cubicBezTo>
                  <a:cubicBezTo>
                    <a:pt x="4635" y="1266"/>
                    <a:pt x="4590" y="1407"/>
                    <a:pt x="4590" y="1554"/>
                  </a:cubicBezTo>
                  <a:cubicBezTo>
                    <a:pt x="4590" y="1684"/>
                    <a:pt x="4616" y="1809"/>
                    <a:pt x="4656" y="1926"/>
                  </a:cubicBezTo>
                  <a:cubicBezTo>
                    <a:pt x="4629" y="2129"/>
                    <a:pt x="4658" y="2336"/>
                    <a:pt x="4743" y="2524"/>
                  </a:cubicBezTo>
                  <a:lnTo>
                    <a:pt x="4925" y="2929"/>
                  </a:lnTo>
                  <a:cubicBezTo>
                    <a:pt x="5022" y="3146"/>
                    <a:pt x="5239" y="3287"/>
                    <a:pt x="5477" y="3287"/>
                  </a:cubicBezTo>
                  <a:cubicBezTo>
                    <a:pt x="5598" y="3287"/>
                    <a:pt x="5715" y="3251"/>
                    <a:pt x="5815" y="3184"/>
                  </a:cubicBezTo>
                  <a:lnTo>
                    <a:pt x="5821" y="3180"/>
                  </a:lnTo>
                  <a:cubicBezTo>
                    <a:pt x="5826" y="3250"/>
                    <a:pt x="5829" y="3321"/>
                    <a:pt x="5829" y="3392"/>
                  </a:cubicBezTo>
                  <a:cubicBezTo>
                    <a:pt x="5829" y="4947"/>
                    <a:pt x="4563" y="6213"/>
                    <a:pt x="3008" y="6213"/>
                  </a:cubicBezTo>
                  <a:cubicBezTo>
                    <a:pt x="1453" y="6213"/>
                    <a:pt x="187" y="4947"/>
                    <a:pt x="187" y="3392"/>
                  </a:cubicBezTo>
                  <a:cubicBezTo>
                    <a:pt x="187" y="3174"/>
                    <a:pt x="212" y="2956"/>
                    <a:pt x="262" y="2746"/>
                  </a:cubicBezTo>
                  <a:cubicBezTo>
                    <a:pt x="273" y="2695"/>
                    <a:pt x="242" y="2645"/>
                    <a:pt x="192" y="2633"/>
                  </a:cubicBezTo>
                  <a:cubicBezTo>
                    <a:pt x="141" y="2621"/>
                    <a:pt x="91" y="2653"/>
                    <a:pt x="79" y="2703"/>
                  </a:cubicBezTo>
                  <a:cubicBezTo>
                    <a:pt x="27" y="2927"/>
                    <a:pt x="0" y="3159"/>
                    <a:pt x="0" y="3392"/>
                  </a:cubicBezTo>
                  <a:cubicBezTo>
                    <a:pt x="0" y="4195"/>
                    <a:pt x="313" y="4951"/>
                    <a:pt x="881" y="5519"/>
                  </a:cubicBezTo>
                  <a:cubicBezTo>
                    <a:pt x="1449" y="6087"/>
                    <a:pt x="2205" y="6400"/>
                    <a:pt x="3008" y="6400"/>
                  </a:cubicBezTo>
                  <a:cubicBezTo>
                    <a:pt x="3811" y="6400"/>
                    <a:pt x="4567" y="6087"/>
                    <a:pt x="5135" y="5519"/>
                  </a:cubicBezTo>
                  <a:cubicBezTo>
                    <a:pt x="5703" y="4951"/>
                    <a:pt x="6016" y="4195"/>
                    <a:pt x="6016" y="3392"/>
                  </a:cubicBezTo>
                  <a:cubicBezTo>
                    <a:pt x="6016" y="2994"/>
                    <a:pt x="5940" y="2608"/>
                    <a:pt x="5789" y="2244"/>
                  </a:cubicBezTo>
                  <a:close/>
                  <a:moveTo>
                    <a:pt x="679" y="338"/>
                  </a:moveTo>
                  <a:cubicBezTo>
                    <a:pt x="778" y="241"/>
                    <a:pt x="908" y="187"/>
                    <a:pt x="1047" y="187"/>
                  </a:cubicBezTo>
                  <a:cubicBezTo>
                    <a:pt x="1049" y="187"/>
                    <a:pt x="1050" y="187"/>
                    <a:pt x="1052" y="187"/>
                  </a:cubicBezTo>
                  <a:cubicBezTo>
                    <a:pt x="1192" y="189"/>
                    <a:pt x="1323" y="246"/>
                    <a:pt x="1421" y="349"/>
                  </a:cubicBezTo>
                  <a:cubicBezTo>
                    <a:pt x="1521" y="454"/>
                    <a:pt x="1574" y="598"/>
                    <a:pt x="1568" y="744"/>
                  </a:cubicBezTo>
                  <a:cubicBezTo>
                    <a:pt x="1551" y="1161"/>
                    <a:pt x="1216" y="1536"/>
                    <a:pt x="1072" y="1678"/>
                  </a:cubicBezTo>
                  <a:cubicBezTo>
                    <a:pt x="1058" y="1692"/>
                    <a:pt x="1035" y="1692"/>
                    <a:pt x="1021" y="1678"/>
                  </a:cubicBezTo>
                  <a:cubicBezTo>
                    <a:pt x="872" y="1530"/>
                    <a:pt x="524" y="1140"/>
                    <a:pt x="524" y="710"/>
                  </a:cubicBezTo>
                  <a:cubicBezTo>
                    <a:pt x="524" y="569"/>
                    <a:pt x="579" y="437"/>
                    <a:pt x="679" y="338"/>
                  </a:cubicBezTo>
                  <a:close/>
                  <a:moveTo>
                    <a:pt x="2759" y="819"/>
                  </a:moveTo>
                  <a:lnTo>
                    <a:pt x="2967" y="1057"/>
                  </a:lnTo>
                  <a:cubicBezTo>
                    <a:pt x="3036" y="1136"/>
                    <a:pt x="3032" y="1255"/>
                    <a:pt x="2958" y="1329"/>
                  </a:cubicBezTo>
                  <a:lnTo>
                    <a:pt x="2532" y="1755"/>
                  </a:lnTo>
                  <a:cubicBezTo>
                    <a:pt x="2448" y="1838"/>
                    <a:pt x="2338" y="1884"/>
                    <a:pt x="2221" y="1884"/>
                  </a:cubicBezTo>
                  <a:lnTo>
                    <a:pt x="1789" y="1884"/>
                  </a:lnTo>
                  <a:cubicBezTo>
                    <a:pt x="1636" y="1884"/>
                    <a:pt x="1489" y="1930"/>
                    <a:pt x="1364" y="2017"/>
                  </a:cubicBezTo>
                  <a:lnTo>
                    <a:pt x="1028" y="2250"/>
                  </a:lnTo>
                  <a:cubicBezTo>
                    <a:pt x="1004" y="2266"/>
                    <a:pt x="982" y="2258"/>
                    <a:pt x="974" y="2253"/>
                  </a:cubicBezTo>
                  <a:cubicBezTo>
                    <a:pt x="965" y="2249"/>
                    <a:pt x="945" y="2236"/>
                    <a:pt x="945" y="2207"/>
                  </a:cubicBezTo>
                  <a:lnTo>
                    <a:pt x="945" y="1852"/>
                  </a:lnTo>
                  <a:cubicBezTo>
                    <a:pt x="977" y="1868"/>
                    <a:pt x="1012" y="1876"/>
                    <a:pt x="1047" y="1876"/>
                  </a:cubicBezTo>
                  <a:cubicBezTo>
                    <a:pt x="1104" y="1876"/>
                    <a:pt x="1161" y="1854"/>
                    <a:pt x="1204" y="1811"/>
                  </a:cubicBezTo>
                  <a:cubicBezTo>
                    <a:pt x="1385" y="1632"/>
                    <a:pt x="1679" y="1284"/>
                    <a:pt x="1744" y="870"/>
                  </a:cubicBezTo>
                  <a:cubicBezTo>
                    <a:pt x="2035" y="724"/>
                    <a:pt x="2352" y="629"/>
                    <a:pt x="2678" y="591"/>
                  </a:cubicBezTo>
                  <a:cubicBezTo>
                    <a:pt x="2676" y="673"/>
                    <a:pt x="2704" y="755"/>
                    <a:pt x="2759" y="819"/>
                  </a:cubicBezTo>
                  <a:close/>
                  <a:moveTo>
                    <a:pt x="5300" y="1032"/>
                  </a:moveTo>
                  <a:cubicBezTo>
                    <a:pt x="5302" y="1032"/>
                    <a:pt x="5304" y="1032"/>
                    <a:pt x="5306" y="1032"/>
                  </a:cubicBezTo>
                  <a:cubicBezTo>
                    <a:pt x="5446" y="1033"/>
                    <a:pt x="5577" y="1091"/>
                    <a:pt x="5674" y="1194"/>
                  </a:cubicBezTo>
                  <a:cubicBezTo>
                    <a:pt x="5774" y="1299"/>
                    <a:pt x="5828" y="1443"/>
                    <a:pt x="5822" y="1588"/>
                  </a:cubicBezTo>
                  <a:cubicBezTo>
                    <a:pt x="5804" y="2005"/>
                    <a:pt x="5469" y="2381"/>
                    <a:pt x="5326" y="2523"/>
                  </a:cubicBezTo>
                  <a:cubicBezTo>
                    <a:pt x="5312" y="2537"/>
                    <a:pt x="5289" y="2537"/>
                    <a:pt x="5275" y="2523"/>
                  </a:cubicBezTo>
                  <a:cubicBezTo>
                    <a:pt x="5125" y="2375"/>
                    <a:pt x="4778" y="1984"/>
                    <a:pt x="4778" y="1554"/>
                  </a:cubicBezTo>
                  <a:cubicBezTo>
                    <a:pt x="4778" y="1413"/>
                    <a:pt x="4833" y="1282"/>
                    <a:pt x="4933" y="1183"/>
                  </a:cubicBezTo>
                  <a:cubicBezTo>
                    <a:pt x="5031" y="1085"/>
                    <a:pt x="5161" y="1032"/>
                    <a:pt x="5300" y="1032"/>
                  </a:cubicBezTo>
                  <a:close/>
                  <a:moveTo>
                    <a:pt x="5711" y="3028"/>
                  </a:moveTo>
                  <a:cubicBezTo>
                    <a:pt x="5641" y="3075"/>
                    <a:pt x="5561" y="3099"/>
                    <a:pt x="5477" y="3099"/>
                  </a:cubicBezTo>
                  <a:cubicBezTo>
                    <a:pt x="5313" y="3099"/>
                    <a:pt x="5163" y="3003"/>
                    <a:pt x="5096" y="2852"/>
                  </a:cubicBezTo>
                  <a:lnTo>
                    <a:pt x="4913" y="2447"/>
                  </a:lnTo>
                  <a:cubicBezTo>
                    <a:pt x="4897" y="2411"/>
                    <a:pt x="4884" y="2375"/>
                    <a:pt x="4873" y="2338"/>
                  </a:cubicBezTo>
                  <a:cubicBezTo>
                    <a:pt x="4965" y="2469"/>
                    <a:pt x="5064" y="2578"/>
                    <a:pt x="5143" y="2656"/>
                  </a:cubicBezTo>
                  <a:cubicBezTo>
                    <a:pt x="5186" y="2699"/>
                    <a:pt x="5243" y="2720"/>
                    <a:pt x="5300" y="2720"/>
                  </a:cubicBezTo>
                  <a:cubicBezTo>
                    <a:pt x="5357" y="2720"/>
                    <a:pt x="5414" y="2699"/>
                    <a:pt x="5457" y="2656"/>
                  </a:cubicBezTo>
                  <a:cubicBezTo>
                    <a:pt x="5517" y="2597"/>
                    <a:pt x="5588" y="2520"/>
                    <a:pt x="5660" y="2428"/>
                  </a:cubicBezTo>
                  <a:cubicBezTo>
                    <a:pt x="5724" y="2604"/>
                    <a:pt x="5770" y="2785"/>
                    <a:pt x="5798" y="2970"/>
                  </a:cubicBezTo>
                  <a:lnTo>
                    <a:pt x="5711" y="302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67"/>
            <p:cNvSpPr>
              <a:spLocks noEditPoints="1"/>
            </p:cNvSpPr>
            <p:nvPr/>
          </p:nvSpPr>
          <p:spPr bwMode="auto">
            <a:xfrm>
              <a:off x="5932" y="132"/>
              <a:ext cx="48" cy="48"/>
            </a:xfrm>
            <a:custGeom>
              <a:avLst/>
              <a:gdLst>
                <a:gd name="T0" fmla="*/ 395 w 790"/>
                <a:gd name="T1" fmla="*/ 790 h 790"/>
                <a:gd name="T2" fmla="*/ 790 w 790"/>
                <a:gd name="T3" fmla="*/ 395 h 790"/>
                <a:gd name="T4" fmla="*/ 395 w 790"/>
                <a:gd name="T5" fmla="*/ 0 h 790"/>
                <a:gd name="T6" fmla="*/ 0 w 790"/>
                <a:gd name="T7" fmla="*/ 395 h 790"/>
                <a:gd name="T8" fmla="*/ 395 w 790"/>
                <a:gd name="T9" fmla="*/ 790 h 790"/>
                <a:gd name="T10" fmla="*/ 395 w 790"/>
                <a:gd name="T11" fmla="*/ 187 h 790"/>
                <a:gd name="T12" fmla="*/ 603 w 790"/>
                <a:gd name="T13" fmla="*/ 395 h 790"/>
                <a:gd name="T14" fmla="*/ 395 w 790"/>
                <a:gd name="T15" fmla="*/ 603 h 790"/>
                <a:gd name="T16" fmla="*/ 187 w 790"/>
                <a:gd name="T17" fmla="*/ 395 h 790"/>
                <a:gd name="T18" fmla="*/ 395 w 790"/>
                <a:gd name="T19" fmla="*/ 187 h 7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0" h="790">
                  <a:moveTo>
                    <a:pt x="395" y="790"/>
                  </a:moveTo>
                  <a:cubicBezTo>
                    <a:pt x="613" y="790"/>
                    <a:pt x="790" y="613"/>
                    <a:pt x="790" y="395"/>
                  </a:cubicBezTo>
                  <a:cubicBezTo>
                    <a:pt x="790" y="177"/>
                    <a:pt x="613" y="0"/>
                    <a:pt x="395" y="0"/>
                  </a:cubicBezTo>
                  <a:cubicBezTo>
                    <a:pt x="177" y="0"/>
                    <a:pt x="0" y="177"/>
                    <a:pt x="0" y="395"/>
                  </a:cubicBezTo>
                  <a:cubicBezTo>
                    <a:pt x="0" y="613"/>
                    <a:pt x="177" y="790"/>
                    <a:pt x="395" y="790"/>
                  </a:cubicBezTo>
                  <a:close/>
                  <a:moveTo>
                    <a:pt x="395" y="187"/>
                  </a:moveTo>
                  <a:cubicBezTo>
                    <a:pt x="510" y="187"/>
                    <a:pt x="603" y="281"/>
                    <a:pt x="603" y="395"/>
                  </a:cubicBezTo>
                  <a:cubicBezTo>
                    <a:pt x="603" y="510"/>
                    <a:pt x="510" y="603"/>
                    <a:pt x="395" y="603"/>
                  </a:cubicBezTo>
                  <a:cubicBezTo>
                    <a:pt x="280" y="603"/>
                    <a:pt x="187" y="510"/>
                    <a:pt x="187" y="395"/>
                  </a:cubicBezTo>
                  <a:cubicBezTo>
                    <a:pt x="187" y="281"/>
                    <a:pt x="280" y="187"/>
                    <a:pt x="395" y="18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68"/>
            <p:cNvSpPr>
              <a:spLocks noEditPoints="1"/>
            </p:cNvSpPr>
            <p:nvPr/>
          </p:nvSpPr>
          <p:spPr bwMode="auto">
            <a:xfrm>
              <a:off x="5736" y="171"/>
              <a:ext cx="178" cy="249"/>
            </a:xfrm>
            <a:custGeom>
              <a:avLst/>
              <a:gdLst>
                <a:gd name="T0" fmla="*/ 1706 w 2944"/>
                <a:gd name="T1" fmla="*/ 0 h 4113"/>
                <a:gd name="T2" fmla="*/ 1199 w 2944"/>
                <a:gd name="T3" fmla="*/ 205 h 4113"/>
                <a:gd name="T4" fmla="*/ 452 w 2944"/>
                <a:gd name="T5" fmla="*/ 836 h 4113"/>
                <a:gd name="T6" fmla="*/ 94 w 2944"/>
                <a:gd name="T7" fmla="*/ 1866 h 4113"/>
                <a:gd name="T8" fmla="*/ 488 w 2944"/>
                <a:gd name="T9" fmla="*/ 3154 h 4113"/>
                <a:gd name="T10" fmla="*/ 632 w 2944"/>
                <a:gd name="T11" fmla="*/ 4041 h 4113"/>
                <a:gd name="T12" fmla="*/ 1082 w 2944"/>
                <a:gd name="T13" fmla="*/ 4043 h 4113"/>
                <a:gd name="T14" fmla="*/ 2288 w 2944"/>
                <a:gd name="T15" fmla="*/ 3103 h 4113"/>
                <a:gd name="T16" fmla="*/ 2526 w 2944"/>
                <a:gd name="T17" fmla="*/ 2605 h 4113"/>
                <a:gd name="T18" fmla="*/ 2135 w 2944"/>
                <a:gd name="T19" fmla="*/ 2995 h 4113"/>
                <a:gd name="T20" fmla="*/ 975 w 2944"/>
                <a:gd name="T21" fmla="*/ 3890 h 4113"/>
                <a:gd name="T22" fmla="*/ 655 w 2944"/>
                <a:gd name="T23" fmla="*/ 3715 h 4113"/>
                <a:gd name="T24" fmla="*/ 743 w 2944"/>
                <a:gd name="T25" fmla="*/ 3321 h 4113"/>
                <a:gd name="T26" fmla="*/ 1451 w 2944"/>
                <a:gd name="T27" fmla="*/ 2196 h 4113"/>
                <a:gd name="T28" fmla="*/ 750 w 2944"/>
                <a:gd name="T29" fmla="*/ 1445 h 4113"/>
                <a:gd name="T30" fmla="*/ 225 w 2944"/>
                <a:gd name="T31" fmla="*/ 1669 h 4113"/>
                <a:gd name="T32" fmla="*/ 605 w 2944"/>
                <a:gd name="T33" fmla="*/ 944 h 4113"/>
                <a:gd name="T34" fmla="*/ 1540 w 2944"/>
                <a:gd name="T35" fmla="*/ 1811 h 4113"/>
                <a:gd name="T36" fmla="*/ 1855 w 2944"/>
                <a:gd name="T37" fmla="*/ 1811 h 4113"/>
                <a:gd name="T38" fmla="*/ 2624 w 2944"/>
                <a:gd name="T39" fmla="*/ 1819 h 4113"/>
                <a:gd name="T40" fmla="*/ 2691 w 2944"/>
                <a:gd name="T41" fmla="*/ 2211 h 4113"/>
                <a:gd name="T42" fmla="*/ 2645 w 2944"/>
                <a:gd name="T43" fmla="*/ 2438 h 4113"/>
                <a:gd name="T44" fmla="*/ 2775 w 2944"/>
                <a:gd name="T45" fmla="*/ 2415 h 4113"/>
                <a:gd name="T46" fmla="*/ 2923 w 2944"/>
                <a:gd name="T47" fmla="*/ 1969 h 4113"/>
                <a:gd name="T48" fmla="*/ 2236 w 2944"/>
                <a:gd name="T49" fmla="*/ 1315 h 4113"/>
                <a:gd name="T50" fmla="*/ 2208 w 2944"/>
                <a:gd name="T51" fmla="*/ 220 h 4113"/>
                <a:gd name="T52" fmla="*/ 748 w 2944"/>
                <a:gd name="T53" fmla="*/ 1632 h 4113"/>
                <a:gd name="T54" fmla="*/ 1264 w 2944"/>
                <a:gd name="T55" fmla="*/ 2189 h 4113"/>
                <a:gd name="T56" fmla="*/ 717 w 2944"/>
                <a:gd name="T57" fmla="*/ 3123 h 4113"/>
                <a:gd name="T58" fmla="*/ 375 w 2944"/>
                <a:gd name="T59" fmla="*/ 1783 h 4113"/>
                <a:gd name="T60" fmla="*/ 1723 w 2944"/>
                <a:gd name="T61" fmla="*/ 1678 h 4113"/>
                <a:gd name="T62" fmla="*/ 1175 w 2944"/>
                <a:gd name="T63" fmla="*/ 710 h 4113"/>
                <a:gd name="T64" fmla="*/ 1698 w 2944"/>
                <a:gd name="T65" fmla="*/ 187 h 4113"/>
                <a:gd name="T66" fmla="*/ 2072 w 2944"/>
                <a:gd name="T67" fmla="*/ 349 h 4113"/>
                <a:gd name="T68" fmla="*/ 1723 w 2944"/>
                <a:gd name="T69" fmla="*/ 1678 h 4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44" h="4113">
                  <a:moveTo>
                    <a:pt x="2208" y="220"/>
                  </a:moveTo>
                  <a:cubicBezTo>
                    <a:pt x="2075" y="80"/>
                    <a:pt x="1897" y="2"/>
                    <a:pt x="1706" y="0"/>
                  </a:cubicBezTo>
                  <a:cubicBezTo>
                    <a:pt x="1703" y="0"/>
                    <a:pt x="1700" y="0"/>
                    <a:pt x="1698" y="0"/>
                  </a:cubicBezTo>
                  <a:cubicBezTo>
                    <a:pt x="1510" y="0"/>
                    <a:pt x="1333" y="73"/>
                    <a:pt x="1199" y="205"/>
                  </a:cubicBezTo>
                  <a:cubicBezTo>
                    <a:pt x="1097" y="305"/>
                    <a:pt x="1030" y="430"/>
                    <a:pt x="1002" y="567"/>
                  </a:cubicBezTo>
                  <a:cubicBezTo>
                    <a:pt x="787" y="557"/>
                    <a:pt x="579" y="657"/>
                    <a:pt x="452" y="836"/>
                  </a:cubicBezTo>
                  <a:lnTo>
                    <a:pt x="138" y="1281"/>
                  </a:lnTo>
                  <a:cubicBezTo>
                    <a:pt x="15" y="1454"/>
                    <a:pt x="0" y="1679"/>
                    <a:pt x="94" y="1866"/>
                  </a:cubicBezTo>
                  <a:cubicBezTo>
                    <a:pt x="54" y="1955"/>
                    <a:pt x="33" y="2053"/>
                    <a:pt x="33" y="2155"/>
                  </a:cubicBezTo>
                  <a:cubicBezTo>
                    <a:pt x="33" y="2567"/>
                    <a:pt x="286" y="2930"/>
                    <a:pt x="488" y="3154"/>
                  </a:cubicBezTo>
                  <a:lnTo>
                    <a:pt x="468" y="3708"/>
                  </a:lnTo>
                  <a:cubicBezTo>
                    <a:pt x="463" y="3840"/>
                    <a:pt x="524" y="3964"/>
                    <a:pt x="632" y="4041"/>
                  </a:cubicBezTo>
                  <a:cubicBezTo>
                    <a:pt x="699" y="4089"/>
                    <a:pt x="779" y="4113"/>
                    <a:pt x="859" y="4113"/>
                  </a:cubicBezTo>
                  <a:cubicBezTo>
                    <a:pt x="937" y="4113"/>
                    <a:pt x="1015" y="4090"/>
                    <a:pt x="1082" y="4043"/>
                  </a:cubicBezTo>
                  <a:lnTo>
                    <a:pt x="1944" y="3445"/>
                  </a:lnTo>
                  <a:cubicBezTo>
                    <a:pt x="2078" y="3352"/>
                    <a:pt x="2194" y="3237"/>
                    <a:pt x="2288" y="3103"/>
                  </a:cubicBezTo>
                  <a:lnTo>
                    <a:pt x="2548" y="2736"/>
                  </a:lnTo>
                  <a:cubicBezTo>
                    <a:pt x="2578" y="2694"/>
                    <a:pt x="2568" y="2635"/>
                    <a:pt x="2526" y="2605"/>
                  </a:cubicBezTo>
                  <a:cubicBezTo>
                    <a:pt x="2484" y="2575"/>
                    <a:pt x="2425" y="2585"/>
                    <a:pt x="2395" y="2628"/>
                  </a:cubicBezTo>
                  <a:lnTo>
                    <a:pt x="2135" y="2995"/>
                  </a:lnTo>
                  <a:cubicBezTo>
                    <a:pt x="2054" y="3111"/>
                    <a:pt x="1953" y="3210"/>
                    <a:pt x="1837" y="3291"/>
                  </a:cubicBezTo>
                  <a:lnTo>
                    <a:pt x="975" y="3890"/>
                  </a:lnTo>
                  <a:cubicBezTo>
                    <a:pt x="905" y="3939"/>
                    <a:pt x="810" y="3938"/>
                    <a:pt x="740" y="3888"/>
                  </a:cubicBezTo>
                  <a:cubicBezTo>
                    <a:pt x="684" y="3848"/>
                    <a:pt x="652" y="3783"/>
                    <a:pt x="655" y="3715"/>
                  </a:cubicBezTo>
                  <a:lnTo>
                    <a:pt x="670" y="3309"/>
                  </a:lnTo>
                  <a:cubicBezTo>
                    <a:pt x="693" y="3317"/>
                    <a:pt x="718" y="3321"/>
                    <a:pt x="743" y="3321"/>
                  </a:cubicBezTo>
                  <a:cubicBezTo>
                    <a:pt x="800" y="3321"/>
                    <a:pt x="857" y="3299"/>
                    <a:pt x="900" y="3256"/>
                  </a:cubicBezTo>
                  <a:cubicBezTo>
                    <a:pt x="1098" y="3061"/>
                    <a:pt x="1432" y="2662"/>
                    <a:pt x="1451" y="2196"/>
                  </a:cubicBezTo>
                  <a:cubicBezTo>
                    <a:pt x="1460" y="2001"/>
                    <a:pt x="1387" y="1807"/>
                    <a:pt x="1253" y="1665"/>
                  </a:cubicBezTo>
                  <a:cubicBezTo>
                    <a:pt x="1120" y="1525"/>
                    <a:pt x="941" y="1447"/>
                    <a:pt x="750" y="1445"/>
                  </a:cubicBezTo>
                  <a:cubicBezTo>
                    <a:pt x="560" y="1443"/>
                    <a:pt x="379" y="1516"/>
                    <a:pt x="244" y="1650"/>
                  </a:cubicBezTo>
                  <a:cubicBezTo>
                    <a:pt x="237" y="1656"/>
                    <a:pt x="231" y="1663"/>
                    <a:pt x="225" y="1669"/>
                  </a:cubicBezTo>
                  <a:cubicBezTo>
                    <a:pt x="210" y="1573"/>
                    <a:pt x="231" y="1472"/>
                    <a:pt x="290" y="1389"/>
                  </a:cubicBezTo>
                  <a:lnTo>
                    <a:pt x="605" y="944"/>
                  </a:lnTo>
                  <a:cubicBezTo>
                    <a:pt x="694" y="819"/>
                    <a:pt x="839" y="749"/>
                    <a:pt x="989" y="754"/>
                  </a:cubicBezTo>
                  <a:cubicBezTo>
                    <a:pt x="1009" y="1217"/>
                    <a:pt x="1340" y="1613"/>
                    <a:pt x="1540" y="1811"/>
                  </a:cubicBezTo>
                  <a:cubicBezTo>
                    <a:pt x="1584" y="1854"/>
                    <a:pt x="1641" y="1876"/>
                    <a:pt x="1698" y="1876"/>
                  </a:cubicBezTo>
                  <a:cubicBezTo>
                    <a:pt x="1755" y="1876"/>
                    <a:pt x="1812" y="1854"/>
                    <a:pt x="1855" y="1811"/>
                  </a:cubicBezTo>
                  <a:cubicBezTo>
                    <a:pt x="1937" y="1730"/>
                    <a:pt x="2041" y="1615"/>
                    <a:pt x="2138" y="1475"/>
                  </a:cubicBezTo>
                  <a:lnTo>
                    <a:pt x="2624" y="1819"/>
                  </a:lnTo>
                  <a:cubicBezTo>
                    <a:pt x="2685" y="1862"/>
                    <a:pt x="2726" y="1927"/>
                    <a:pt x="2738" y="2001"/>
                  </a:cubicBezTo>
                  <a:cubicBezTo>
                    <a:pt x="2751" y="2075"/>
                    <a:pt x="2734" y="2149"/>
                    <a:pt x="2691" y="2211"/>
                  </a:cubicBezTo>
                  <a:lnTo>
                    <a:pt x="2622" y="2307"/>
                  </a:lnTo>
                  <a:cubicBezTo>
                    <a:pt x="2592" y="2349"/>
                    <a:pt x="2602" y="2408"/>
                    <a:pt x="2645" y="2438"/>
                  </a:cubicBezTo>
                  <a:cubicBezTo>
                    <a:pt x="2661" y="2449"/>
                    <a:pt x="2680" y="2455"/>
                    <a:pt x="2699" y="2455"/>
                  </a:cubicBezTo>
                  <a:cubicBezTo>
                    <a:pt x="2728" y="2455"/>
                    <a:pt x="2757" y="2441"/>
                    <a:pt x="2775" y="2415"/>
                  </a:cubicBezTo>
                  <a:lnTo>
                    <a:pt x="2843" y="2319"/>
                  </a:lnTo>
                  <a:cubicBezTo>
                    <a:pt x="2916" y="2217"/>
                    <a:pt x="2944" y="2093"/>
                    <a:pt x="2923" y="1969"/>
                  </a:cubicBezTo>
                  <a:cubicBezTo>
                    <a:pt x="2902" y="1846"/>
                    <a:pt x="2834" y="1738"/>
                    <a:pt x="2732" y="1666"/>
                  </a:cubicBezTo>
                  <a:lnTo>
                    <a:pt x="2236" y="1315"/>
                  </a:lnTo>
                  <a:cubicBezTo>
                    <a:pt x="2328" y="1148"/>
                    <a:pt x="2398" y="956"/>
                    <a:pt x="2406" y="751"/>
                  </a:cubicBezTo>
                  <a:cubicBezTo>
                    <a:pt x="2415" y="555"/>
                    <a:pt x="2342" y="362"/>
                    <a:pt x="2208" y="220"/>
                  </a:cubicBezTo>
                  <a:close/>
                  <a:moveTo>
                    <a:pt x="743" y="1632"/>
                  </a:moveTo>
                  <a:cubicBezTo>
                    <a:pt x="745" y="1632"/>
                    <a:pt x="746" y="1632"/>
                    <a:pt x="748" y="1632"/>
                  </a:cubicBezTo>
                  <a:cubicBezTo>
                    <a:pt x="888" y="1634"/>
                    <a:pt x="1019" y="1691"/>
                    <a:pt x="1117" y="1794"/>
                  </a:cubicBezTo>
                  <a:cubicBezTo>
                    <a:pt x="1217" y="1899"/>
                    <a:pt x="1270" y="2043"/>
                    <a:pt x="1264" y="2189"/>
                  </a:cubicBezTo>
                  <a:cubicBezTo>
                    <a:pt x="1247" y="2606"/>
                    <a:pt x="912" y="2981"/>
                    <a:pt x="768" y="3123"/>
                  </a:cubicBezTo>
                  <a:cubicBezTo>
                    <a:pt x="754" y="3137"/>
                    <a:pt x="731" y="3137"/>
                    <a:pt x="717" y="3123"/>
                  </a:cubicBezTo>
                  <a:cubicBezTo>
                    <a:pt x="568" y="2975"/>
                    <a:pt x="220" y="2585"/>
                    <a:pt x="220" y="2155"/>
                  </a:cubicBezTo>
                  <a:cubicBezTo>
                    <a:pt x="220" y="2014"/>
                    <a:pt x="275" y="1882"/>
                    <a:pt x="375" y="1783"/>
                  </a:cubicBezTo>
                  <a:cubicBezTo>
                    <a:pt x="474" y="1686"/>
                    <a:pt x="604" y="1632"/>
                    <a:pt x="743" y="1632"/>
                  </a:cubicBezTo>
                  <a:close/>
                  <a:moveTo>
                    <a:pt x="1723" y="1678"/>
                  </a:moveTo>
                  <a:cubicBezTo>
                    <a:pt x="1709" y="1692"/>
                    <a:pt x="1686" y="1692"/>
                    <a:pt x="1672" y="1678"/>
                  </a:cubicBezTo>
                  <a:cubicBezTo>
                    <a:pt x="1523" y="1530"/>
                    <a:pt x="1175" y="1139"/>
                    <a:pt x="1175" y="710"/>
                  </a:cubicBezTo>
                  <a:cubicBezTo>
                    <a:pt x="1175" y="569"/>
                    <a:pt x="1230" y="437"/>
                    <a:pt x="1330" y="338"/>
                  </a:cubicBezTo>
                  <a:cubicBezTo>
                    <a:pt x="1429" y="241"/>
                    <a:pt x="1559" y="187"/>
                    <a:pt x="1698" y="187"/>
                  </a:cubicBezTo>
                  <a:cubicBezTo>
                    <a:pt x="1700" y="187"/>
                    <a:pt x="1702" y="187"/>
                    <a:pt x="1704" y="187"/>
                  </a:cubicBezTo>
                  <a:cubicBezTo>
                    <a:pt x="1844" y="189"/>
                    <a:pt x="1974" y="246"/>
                    <a:pt x="2072" y="349"/>
                  </a:cubicBezTo>
                  <a:cubicBezTo>
                    <a:pt x="2172" y="454"/>
                    <a:pt x="2226" y="598"/>
                    <a:pt x="2219" y="743"/>
                  </a:cubicBezTo>
                  <a:cubicBezTo>
                    <a:pt x="2202" y="1161"/>
                    <a:pt x="1867" y="1536"/>
                    <a:pt x="1723" y="167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69"/>
            <p:cNvSpPr>
              <a:spLocks/>
            </p:cNvSpPr>
            <p:nvPr/>
          </p:nvSpPr>
          <p:spPr bwMode="auto">
            <a:xfrm>
              <a:off x="5815" y="192"/>
              <a:ext cx="48" cy="47"/>
            </a:xfrm>
            <a:custGeom>
              <a:avLst/>
              <a:gdLst>
                <a:gd name="T0" fmla="*/ 696 w 790"/>
                <a:gd name="T1" fmla="*/ 301 h 790"/>
                <a:gd name="T2" fmla="*/ 603 w 790"/>
                <a:gd name="T3" fmla="*/ 395 h 790"/>
                <a:gd name="T4" fmla="*/ 395 w 790"/>
                <a:gd name="T5" fmla="*/ 602 h 790"/>
                <a:gd name="T6" fmla="*/ 187 w 790"/>
                <a:gd name="T7" fmla="*/ 395 h 790"/>
                <a:gd name="T8" fmla="*/ 395 w 790"/>
                <a:gd name="T9" fmla="*/ 187 h 790"/>
                <a:gd name="T10" fmla="*/ 436 w 790"/>
                <a:gd name="T11" fmla="*/ 191 h 790"/>
                <a:gd name="T12" fmla="*/ 546 w 790"/>
                <a:gd name="T13" fmla="*/ 118 h 790"/>
                <a:gd name="T14" fmla="*/ 473 w 790"/>
                <a:gd name="T15" fmla="*/ 7 h 790"/>
                <a:gd name="T16" fmla="*/ 395 w 790"/>
                <a:gd name="T17" fmla="*/ 0 h 790"/>
                <a:gd name="T18" fmla="*/ 0 w 790"/>
                <a:gd name="T19" fmla="*/ 395 h 790"/>
                <a:gd name="T20" fmla="*/ 395 w 790"/>
                <a:gd name="T21" fmla="*/ 790 h 790"/>
                <a:gd name="T22" fmla="*/ 790 w 790"/>
                <a:gd name="T23" fmla="*/ 395 h 790"/>
                <a:gd name="T24" fmla="*/ 696 w 790"/>
                <a:gd name="T25" fmla="*/ 301 h 7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90" h="790">
                  <a:moveTo>
                    <a:pt x="696" y="301"/>
                  </a:moveTo>
                  <a:cubicBezTo>
                    <a:pt x="644" y="301"/>
                    <a:pt x="603" y="343"/>
                    <a:pt x="603" y="395"/>
                  </a:cubicBezTo>
                  <a:cubicBezTo>
                    <a:pt x="603" y="509"/>
                    <a:pt x="509" y="602"/>
                    <a:pt x="395" y="602"/>
                  </a:cubicBezTo>
                  <a:cubicBezTo>
                    <a:pt x="280" y="602"/>
                    <a:pt x="187" y="509"/>
                    <a:pt x="187" y="395"/>
                  </a:cubicBezTo>
                  <a:cubicBezTo>
                    <a:pt x="187" y="280"/>
                    <a:pt x="280" y="187"/>
                    <a:pt x="395" y="187"/>
                  </a:cubicBezTo>
                  <a:cubicBezTo>
                    <a:pt x="409" y="187"/>
                    <a:pt x="423" y="188"/>
                    <a:pt x="436" y="191"/>
                  </a:cubicBezTo>
                  <a:cubicBezTo>
                    <a:pt x="487" y="201"/>
                    <a:pt x="536" y="168"/>
                    <a:pt x="546" y="118"/>
                  </a:cubicBezTo>
                  <a:cubicBezTo>
                    <a:pt x="556" y="67"/>
                    <a:pt x="524" y="18"/>
                    <a:pt x="473" y="7"/>
                  </a:cubicBezTo>
                  <a:cubicBezTo>
                    <a:pt x="447" y="2"/>
                    <a:pt x="421" y="0"/>
                    <a:pt x="395" y="0"/>
                  </a:cubicBezTo>
                  <a:cubicBezTo>
                    <a:pt x="177" y="0"/>
                    <a:pt x="0" y="177"/>
                    <a:pt x="0" y="395"/>
                  </a:cubicBezTo>
                  <a:cubicBezTo>
                    <a:pt x="0" y="612"/>
                    <a:pt x="177" y="790"/>
                    <a:pt x="395" y="790"/>
                  </a:cubicBezTo>
                  <a:cubicBezTo>
                    <a:pt x="613" y="790"/>
                    <a:pt x="790" y="612"/>
                    <a:pt x="790" y="395"/>
                  </a:cubicBezTo>
                  <a:cubicBezTo>
                    <a:pt x="790" y="343"/>
                    <a:pt x="748" y="301"/>
                    <a:pt x="696" y="30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70"/>
            <p:cNvSpPr>
              <a:spLocks noEditPoints="1"/>
            </p:cNvSpPr>
            <p:nvPr/>
          </p:nvSpPr>
          <p:spPr bwMode="auto">
            <a:xfrm>
              <a:off x="5757" y="279"/>
              <a:ext cx="48" cy="48"/>
            </a:xfrm>
            <a:custGeom>
              <a:avLst/>
              <a:gdLst>
                <a:gd name="T0" fmla="*/ 395 w 790"/>
                <a:gd name="T1" fmla="*/ 790 h 790"/>
                <a:gd name="T2" fmla="*/ 790 w 790"/>
                <a:gd name="T3" fmla="*/ 395 h 790"/>
                <a:gd name="T4" fmla="*/ 395 w 790"/>
                <a:gd name="T5" fmla="*/ 0 h 790"/>
                <a:gd name="T6" fmla="*/ 0 w 790"/>
                <a:gd name="T7" fmla="*/ 395 h 790"/>
                <a:gd name="T8" fmla="*/ 395 w 790"/>
                <a:gd name="T9" fmla="*/ 790 h 790"/>
                <a:gd name="T10" fmla="*/ 395 w 790"/>
                <a:gd name="T11" fmla="*/ 187 h 790"/>
                <a:gd name="T12" fmla="*/ 602 w 790"/>
                <a:gd name="T13" fmla="*/ 395 h 790"/>
                <a:gd name="T14" fmla="*/ 395 w 790"/>
                <a:gd name="T15" fmla="*/ 603 h 790"/>
                <a:gd name="T16" fmla="*/ 187 w 790"/>
                <a:gd name="T17" fmla="*/ 395 h 790"/>
                <a:gd name="T18" fmla="*/ 395 w 790"/>
                <a:gd name="T19" fmla="*/ 187 h 7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0" h="790">
                  <a:moveTo>
                    <a:pt x="395" y="790"/>
                  </a:moveTo>
                  <a:cubicBezTo>
                    <a:pt x="612" y="790"/>
                    <a:pt x="790" y="613"/>
                    <a:pt x="790" y="395"/>
                  </a:cubicBezTo>
                  <a:cubicBezTo>
                    <a:pt x="790" y="177"/>
                    <a:pt x="612" y="0"/>
                    <a:pt x="395" y="0"/>
                  </a:cubicBezTo>
                  <a:cubicBezTo>
                    <a:pt x="177" y="0"/>
                    <a:pt x="0" y="177"/>
                    <a:pt x="0" y="395"/>
                  </a:cubicBezTo>
                  <a:cubicBezTo>
                    <a:pt x="0" y="613"/>
                    <a:pt x="177" y="790"/>
                    <a:pt x="395" y="790"/>
                  </a:cubicBezTo>
                  <a:close/>
                  <a:moveTo>
                    <a:pt x="395" y="187"/>
                  </a:moveTo>
                  <a:cubicBezTo>
                    <a:pt x="509" y="187"/>
                    <a:pt x="602" y="280"/>
                    <a:pt x="602" y="395"/>
                  </a:cubicBezTo>
                  <a:cubicBezTo>
                    <a:pt x="602" y="509"/>
                    <a:pt x="509" y="603"/>
                    <a:pt x="395" y="603"/>
                  </a:cubicBezTo>
                  <a:cubicBezTo>
                    <a:pt x="280" y="603"/>
                    <a:pt x="187" y="509"/>
                    <a:pt x="187" y="395"/>
                  </a:cubicBezTo>
                  <a:cubicBezTo>
                    <a:pt x="187" y="280"/>
                    <a:pt x="280" y="187"/>
                    <a:pt x="395" y="18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71"/>
            <p:cNvSpPr>
              <a:spLocks noEditPoints="1"/>
            </p:cNvSpPr>
            <p:nvPr/>
          </p:nvSpPr>
          <p:spPr bwMode="auto">
            <a:xfrm>
              <a:off x="5675" y="81"/>
              <a:ext cx="48" cy="48"/>
            </a:xfrm>
            <a:custGeom>
              <a:avLst/>
              <a:gdLst>
                <a:gd name="T0" fmla="*/ 790 w 790"/>
                <a:gd name="T1" fmla="*/ 395 h 790"/>
                <a:gd name="T2" fmla="*/ 395 w 790"/>
                <a:gd name="T3" fmla="*/ 0 h 790"/>
                <a:gd name="T4" fmla="*/ 0 w 790"/>
                <a:gd name="T5" fmla="*/ 395 h 790"/>
                <a:gd name="T6" fmla="*/ 395 w 790"/>
                <a:gd name="T7" fmla="*/ 790 h 790"/>
                <a:gd name="T8" fmla="*/ 790 w 790"/>
                <a:gd name="T9" fmla="*/ 395 h 790"/>
                <a:gd name="T10" fmla="*/ 187 w 790"/>
                <a:gd name="T11" fmla="*/ 395 h 790"/>
                <a:gd name="T12" fmla="*/ 395 w 790"/>
                <a:gd name="T13" fmla="*/ 187 h 790"/>
                <a:gd name="T14" fmla="*/ 602 w 790"/>
                <a:gd name="T15" fmla="*/ 395 h 790"/>
                <a:gd name="T16" fmla="*/ 395 w 790"/>
                <a:gd name="T17" fmla="*/ 603 h 790"/>
                <a:gd name="T18" fmla="*/ 187 w 790"/>
                <a:gd name="T19" fmla="*/ 395 h 7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0" h="790">
                  <a:moveTo>
                    <a:pt x="790" y="395"/>
                  </a:moveTo>
                  <a:cubicBezTo>
                    <a:pt x="790" y="177"/>
                    <a:pt x="612" y="0"/>
                    <a:pt x="395" y="0"/>
                  </a:cubicBezTo>
                  <a:cubicBezTo>
                    <a:pt x="177" y="0"/>
                    <a:pt x="0" y="177"/>
                    <a:pt x="0" y="395"/>
                  </a:cubicBezTo>
                  <a:cubicBezTo>
                    <a:pt x="0" y="613"/>
                    <a:pt x="177" y="790"/>
                    <a:pt x="395" y="790"/>
                  </a:cubicBezTo>
                  <a:cubicBezTo>
                    <a:pt x="612" y="790"/>
                    <a:pt x="790" y="613"/>
                    <a:pt x="790" y="395"/>
                  </a:cubicBezTo>
                  <a:close/>
                  <a:moveTo>
                    <a:pt x="187" y="395"/>
                  </a:moveTo>
                  <a:cubicBezTo>
                    <a:pt x="187" y="280"/>
                    <a:pt x="280" y="187"/>
                    <a:pt x="395" y="187"/>
                  </a:cubicBezTo>
                  <a:cubicBezTo>
                    <a:pt x="509" y="187"/>
                    <a:pt x="602" y="280"/>
                    <a:pt x="602" y="395"/>
                  </a:cubicBezTo>
                  <a:cubicBezTo>
                    <a:pt x="602" y="509"/>
                    <a:pt x="509" y="603"/>
                    <a:pt x="395" y="603"/>
                  </a:cubicBezTo>
                  <a:cubicBezTo>
                    <a:pt x="280" y="603"/>
                    <a:pt x="187" y="509"/>
                    <a:pt x="187" y="39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" name="Groupe 51"/>
          <p:cNvGrpSpPr>
            <a:grpSpLocks noChangeAspect="1"/>
          </p:cNvGrpSpPr>
          <p:nvPr/>
        </p:nvGrpSpPr>
        <p:grpSpPr>
          <a:xfrm>
            <a:off x="4268500" y="1748252"/>
            <a:ext cx="540000" cy="540000"/>
            <a:chOff x="633412" y="-1870075"/>
            <a:chExt cx="2044700" cy="2044700"/>
          </a:xfrm>
          <a:solidFill>
            <a:schemeClr val="bg1"/>
          </a:solidFill>
        </p:grpSpPr>
        <p:sp>
          <p:nvSpPr>
            <p:cNvPr id="53" name="Freeform 37"/>
            <p:cNvSpPr>
              <a:spLocks noEditPoints="1"/>
            </p:cNvSpPr>
            <p:nvPr/>
          </p:nvSpPr>
          <p:spPr bwMode="auto">
            <a:xfrm>
              <a:off x="1358900" y="-419100"/>
              <a:ext cx="593725" cy="593725"/>
            </a:xfrm>
            <a:custGeom>
              <a:avLst/>
              <a:gdLst>
                <a:gd name="T0" fmla="*/ 900 w 1800"/>
                <a:gd name="T1" fmla="*/ 0 h 1800"/>
                <a:gd name="T2" fmla="*/ 0 w 1800"/>
                <a:gd name="T3" fmla="*/ 900 h 1800"/>
                <a:gd name="T4" fmla="*/ 900 w 1800"/>
                <a:gd name="T5" fmla="*/ 1800 h 1800"/>
                <a:gd name="T6" fmla="*/ 1800 w 1800"/>
                <a:gd name="T7" fmla="*/ 900 h 1800"/>
                <a:gd name="T8" fmla="*/ 900 w 1800"/>
                <a:gd name="T9" fmla="*/ 0 h 1800"/>
                <a:gd name="T10" fmla="*/ 518 w 1800"/>
                <a:gd name="T11" fmla="*/ 1486 h 1800"/>
                <a:gd name="T12" fmla="*/ 900 w 1800"/>
                <a:gd name="T13" fmla="*/ 1200 h 1800"/>
                <a:gd name="T14" fmla="*/ 1282 w 1800"/>
                <a:gd name="T15" fmla="*/ 1486 h 1800"/>
                <a:gd name="T16" fmla="*/ 900 w 1800"/>
                <a:gd name="T17" fmla="*/ 1600 h 1800"/>
                <a:gd name="T18" fmla="*/ 518 w 1800"/>
                <a:gd name="T19" fmla="*/ 1486 h 1800"/>
                <a:gd name="T20" fmla="*/ 700 w 1800"/>
                <a:gd name="T21" fmla="*/ 800 h 1800"/>
                <a:gd name="T22" fmla="*/ 900 w 1800"/>
                <a:gd name="T23" fmla="*/ 600 h 1800"/>
                <a:gd name="T24" fmla="*/ 1100 w 1800"/>
                <a:gd name="T25" fmla="*/ 800 h 1800"/>
                <a:gd name="T26" fmla="*/ 900 w 1800"/>
                <a:gd name="T27" fmla="*/ 1000 h 1800"/>
                <a:gd name="T28" fmla="*/ 700 w 1800"/>
                <a:gd name="T29" fmla="*/ 800 h 1800"/>
                <a:gd name="T30" fmla="*/ 1440 w 1800"/>
                <a:gd name="T31" fmla="*/ 1345 h 1800"/>
                <a:gd name="T32" fmla="*/ 1188 w 1800"/>
                <a:gd name="T33" fmla="*/ 1076 h 1800"/>
                <a:gd name="T34" fmla="*/ 1300 w 1800"/>
                <a:gd name="T35" fmla="*/ 800 h 1800"/>
                <a:gd name="T36" fmla="*/ 900 w 1800"/>
                <a:gd name="T37" fmla="*/ 400 h 1800"/>
                <a:gd name="T38" fmla="*/ 500 w 1800"/>
                <a:gd name="T39" fmla="*/ 800 h 1800"/>
                <a:gd name="T40" fmla="*/ 612 w 1800"/>
                <a:gd name="T41" fmla="*/ 1076 h 1800"/>
                <a:gd name="T42" fmla="*/ 360 w 1800"/>
                <a:gd name="T43" fmla="*/ 1345 h 1800"/>
                <a:gd name="T44" fmla="*/ 200 w 1800"/>
                <a:gd name="T45" fmla="*/ 900 h 1800"/>
                <a:gd name="T46" fmla="*/ 900 w 1800"/>
                <a:gd name="T47" fmla="*/ 200 h 1800"/>
                <a:gd name="T48" fmla="*/ 1600 w 1800"/>
                <a:gd name="T49" fmla="*/ 900 h 1800"/>
                <a:gd name="T50" fmla="*/ 1440 w 1800"/>
                <a:gd name="T51" fmla="*/ 1345 h 1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00" h="1800">
                  <a:moveTo>
                    <a:pt x="900" y="0"/>
                  </a:moveTo>
                  <a:cubicBezTo>
                    <a:pt x="404" y="0"/>
                    <a:pt x="0" y="404"/>
                    <a:pt x="0" y="900"/>
                  </a:cubicBezTo>
                  <a:cubicBezTo>
                    <a:pt x="0" y="1396"/>
                    <a:pt x="404" y="1800"/>
                    <a:pt x="900" y="1800"/>
                  </a:cubicBezTo>
                  <a:cubicBezTo>
                    <a:pt x="1396" y="1800"/>
                    <a:pt x="1800" y="1396"/>
                    <a:pt x="1800" y="900"/>
                  </a:cubicBezTo>
                  <a:cubicBezTo>
                    <a:pt x="1800" y="404"/>
                    <a:pt x="1396" y="0"/>
                    <a:pt x="900" y="0"/>
                  </a:cubicBezTo>
                  <a:close/>
                  <a:moveTo>
                    <a:pt x="518" y="1486"/>
                  </a:moveTo>
                  <a:cubicBezTo>
                    <a:pt x="568" y="1320"/>
                    <a:pt x="722" y="1200"/>
                    <a:pt x="900" y="1200"/>
                  </a:cubicBezTo>
                  <a:cubicBezTo>
                    <a:pt x="1078" y="1200"/>
                    <a:pt x="1232" y="1320"/>
                    <a:pt x="1282" y="1486"/>
                  </a:cubicBezTo>
                  <a:cubicBezTo>
                    <a:pt x="1172" y="1558"/>
                    <a:pt x="1041" y="1600"/>
                    <a:pt x="900" y="1600"/>
                  </a:cubicBezTo>
                  <a:cubicBezTo>
                    <a:pt x="759" y="1600"/>
                    <a:pt x="628" y="1558"/>
                    <a:pt x="518" y="1486"/>
                  </a:cubicBezTo>
                  <a:close/>
                  <a:moveTo>
                    <a:pt x="700" y="800"/>
                  </a:moveTo>
                  <a:cubicBezTo>
                    <a:pt x="700" y="690"/>
                    <a:pt x="790" y="600"/>
                    <a:pt x="900" y="600"/>
                  </a:cubicBezTo>
                  <a:cubicBezTo>
                    <a:pt x="1010" y="600"/>
                    <a:pt x="1100" y="690"/>
                    <a:pt x="1100" y="800"/>
                  </a:cubicBezTo>
                  <a:cubicBezTo>
                    <a:pt x="1100" y="910"/>
                    <a:pt x="1010" y="1000"/>
                    <a:pt x="900" y="1000"/>
                  </a:cubicBezTo>
                  <a:cubicBezTo>
                    <a:pt x="790" y="1000"/>
                    <a:pt x="700" y="910"/>
                    <a:pt x="700" y="800"/>
                  </a:cubicBezTo>
                  <a:close/>
                  <a:moveTo>
                    <a:pt x="1440" y="1345"/>
                  </a:moveTo>
                  <a:cubicBezTo>
                    <a:pt x="1386" y="1230"/>
                    <a:pt x="1298" y="1137"/>
                    <a:pt x="1188" y="1076"/>
                  </a:cubicBezTo>
                  <a:cubicBezTo>
                    <a:pt x="1257" y="1004"/>
                    <a:pt x="1300" y="907"/>
                    <a:pt x="1300" y="800"/>
                  </a:cubicBezTo>
                  <a:cubicBezTo>
                    <a:pt x="1300" y="579"/>
                    <a:pt x="1121" y="400"/>
                    <a:pt x="900" y="400"/>
                  </a:cubicBezTo>
                  <a:cubicBezTo>
                    <a:pt x="679" y="400"/>
                    <a:pt x="500" y="579"/>
                    <a:pt x="500" y="800"/>
                  </a:cubicBezTo>
                  <a:cubicBezTo>
                    <a:pt x="500" y="907"/>
                    <a:pt x="543" y="1004"/>
                    <a:pt x="612" y="1076"/>
                  </a:cubicBezTo>
                  <a:cubicBezTo>
                    <a:pt x="502" y="1137"/>
                    <a:pt x="414" y="1230"/>
                    <a:pt x="360" y="1345"/>
                  </a:cubicBezTo>
                  <a:cubicBezTo>
                    <a:pt x="260" y="1224"/>
                    <a:pt x="200" y="1069"/>
                    <a:pt x="200" y="900"/>
                  </a:cubicBezTo>
                  <a:cubicBezTo>
                    <a:pt x="200" y="514"/>
                    <a:pt x="514" y="200"/>
                    <a:pt x="900" y="200"/>
                  </a:cubicBezTo>
                  <a:cubicBezTo>
                    <a:pt x="1286" y="200"/>
                    <a:pt x="1600" y="514"/>
                    <a:pt x="1600" y="900"/>
                  </a:cubicBezTo>
                  <a:cubicBezTo>
                    <a:pt x="1600" y="1069"/>
                    <a:pt x="1540" y="1224"/>
                    <a:pt x="1440" y="13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8"/>
            <p:cNvSpPr>
              <a:spLocks noEditPoints="1"/>
            </p:cNvSpPr>
            <p:nvPr/>
          </p:nvSpPr>
          <p:spPr bwMode="auto">
            <a:xfrm>
              <a:off x="633412" y="-1870075"/>
              <a:ext cx="1319213" cy="1385888"/>
            </a:xfrm>
            <a:custGeom>
              <a:avLst/>
              <a:gdLst>
                <a:gd name="T0" fmla="*/ 2200 w 4000"/>
                <a:gd name="T1" fmla="*/ 900 h 4200"/>
                <a:gd name="T2" fmla="*/ 2100 w 4000"/>
                <a:gd name="T3" fmla="*/ 1200 h 4200"/>
                <a:gd name="T4" fmla="*/ 1800 w 4000"/>
                <a:gd name="T5" fmla="*/ 1747 h 4200"/>
                <a:gd name="T6" fmla="*/ 1232 w 4000"/>
                <a:gd name="T7" fmla="*/ 2587 h 4200"/>
                <a:gd name="T8" fmla="*/ 0 w 4000"/>
                <a:gd name="T9" fmla="*/ 2491 h 4200"/>
                <a:gd name="T10" fmla="*/ 3100 w 4000"/>
                <a:gd name="T11" fmla="*/ 4200 h 4200"/>
                <a:gd name="T12" fmla="*/ 3378 w 4000"/>
                <a:gd name="T13" fmla="*/ 3789 h 4200"/>
                <a:gd name="T14" fmla="*/ 3522 w 4000"/>
                <a:gd name="T15" fmla="*/ 3300 h 4200"/>
                <a:gd name="T16" fmla="*/ 3522 w 4000"/>
                <a:gd name="T17" fmla="*/ 2900 h 4200"/>
                <a:gd name="T18" fmla="*/ 3300 w 4000"/>
                <a:gd name="T19" fmla="*/ 2400 h 4200"/>
                <a:gd name="T20" fmla="*/ 2600 w 4000"/>
                <a:gd name="T21" fmla="*/ 2200 h 4200"/>
                <a:gd name="T22" fmla="*/ 2594 w 4000"/>
                <a:gd name="T23" fmla="*/ 1644 h 4200"/>
                <a:gd name="T24" fmla="*/ 4000 w 4000"/>
                <a:gd name="T25" fmla="*/ 900 h 4200"/>
                <a:gd name="T26" fmla="*/ 1200 w 4000"/>
                <a:gd name="T27" fmla="*/ 4000 h 4200"/>
                <a:gd name="T28" fmla="*/ 200 w 4000"/>
                <a:gd name="T29" fmla="*/ 2709 h 4200"/>
                <a:gd name="T30" fmla="*/ 1200 w 4000"/>
                <a:gd name="T31" fmla="*/ 4000 h 4200"/>
                <a:gd name="T32" fmla="*/ 3300 w 4000"/>
                <a:gd name="T33" fmla="*/ 2600 h 4200"/>
                <a:gd name="T34" fmla="*/ 3300 w 4000"/>
                <a:gd name="T35" fmla="*/ 2800 h 4200"/>
                <a:gd name="T36" fmla="*/ 2600 w 4000"/>
                <a:gd name="T37" fmla="*/ 3000 h 4200"/>
                <a:gd name="T38" fmla="*/ 3400 w 4000"/>
                <a:gd name="T39" fmla="*/ 3100 h 4200"/>
                <a:gd name="T40" fmla="*/ 2600 w 4000"/>
                <a:gd name="T41" fmla="*/ 3200 h 4200"/>
                <a:gd name="T42" fmla="*/ 3300 w 4000"/>
                <a:gd name="T43" fmla="*/ 3400 h 4200"/>
                <a:gd name="T44" fmla="*/ 3300 w 4000"/>
                <a:gd name="T45" fmla="*/ 3600 h 4200"/>
                <a:gd name="T46" fmla="*/ 2600 w 4000"/>
                <a:gd name="T47" fmla="*/ 3800 h 4200"/>
                <a:gd name="T48" fmla="*/ 3200 w 4000"/>
                <a:gd name="T49" fmla="*/ 3900 h 4200"/>
                <a:gd name="T50" fmla="*/ 1400 w 4000"/>
                <a:gd name="T51" fmla="*/ 4000 h 4200"/>
                <a:gd name="T52" fmla="*/ 1422 w 4000"/>
                <a:gd name="T53" fmla="*/ 2650 h 4200"/>
                <a:gd name="T54" fmla="*/ 2000 w 4000"/>
                <a:gd name="T55" fmla="*/ 1747 h 4200"/>
                <a:gd name="T56" fmla="*/ 2100 w 4000"/>
                <a:gd name="T57" fmla="*/ 1400 h 4200"/>
                <a:gd name="T58" fmla="*/ 2400 w 4000"/>
                <a:gd name="T59" fmla="*/ 2200 h 4200"/>
                <a:gd name="T60" fmla="*/ 3100 w 4000"/>
                <a:gd name="T61" fmla="*/ 1600 h 4200"/>
                <a:gd name="T62" fmla="*/ 3100 w 4000"/>
                <a:gd name="T63" fmla="*/ 200 h 4200"/>
                <a:gd name="T64" fmla="*/ 3100 w 4000"/>
                <a:gd name="T65" fmla="*/ 1600 h 4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00" h="4200">
                  <a:moveTo>
                    <a:pt x="3100" y="0"/>
                  </a:moveTo>
                  <a:cubicBezTo>
                    <a:pt x="2604" y="0"/>
                    <a:pt x="2200" y="404"/>
                    <a:pt x="2200" y="900"/>
                  </a:cubicBezTo>
                  <a:cubicBezTo>
                    <a:pt x="2200" y="1017"/>
                    <a:pt x="2223" y="1128"/>
                    <a:pt x="2263" y="1230"/>
                  </a:cubicBezTo>
                  <a:cubicBezTo>
                    <a:pt x="2212" y="1212"/>
                    <a:pt x="2158" y="1200"/>
                    <a:pt x="2100" y="1200"/>
                  </a:cubicBezTo>
                  <a:cubicBezTo>
                    <a:pt x="1935" y="1200"/>
                    <a:pt x="1800" y="1335"/>
                    <a:pt x="1800" y="1500"/>
                  </a:cubicBezTo>
                  <a:lnTo>
                    <a:pt x="1800" y="1747"/>
                  </a:lnTo>
                  <a:cubicBezTo>
                    <a:pt x="1800" y="1930"/>
                    <a:pt x="1703" y="2102"/>
                    <a:pt x="1546" y="2196"/>
                  </a:cubicBezTo>
                  <a:cubicBezTo>
                    <a:pt x="1398" y="2284"/>
                    <a:pt x="1287" y="2423"/>
                    <a:pt x="1232" y="2587"/>
                  </a:cubicBezTo>
                  <a:lnTo>
                    <a:pt x="1230" y="2594"/>
                  </a:lnTo>
                  <a:lnTo>
                    <a:pt x="0" y="2491"/>
                  </a:lnTo>
                  <a:lnTo>
                    <a:pt x="0" y="4200"/>
                  </a:lnTo>
                  <a:lnTo>
                    <a:pt x="3100" y="4200"/>
                  </a:lnTo>
                  <a:cubicBezTo>
                    <a:pt x="3265" y="4200"/>
                    <a:pt x="3400" y="4065"/>
                    <a:pt x="3400" y="3900"/>
                  </a:cubicBezTo>
                  <a:cubicBezTo>
                    <a:pt x="3400" y="3860"/>
                    <a:pt x="3392" y="3823"/>
                    <a:pt x="3378" y="3789"/>
                  </a:cubicBezTo>
                  <a:cubicBezTo>
                    <a:pt x="3506" y="3754"/>
                    <a:pt x="3600" y="3638"/>
                    <a:pt x="3600" y="3500"/>
                  </a:cubicBezTo>
                  <a:cubicBezTo>
                    <a:pt x="3600" y="3423"/>
                    <a:pt x="3570" y="3353"/>
                    <a:pt x="3522" y="3300"/>
                  </a:cubicBezTo>
                  <a:cubicBezTo>
                    <a:pt x="3570" y="3247"/>
                    <a:pt x="3600" y="3177"/>
                    <a:pt x="3600" y="3100"/>
                  </a:cubicBezTo>
                  <a:cubicBezTo>
                    <a:pt x="3600" y="3023"/>
                    <a:pt x="3570" y="2953"/>
                    <a:pt x="3522" y="2900"/>
                  </a:cubicBezTo>
                  <a:cubicBezTo>
                    <a:pt x="3570" y="2847"/>
                    <a:pt x="3600" y="2777"/>
                    <a:pt x="3600" y="2700"/>
                  </a:cubicBezTo>
                  <a:cubicBezTo>
                    <a:pt x="3600" y="2535"/>
                    <a:pt x="3466" y="2400"/>
                    <a:pt x="3300" y="2400"/>
                  </a:cubicBezTo>
                  <a:lnTo>
                    <a:pt x="2800" y="2400"/>
                  </a:lnTo>
                  <a:cubicBezTo>
                    <a:pt x="2690" y="2400"/>
                    <a:pt x="2600" y="2310"/>
                    <a:pt x="2600" y="2200"/>
                  </a:cubicBezTo>
                  <a:lnTo>
                    <a:pt x="2600" y="1700"/>
                  </a:lnTo>
                  <a:cubicBezTo>
                    <a:pt x="2600" y="1681"/>
                    <a:pt x="2596" y="1663"/>
                    <a:pt x="2594" y="1644"/>
                  </a:cubicBezTo>
                  <a:cubicBezTo>
                    <a:pt x="2739" y="1742"/>
                    <a:pt x="2913" y="1800"/>
                    <a:pt x="3100" y="1800"/>
                  </a:cubicBezTo>
                  <a:cubicBezTo>
                    <a:pt x="3596" y="1800"/>
                    <a:pt x="4000" y="1396"/>
                    <a:pt x="4000" y="900"/>
                  </a:cubicBezTo>
                  <a:cubicBezTo>
                    <a:pt x="4000" y="404"/>
                    <a:pt x="3596" y="0"/>
                    <a:pt x="3100" y="0"/>
                  </a:cubicBezTo>
                  <a:close/>
                  <a:moveTo>
                    <a:pt x="1200" y="4000"/>
                  </a:moveTo>
                  <a:lnTo>
                    <a:pt x="200" y="4000"/>
                  </a:lnTo>
                  <a:lnTo>
                    <a:pt x="200" y="2709"/>
                  </a:lnTo>
                  <a:lnTo>
                    <a:pt x="1200" y="2792"/>
                  </a:lnTo>
                  <a:lnTo>
                    <a:pt x="1200" y="4000"/>
                  </a:lnTo>
                  <a:close/>
                  <a:moveTo>
                    <a:pt x="2800" y="2600"/>
                  </a:moveTo>
                  <a:lnTo>
                    <a:pt x="3300" y="2600"/>
                  </a:lnTo>
                  <a:cubicBezTo>
                    <a:pt x="3355" y="2600"/>
                    <a:pt x="3400" y="2645"/>
                    <a:pt x="3400" y="2700"/>
                  </a:cubicBezTo>
                  <a:cubicBezTo>
                    <a:pt x="3400" y="2755"/>
                    <a:pt x="3355" y="2800"/>
                    <a:pt x="3300" y="2800"/>
                  </a:cubicBezTo>
                  <a:lnTo>
                    <a:pt x="2600" y="2800"/>
                  </a:lnTo>
                  <a:lnTo>
                    <a:pt x="2600" y="3000"/>
                  </a:lnTo>
                  <a:lnTo>
                    <a:pt x="3300" y="3000"/>
                  </a:lnTo>
                  <a:cubicBezTo>
                    <a:pt x="3355" y="3000"/>
                    <a:pt x="3400" y="3045"/>
                    <a:pt x="3400" y="3100"/>
                  </a:cubicBezTo>
                  <a:cubicBezTo>
                    <a:pt x="3400" y="3155"/>
                    <a:pt x="3355" y="3200"/>
                    <a:pt x="3300" y="3200"/>
                  </a:cubicBezTo>
                  <a:lnTo>
                    <a:pt x="2600" y="3200"/>
                  </a:lnTo>
                  <a:lnTo>
                    <a:pt x="2600" y="3400"/>
                  </a:lnTo>
                  <a:lnTo>
                    <a:pt x="3300" y="3400"/>
                  </a:lnTo>
                  <a:cubicBezTo>
                    <a:pt x="3355" y="3400"/>
                    <a:pt x="3400" y="3445"/>
                    <a:pt x="3400" y="3500"/>
                  </a:cubicBezTo>
                  <a:cubicBezTo>
                    <a:pt x="3400" y="3555"/>
                    <a:pt x="3355" y="3600"/>
                    <a:pt x="3300" y="3600"/>
                  </a:cubicBezTo>
                  <a:lnTo>
                    <a:pt x="2600" y="3600"/>
                  </a:lnTo>
                  <a:lnTo>
                    <a:pt x="2600" y="3800"/>
                  </a:lnTo>
                  <a:lnTo>
                    <a:pt x="3100" y="3800"/>
                  </a:lnTo>
                  <a:cubicBezTo>
                    <a:pt x="3155" y="3800"/>
                    <a:pt x="3200" y="3845"/>
                    <a:pt x="3200" y="3900"/>
                  </a:cubicBezTo>
                  <a:cubicBezTo>
                    <a:pt x="3200" y="3955"/>
                    <a:pt x="3155" y="4000"/>
                    <a:pt x="3100" y="4000"/>
                  </a:cubicBezTo>
                  <a:lnTo>
                    <a:pt x="1400" y="4000"/>
                  </a:lnTo>
                  <a:lnTo>
                    <a:pt x="1400" y="2716"/>
                  </a:lnTo>
                  <a:lnTo>
                    <a:pt x="1422" y="2650"/>
                  </a:lnTo>
                  <a:cubicBezTo>
                    <a:pt x="1462" y="2532"/>
                    <a:pt x="1542" y="2431"/>
                    <a:pt x="1649" y="2367"/>
                  </a:cubicBezTo>
                  <a:cubicBezTo>
                    <a:pt x="1866" y="2237"/>
                    <a:pt x="2000" y="2000"/>
                    <a:pt x="2000" y="1747"/>
                  </a:cubicBezTo>
                  <a:lnTo>
                    <a:pt x="2000" y="1500"/>
                  </a:lnTo>
                  <a:cubicBezTo>
                    <a:pt x="2000" y="1445"/>
                    <a:pt x="2045" y="1400"/>
                    <a:pt x="2100" y="1400"/>
                  </a:cubicBezTo>
                  <a:cubicBezTo>
                    <a:pt x="2265" y="1400"/>
                    <a:pt x="2400" y="1535"/>
                    <a:pt x="2400" y="1700"/>
                  </a:cubicBezTo>
                  <a:lnTo>
                    <a:pt x="2400" y="2200"/>
                  </a:lnTo>
                  <a:cubicBezTo>
                    <a:pt x="2400" y="2421"/>
                    <a:pt x="2579" y="2600"/>
                    <a:pt x="2800" y="2600"/>
                  </a:cubicBezTo>
                  <a:close/>
                  <a:moveTo>
                    <a:pt x="3100" y="1600"/>
                  </a:moveTo>
                  <a:cubicBezTo>
                    <a:pt x="2714" y="1600"/>
                    <a:pt x="2400" y="1286"/>
                    <a:pt x="2400" y="900"/>
                  </a:cubicBezTo>
                  <a:cubicBezTo>
                    <a:pt x="2400" y="514"/>
                    <a:pt x="2714" y="200"/>
                    <a:pt x="3100" y="200"/>
                  </a:cubicBezTo>
                  <a:cubicBezTo>
                    <a:pt x="3486" y="200"/>
                    <a:pt x="3800" y="514"/>
                    <a:pt x="3800" y="900"/>
                  </a:cubicBezTo>
                  <a:cubicBezTo>
                    <a:pt x="3800" y="1286"/>
                    <a:pt x="3486" y="1600"/>
                    <a:pt x="3100" y="16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9"/>
            <p:cNvSpPr>
              <a:spLocks noEditPoints="1"/>
            </p:cNvSpPr>
            <p:nvPr/>
          </p:nvSpPr>
          <p:spPr bwMode="auto">
            <a:xfrm>
              <a:off x="2084387" y="-1144588"/>
              <a:ext cx="593725" cy="593725"/>
            </a:xfrm>
            <a:custGeom>
              <a:avLst/>
              <a:gdLst>
                <a:gd name="T0" fmla="*/ 900 w 1800"/>
                <a:gd name="T1" fmla="*/ 0 h 1800"/>
                <a:gd name="T2" fmla="*/ 0 w 1800"/>
                <a:gd name="T3" fmla="*/ 900 h 1800"/>
                <a:gd name="T4" fmla="*/ 900 w 1800"/>
                <a:gd name="T5" fmla="*/ 1800 h 1800"/>
                <a:gd name="T6" fmla="*/ 1800 w 1800"/>
                <a:gd name="T7" fmla="*/ 900 h 1800"/>
                <a:gd name="T8" fmla="*/ 900 w 1800"/>
                <a:gd name="T9" fmla="*/ 0 h 1800"/>
                <a:gd name="T10" fmla="*/ 900 w 1800"/>
                <a:gd name="T11" fmla="*/ 1600 h 1800"/>
                <a:gd name="T12" fmla="*/ 200 w 1800"/>
                <a:gd name="T13" fmla="*/ 900 h 1800"/>
                <a:gd name="T14" fmla="*/ 900 w 1800"/>
                <a:gd name="T15" fmla="*/ 200 h 1800"/>
                <a:gd name="T16" fmla="*/ 1600 w 1800"/>
                <a:gd name="T17" fmla="*/ 900 h 1800"/>
                <a:gd name="T18" fmla="*/ 900 w 1800"/>
                <a:gd name="T19" fmla="*/ 1600 h 1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0" h="1800">
                  <a:moveTo>
                    <a:pt x="900" y="0"/>
                  </a:moveTo>
                  <a:cubicBezTo>
                    <a:pt x="404" y="0"/>
                    <a:pt x="0" y="404"/>
                    <a:pt x="0" y="900"/>
                  </a:cubicBezTo>
                  <a:cubicBezTo>
                    <a:pt x="0" y="1396"/>
                    <a:pt x="404" y="1800"/>
                    <a:pt x="900" y="1800"/>
                  </a:cubicBezTo>
                  <a:cubicBezTo>
                    <a:pt x="1396" y="1800"/>
                    <a:pt x="1800" y="1396"/>
                    <a:pt x="1800" y="900"/>
                  </a:cubicBezTo>
                  <a:cubicBezTo>
                    <a:pt x="1800" y="404"/>
                    <a:pt x="1396" y="0"/>
                    <a:pt x="900" y="0"/>
                  </a:cubicBezTo>
                  <a:close/>
                  <a:moveTo>
                    <a:pt x="900" y="1600"/>
                  </a:moveTo>
                  <a:cubicBezTo>
                    <a:pt x="514" y="1600"/>
                    <a:pt x="200" y="1286"/>
                    <a:pt x="200" y="900"/>
                  </a:cubicBezTo>
                  <a:cubicBezTo>
                    <a:pt x="200" y="514"/>
                    <a:pt x="514" y="200"/>
                    <a:pt x="900" y="200"/>
                  </a:cubicBezTo>
                  <a:cubicBezTo>
                    <a:pt x="1286" y="200"/>
                    <a:pt x="1600" y="514"/>
                    <a:pt x="1600" y="900"/>
                  </a:cubicBezTo>
                  <a:cubicBezTo>
                    <a:pt x="1600" y="1286"/>
                    <a:pt x="1286" y="1600"/>
                    <a:pt x="900" y="16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0"/>
            <p:cNvSpPr>
              <a:spLocks/>
            </p:cNvSpPr>
            <p:nvPr/>
          </p:nvSpPr>
          <p:spPr bwMode="auto">
            <a:xfrm>
              <a:off x="2216150" y="-1012825"/>
              <a:ext cx="330200" cy="263525"/>
            </a:xfrm>
            <a:custGeom>
              <a:avLst/>
              <a:gdLst>
                <a:gd name="T0" fmla="*/ 800 w 1000"/>
                <a:gd name="T1" fmla="*/ 200 h 800"/>
                <a:gd name="T2" fmla="*/ 800 w 1000"/>
                <a:gd name="T3" fmla="*/ 600 h 800"/>
                <a:gd name="T4" fmla="*/ 600 w 1000"/>
                <a:gd name="T5" fmla="*/ 600 h 800"/>
                <a:gd name="T6" fmla="*/ 600 w 1000"/>
                <a:gd name="T7" fmla="*/ 0 h 800"/>
                <a:gd name="T8" fmla="*/ 400 w 1000"/>
                <a:gd name="T9" fmla="*/ 0 h 800"/>
                <a:gd name="T10" fmla="*/ 400 w 1000"/>
                <a:gd name="T11" fmla="*/ 600 h 800"/>
                <a:gd name="T12" fmla="*/ 200 w 1000"/>
                <a:gd name="T13" fmla="*/ 600 h 800"/>
                <a:gd name="T14" fmla="*/ 200 w 1000"/>
                <a:gd name="T15" fmla="*/ 400 h 800"/>
                <a:gd name="T16" fmla="*/ 0 w 1000"/>
                <a:gd name="T17" fmla="*/ 400 h 800"/>
                <a:gd name="T18" fmla="*/ 0 w 1000"/>
                <a:gd name="T19" fmla="*/ 800 h 800"/>
                <a:gd name="T20" fmla="*/ 1000 w 1000"/>
                <a:gd name="T21" fmla="*/ 800 h 800"/>
                <a:gd name="T22" fmla="*/ 1000 w 1000"/>
                <a:gd name="T23" fmla="*/ 200 h 800"/>
                <a:gd name="T24" fmla="*/ 800 w 1000"/>
                <a:gd name="T25" fmla="*/ 20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0" h="800">
                  <a:moveTo>
                    <a:pt x="800" y="200"/>
                  </a:moveTo>
                  <a:lnTo>
                    <a:pt x="800" y="600"/>
                  </a:lnTo>
                  <a:lnTo>
                    <a:pt x="600" y="600"/>
                  </a:lnTo>
                  <a:lnTo>
                    <a:pt x="600" y="0"/>
                  </a:lnTo>
                  <a:lnTo>
                    <a:pt x="400" y="0"/>
                  </a:lnTo>
                  <a:lnTo>
                    <a:pt x="400" y="600"/>
                  </a:lnTo>
                  <a:lnTo>
                    <a:pt x="200" y="600"/>
                  </a:lnTo>
                  <a:lnTo>
                    <a:pt x="200" y="400"/>
                  </a:lnTo>
                  <a:lnTo>
                    <a:pt x="0" y="400"/>
                  </a:lnTo>
                  <a:lnTo>
                    <a:pt x="0" y="800"/>
                  </a:lnTo>
                  <a:lnTo>
                    <a:pt x="1000" y="800"/>
                  </a:lnTo>
                  <a:lnTo>
                    <a:pt x="1000" y="200"/>
                  </a:lnTo>
                  <a:lnTo>
                    <a:pt x="800" y="2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41"/>
            <p:cNvSpPr>
              <a:spLocks noChangeArrowheads="1"/>
            </p:cNvSpPr>
            <p:nvPr/>
          </p:nvSpPr>
          <p:spPr bwMode="auto">
            <a:xfrm>
              <a:off x="1622425" y="-1606550"/>
              <a:ext cx="66675" cy="666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42"/>
            <p:cNvSpPr>
              <a:spLocks noChangeArrowheads="1"/>
            </p:cNvSpPr>
            <p:nvPr/>
          </p:nvSpPr>
          <p:spPr bwMode="auto">
            <a:xfrm>
              <a:off x="1754187" y="-1606550"/>
              <a:ext cx="66675" cy="666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43"/>
            <p:cNvSpPr>
              <a:spLocks noChangeArrowheads="1"/>
            </p:cNvSpPr>
            <p:nvPr/>
          </p:nvSpPr>
          <p:spPr bwMode="auto">
            <a:xfrm>
              <a:off x="1490662" y="-1606550"/>
              <a:ext cx="66675" cy="666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4"/>
            <p:cNvSpPr>
              <a:spLocks/>
            </p:cNvSpPr>
            <p:nvPr/>
          </p:nvSpPr>
          <p:spPr bwMode="auto">
            <a:xfrm>
              <a:off x="2005012" y="-1655763"/>
              <a:ext cx="441325" cy="433388"/>
            </a:xfrm>
            <a:custGeom>
              <a:avLst/>
              <a:gdLst>
                <a:gd name="T0" fmla="*/ 1057 w 1340"/>
                <a:gd name="T1" fmla="*/ 1100 h 1313"/>
                <a:gd name="T2" fmla="*/ 1191 w 1340"/>
                <a:gd name="T3" fmla="*/ 1313 h 1313"/>
                <a:gd name="T4" fmla="*/ 1340 w 1340"/>
                <a:gd name="T5" fmla="*/ 567 h 1313"/>
                <a:gd name="T6" fmla="*/ 1144 w 1340"/>
                <a:gd name="T7" fmla="*/ 527 h 1313"/>
                <a:gd name="T8" fmla="*/ 1090 w 1340"/>
                <a:gd name="T9" fmla="*/ 796 h 1313"/>
                <a:gd name="T10" fmla="*/ 84 w 1340"/>
                <a:gd name="T11" fmla="*/ 0 h 1313"/>
                <a:gd name="T12" fmla="*/ 0 w 1340"/>
                <a:gd name="T13" fmla="*/ 181 h 1313"/>
                <a:gd name="T14" fmla="*/ 1057 w 1340"/>
                <a:gd name="T15" fmla="*/ 1100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40" h="1313">
                  <a:moveTo>
                    <a:pt x="1057" y="1100"/>
                  </a:moveTo>
                  <a:lnTo>
                    <a:pt x="1191" y="1313"/>
                  </a:lnTo>
                  <a:lnTo>
                    <a:pt x="1340" y="567"/>
                  </a:lnTo>
                  <a:lnTo>
                    <a:pt x="1144" y="527"/>
                  </a:lnTo>
                  <a:lnTo>
                    <a:pt x="1090" y="796"/>
                  </a:lnTo>
                  <a:cubicBezTo>
                    <a:pt x="832" y="454"/>
                    <a:pt x="507" y="198"/>
                    <a:pt x="84" y="0"/>
                  </a:cubicBezTo>
                  <a:lnTo>
                    <a:pt x="0" y="181"/>
                  </a:lnTo>
                  <a:cubicBezTo>
                    <a:pt x="464" y="398"/>
                    <a:pt x="800" y="690"/>
                    <a:pt x="1057" y="1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5"/>
            <p:cNvSpPr>
              <a:spLocks/>
            </p:cNvSpPr>
            <p:nvPr/>
          </p:nvSpPr>
          <p:spPr bwMode="auto">
            <a:xfrm>
              <a:off x="847725" y="-1638300"/>
              <a:ext cx="433388" cy="441325"/>
            </a:xfrm>
            <a:custGeom>
              <a:avLst/>
              <a:gdLst>
                <a:gd name="T0" fmla="*/ 0 w 1313"/>
                <a:gd name="T1" fmla="*/ 1256 h 1340"/>
                <a:gd name="T2" fmla="*/ 181 w 1313"/>
                <a:gd name="T3" fmla="*/ 1340 h 1340"/>
                <a:gd name="T4" fmla="*/ 1100 w 1313"/>
                <a:gd name="T5" fmla="*/ 283 h 1340"/>
                <a:gd name="T6" fmla="*/ 1313 w 1313"/>
                <a:gd name="T7" fmla="*/ 149 h 1340"/>
                <a:gd name="T8" fmla="*/ 567 w 1313"/>
                <a:gd name="T9" fmla="*/ 0 h 1340"/>
                <a:gd name="T10" fmla="*/ 527 w 1313"/>
                <a:gd name="T11" fmla="*/ 196 h 1340"/>
                <a:gd name="T12" fmla="*/ 796 w 1313"/>
                <a:gd name="T13" fmla="*/ 250 h 1340"/>
                <a:gd name="T14" fmla="*/ 0 w 1313"/>
                <a:gd name="T15" fmla="*/ 1256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3" h="1340">
                  <a:moveTo>
                    <a:pt x="0" y="1256"/>
                  </a:moveTo>
                  <a:lnTo>
                    <a:pt x="181" y="1340"/>
                  </a:lnTo>
                  <a:cubicBezTo>
                    <a:pt x="398" y="876"/>
                    <a:pt x="690" y="540"/>
                    <a:pt x="1100" y="283"/>
                  </a:cubicBezTo>
                  <a:lnTo>
                    <a:pt x="1313" y="149"/>
                  </a:lnTo>
                  <a:lnTo>
                    <a:pt x="567" y="0"/>
                  </a:lnTo>
                  <a:lnTo>
                    <a:pt x="527" y="196"/>
                  </a:lnTo>
                  <a:lnTo>
                    <a:pt x="796" y="250"/>
                  </a:lnTo>
                  <a:cubicBezTo>
                    <a:pt x="453" y="508"/>
                    <a:pt x="198" y="833"/>
                    <a:pt x="0" y="125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6"/>
            <p:cNvSpPr>
              <a:spLocks/>
            </p:cNvSpPr>
            <p:nvPr/>
          </p:nvSpPr>
          <p:spPr bwMode="auto">
            <a:xfrm>
              <a:off x="865187" y="-473075"/>
              <a:ext cx="441325" cy="431800"/>
            </a:xfrm>
            <a:custGeom>
              <a:avLst/>
              <a:gdLst>
                <a:gd name="T0" fmla="*/ 283 w 1340"/>
                <a:gd name="T1" fmla="*/ 213 h 1313"/>
                <a:gd name="T2" fmla="*/ 149 w 1340"/>
                <a:gd name="T3" fmla="*/ 0 h 1313"/>
                <a:gd name="T4" fmla="*/ 0 w 1340"/>
                <a:gd name="T5" fmla="*/ 746 h 1313"/>
                <a:gd name="T6" fmla="*/ 196 w 1340"/>
                <a:gd name="T7" fmla="*/ 786 h 1313"/>
                <a:gd name="T8" fmla="*/ 250 w 1340"/>
                <a:gd name="T9" fmla="*/ 517 h 1313"/>
                <a:gd name="T10" fmla="*/ 1256 w 1340"/>
                <a:gd name="T11" fmla="*/ 1313 h 1313"/>
                <a:gd name="T12" fmla="*/ 1340 w 1340"/>
                <a:gd name="T13" fmla="*/ 1132 h 1313"/>
                <a:gd name="T14" fmla="*/ 283 w 1340"/>
                <a:gd name="T15" fmla="*/ 2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40" h="1313">
                  <a:moveTo>
                    <a:pt x="283" y="213"/>
                  </a:moveTo>
                  <a:lnTo>
                    <a:pt x="149" y="0"/>
                  </a:lnTo>
                  <a:lnTo>
                    <a:pt x="0" y="746"/>
                  </a:lnTo>
                  <a:lnTo>
                    <a:pt x="196" y="786"/>
                  </a:lnTo>
                  <a:lnTo>
                    <a:pt x="250" y="517"/>
                  </a:lnTo>
                  <a:cubicBezTo>
                    <a:pt x="508" y="859"/>
                    <a:pt x="833" y="1115"/>
                    <a:pt x="1256" y="1313"/>
                  </a:cubicBezTo>
                  <a:lnTo>
                    <a:pt x="1340" y="1132"/>
                  </a:lnTo>
                  <a:cubicBezTo>
                    <a:pt x="876" y="915"/>
                    <a:pt x="540" y="623"/>
                    <a:pt x="283" y="2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7"/>
            <p:cNvSpPr>
              <a:spLocks/>
            </p:cNvSpPr>
            <p:nvPr/>
          </p:nvSpPr>
          <p:spPr bwMode="auto">
            <a:xfrm>
              <a:off x="2030412" y="-498475"/>
              <a:ext cx="431800" cy="441325"/>
            </a:xfrm>
            <a:custGeom>
              <a:avLst/>
              <a:gdLst>
                <a:gd name="T0" fmla="*/ 1313 w 1313"/>
                <a:gd name="T1" fmla="*/ 84 h 1340"/>
                <a:gd name="T2" fmla="*/ 1132 w 1313"/>
                <a:gd name="T3" fmla="*/ 0 h 1340"/>
                <a:gd name="T4" fmla="*/ 213 w 1313"/>
                <a:gd name="T5" fmla="*/ 1057 h 1340"/>
                <a:gd name="T6" fmla="*/ 0 w 1313"/>
                <a:gd name="T7" fmla="*/ 1191 h 1340"/>
                <a:gd name="T8" fmla="*/ 746 w 1313"/>
                <a:gd name="T9" fmla="*/ 1340 h 1340"/>
                <a:gd name="T10" fmla="*/ 786 w 1313"/>
                <a:gd name="T11" fmla="*/ 1144 h 1340"/>
                <a:gd name="T12" fmla="*/ 517 w 1313"/>
                <a:gd name="T13" fmla="*/ 1090 h 1340"/>
                <a:gd name="T14" fmla="*/ 1313 w 1313"/>
                <a:gd name="T15" fmla="*/ 84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3" h="1340">
                  <a:moveTo>
                    <a:pt x="1313" y="84"/>
                  </a:moveTo>
                  <a:lnTo>
                    <a:pt x="1132" y="0"/>
                  </a:lnTo>
                  <a:cubicBezTo>
                    <a:pt x="915" y="464"/>
                    <a:pt x="623" y="800"/>
                    <a:pt x="213" y="1057"/>
                  </a:cubicBezTo>
                  <a:lnTo>
                    <a:pt x="0" y="1191"/>
                  </a:lnTo>
                  <a:lnTo>
                    <a:pt x="746" y="1340"/>
                  </a:lnTo>
                  <a:lnTo>
                    <a:pt x="786" y="1144"/>
                  </a:lnTo>
                  <a:lnTo>
                    <a:pt x="517" y="1090"/>
                  </a:lnTo>
                  <a:cubicBezTo>
                    <a:pt x="860" y="832"/>
                    <a:pt x="1115" y="507"/>
                    <a:pt x="1313" y="8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4" name="Group 17"/>
          <p:cNvGrpSpPr>
            <a:grpSpLocks noChangeAspect="1"/>
          </p:cNvGrpSpPr>
          <p:nvPr/>
        </p:nvGrpSpPr>
        <p:grpSpPr bwMode="auto">
          <a:xfrm>
            <a:off x="10473759" y="1748252"/>
            <a:ext cx="539999" cy="540000"/>
            <a:chOff x="1220" y="-803"/>
            <a:chExt cx="533" cy="533"/>
          </a:xfrm>
          <a:solidFill>
            <a:schemeClr val="bg1"/>
          </a:solidFill>
        </p:grpSpPr>
        <p:sp>
          <p:nvSpPr>
            <p:cNvPr id="65" name="Freeform 19"/>
            <p:cNvSpPr>
              <a:spLocks noEditPoints="1"/>
            </p:cNvSpPr>
            <p:nvPr/>
          </p:nvSpPr>
          <p:spPr bwMode="auto">
            <a:xfrm>
              <a:off x="1220" y="-803"/>
              <a:ext cx="533" cy="533"/>
            </a:xfrm>
            <a:custGeom>
              <a:avLst/>
              <a:gdLst>
                <a:gd name="T0" fmla="*/ 2127 w 4253"/>
                <a:gd name="T1" fmla="*/ 0 h 4253"/>
                <a:gd name="T2" fmla="*/ 0 w 4253"/>
                <a:gd name="T3" fmla="*/ 2127 h 4253"/>
                <a:gd name="T4" fmla="*/ 2127 w 4253"/>
                <a:gd name="T5" fmla="*/ 4253 h 4253"/>
                <a:gd name="T6" fmla="*/ 4253 w 4253"/>
                <a:gd name="T7" fmla="*/ 2127 h 4253"/>
                <a:gd name="T8" fmla="*/ 2127 w 4253"/>
                <a:gd name="T9" fmla="*/ 0 h 4253"/>
                <a:gd name="T10" fmla="*/ 2127 w 4253"/>
                <a:gd name="T11" fmla="*/ 3753 h 4253"/>
                <a:gd name="T12" fmla="*/ 501 w 4253"/>
                <a:gd name="T13" fmla="*/ 2127 h 4253"/>
                <a:gd name="T14" fmla="*/ 2127 w 4253"/>
                <a:gd name="T15" fmla="*/ 501 h 4253"/>
                <a:gd name="T16" fmla="*/ 3752 w 4253"/>
                <a:gd name="T17" fmla="*/ 2127 h 4253"/>
                <a:gd name="T18" fmla="*/ 2127 w 4253"/>
                <a:gd name="T19" fmla="*/ 3753 h 4253"/>
                <a:gd name="T20" fmla="*/ 2127 w 4253"/>
                <a:gd name="T21" fmla="*/ 3753 h 4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53" h="4253">
                  <a:moveTo>
                    <a:pt x="2127" y="0"/>
                  </a:moveTo>
                  <a:cubicBezTo>
                    <a:pt x="954" y="0"/>
                    <a:pt x="0" y="954"/>
                    <a:pt x="0" y="2127"/>
                  </a:cubicBezTo>
                  <a:cubicBezTo>
                    <a:pt x="0" y="3299"/>
                    <a:pt x="954" y="4253"/>
                    <a:pt x="2127" y="4253"/>
                  </a:cubicBezTo>
                  <a:cubicBezTo>
                    <a:pt x="3299" y="4253"/>
                    <a:pt x="4253" y="3299"/>
                    <a:pt x="4253" y="2127"/>
                  </a:cubicBezTo>
                  <a:cubicBezTo>
                    <a:pt x="4253" y="954"/>
                    <a:pt x="3299" y="0"/>
                    <a:pt x="2127" y="0"/>
                  </a:cubicBezTo>
                  <a:close/>
                  <a:moveTo>
                    <a:pt x="2127" y="3753"/>
                  </a:moveTo>
                  <a:cubicBezTo>
                    <a:pt x="1230" y="3753"/>
                    <a:pt x="501" y="3023"/>
                    <a:pt x="501" y="2127"/>
                  </a:cubicBezTo>
                  <a:cubicBezTo>
                    <a:pt x="501" y="1230"/>
                    <a:pt x="1230" y="501"/>
                    <a:pt x="2127" y="501"/>
                  </a:cubicBezTo>
                  <a:cubicBezTo>
                    <a:pt x="3023" y="501"/>
                    <a:pt x="3752" y="1230"/>
                    <a:pt x="3752" y="2127"/>
                  </a:cubicBezTo>
                  <a:cubicBezTo>
                    <a:pt x="3752" y="3023"/>
                    <a:pt x="3023" y="3753"/>
                    <a:pt x="2127" y="3753"/>
                  </a:cubicBezTo>
                  <a:close/>
                  <a:moveTo>
                    <a:pt x="2127" y="3753"/>
                  </a:move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66" name="Freeform 20"/>
            <p:cNvSpPr>
              <a:spLocks noEditPoints="1"/>
            </p:cNvSpPr>
            <p:nvPr/>
          </p:nvSpPr>
          <p:spPr bwMode="auto">
            <a:xfrm>
              <a:off x="1349" y="-632"/>
              <a:ext cx="271" cy="212"/>
            </a:xfrm>
            <a:custGeom>
              <a:avLst/>
              <a:gdLst>
                <a:gd name="T0" fmla="*/ 1708 w 2160"/>
                <a:gd name="T1" fmla="*/ 98 h 1690"/>
                <a:gd name="T2" fmla="*/ 720 w 2160"/>
                <a:gd name="T3" fmla="*/ 1085 h 1690"/>
                <a:gd name="T4" fmla="*/ 452 w 2160"/>
                <a:gd name="T5" fmla="*/ 817 h 1690"/>
                <a:gd name="T6" fmla="*/ 98 w 2160"/>
                <a:gd name="T7" fmla="*/ 817 h 1690"/>
                <a:gd name="T8" fmla="*/ 98 w 2160"/>
                <a:gd name="T9" fmla="*/ 1171 h 1690"/>
                <a:gd name="T10" fmla="*/ 543 w 2160"/>
                <a:gd name="T11" fmla="*/ 1616 h 1690"/>
                <a:gd name="T12" fmla="*/ 720 w 2160"/>
                <a:gd name="T13" fmla="*/ 1690 h 1690"/>
                <a:gd name="T14" fmla="*/ 897 w 2160"/>
                <a:gd name="T15" fmla="*/ 1616 h 1690"/>
                <a:gd name="T16" fmla="*/ 2062 w 2160"/>
                <a:gd name="T17" fmla="*/ 452 h 1690"/>
                <a:gd name="T18" fmla="*/ 2062 w 2160"/>
                <a:gd name="T19" fmla="*/ 98 h 1690"/>
                <a:gd name="T20" fmla="*/ 1708 w 2160"/>
                <a:gd name="T21" fmla="*/ 98 h 1690"/>
                <a:gd name="T22" fmla="*/ 1708 w 2160"/>
                <a:gd name="T23" fmla="*/ 98 h 1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60" h="1690">
                  <a:moveTo>
                    <a:pt x="1708" y="98"/>
                  </a:moveTo>
                  <a:lnTo>
                    <a:pt x="720" y="1085"/>
                  </a:lnTo>
                  <a:lnTo>
                    <a:pt x="452" y="817"/>
                  </a:lnTo>
                  <a:cubicBezTo>
                    <a:pt x="354" y="719"/>
                    <a:pt x="196" y="719"/>
                    <a:pt x="98" y="817"/>
                  </a:cubicBezTo>
                  <a:cubicBezTo>
                    <a:pt x="0" y="915"/>
                    <a:pt x="0" y="1074"/>
                    <a:pt x="98" y="1171"/>
                  </a:cubicBezTo>
                  <a:lnTo>
                    <a:pt x="543" y="1616"/>
                  </a:lnTo>
                  <a:cubicBezTo>
                    <a:pt x="592" y="1665"/>
                    <a:pt x="656" y="1690"/>
                    <a:pt x="720" y="1690"/>
                  </a:cubicBezTo>
                  <a:cubicBezTo>
                    <a:pt x="784" y="1690"/>
                    <a:pt x="848" y="1665"/>
                    <a:pt x="897" y="1616"/>
                  </a:cubicBezTo>
                  <a:lnTo>
                    <a:pt x="2062" y="452"/>
                  </a:lnTo>
                  <a:cubicBezTo>
                    <a:pt x="2160" y="354"/>
                    <a:pt x="2160" y="195"/>
                    <a:pt x="2062" y="98"/>
                  </a:cubicBezTo>
                  <a:cubicBezTo>
                    <a:pt x="1964" y="0"/>
                    <a:pt x="1806" y="0"/>
                    <a:pt x="1708" y="98"/>
                  </a:cubicBezTo>
                  <a:close/>
                  <a:moveTo>
                    <a:pt x="1708" y="98"/>
                  </a:move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67" name="Group 137"/>
          <p:cNvGrpSpPr>
            <a:grpSpLocks noChangeAspect="1"/>
          </p:cNvGrpSpPr>
          <p:nvPr/>
        </p:nvGrpSpPr>
        <p:grpSpPr bwMode="auto">
          <a:xfrm>
            <a:off x="10435813" y="3517651"/>
            <a:ext cx="544766" cy="540000"/>
            <a:chOff x="5505" y="-663"/>
            <a:chExt cx="343" cy="340"/>
          </a:xfrm>
          <a:solidFill>
            <a:schemeClr val="bg1"/>
          </a:solidFill>
        </p:grpSpPr>
        <p:sp>
          <p:nvSpPr>
            <p:cNvPr id="68" name="Freeform 138"/>
            <p:cNvSpPr>
              <a:spLocks/>
            </p:cNvSpPr>
            <p:nvPr/>
          </p:nvSpPr>
          <p:spPr bwMode="auto">
            <a:xfrm>
              <a:off x="5573" y="-550"/>
              <a:ext cx="15" cy="15"/>
            </a:xfrm>
            <a:custGeom>
              <a:avLst/>
              <a:gdLst>
                <a:gd name="T0" fmla="*/ 225 w 274"/>
                <a:gd name="T1" fmla="*/ 48 h 274"/>
                <a:gd name="T2" fmla="*/ 48 w 274"/>
                <a:gd name="T3" fmla="*/ 48 h 274"/>
                <a:gd name="T4" fmla="*/ 48 w 274"/>
                <a:gd name="T5" fmla="*/ 225 h 274"/>
                <a:gd name="T6" fmla="*/ 225 w 274"/>
                <a:gd name="T7" fmla="*/ 225 h 274"/>
                <a:gd name="T8" fmla="*/ 225 w 274"/>
                <a:gd name="T9" fmla="*/ 48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4" h="274">
                  <a:moveTo>
                    <a:pt x="225" y="48"/>
                  </a:moveTo>
                  <a:cubicBezTo>
                    <a:pt x="176" y="0"/>
                    <a:pt x="97" y="0"/>
                    <a:pt x="48" y="48"/>
                  </a:cubicBezTo>
                  <a:cubicBezTo>
                    <a:pt x="0" y="97"/>
                    <a:pt x="0" y="176"/>
                    <a:pt x="48" y="225"/>
                  </a:cubicBezTo>
                  <a:cubicBezTo>
                    <a:pt x="97" y="274"/>
                    <a:pt x="176" y="274"/>
                    <a:pt x="225" y="225"/>
                  </a:cubicBezTo>
                  <a:cubicBezTo>
                    <a:pt x="274" y="176"/>
                    <a:pt x="274" y="97"/>
                    <a:pt x="225" y="4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139"/>
            <p:cNvSpPr>
              <a:spLocks noEditPoints="1"/>
            </p:cNvSpPr>
            <p:nvPr/>
          </p:nvSpPr>
          <p:spPr bwMode="auto">
            <a:xfrm>
              <a:off x="5507" y="-403"/>
              <a:ext cx="185" cy="80"/>
            </a:xfrm>
            <a:custGeom>
              <a:avLst/>
              <a:gdLst>
                <a:gd name="T0" fmla="*/ 3165 w 3500"/>
                <a:gd name="T1" fmla="*/ 696 h 1500"/>
                <a:gd name="T2" fmla="*/ 3250 w 3500"/>
                <a:gd name="T3" fmla="*/ 437 h 1500"/>
                <a:gd name="T4" fmla="*/ 2812 w 3500"/>
                <a:gd name="T5" fmla="*/ 0 h 1500"/>
                <a:gd name="T6" fmla="*/ 687 w 3500"/>
                <a:gd name="T7" fmla="*/ 0 h 1500"/>
                <a:gd name="T8" fmla="*/ 378 w 3500"/>
                <a:gd name="T9" fmla="*/ 128 h 1500"/>
                <a:gd name="T10" fmla="*/ 250 w 3500"/>
                <a:gd name="T11" fmla="*/ 437 h 1500"/>
                <a:gd name="T12" fmla="*/ 335 w 3500"/>
                <a:gd name="T13" fmla="*/ 696 h 1500"/>
                <a:gd name="T14" fmla="*/ 0 w 3500"/>
                <a:gd name="T15" fmla="*/ 1250 h 1500"/>
                <a:gd name="T16" fmla="*/ 0 w 3500"/>
                <a:gd name="T17" fmla="*/ 1375 h 1500"/>
                <a:gd name="T18" fmla="*/ 125 w 3500"/>
                <a:gd name="T19" fmla="*/ 1500 h 1500"/>
                <a:gd name="T20" fmla="*/ 3375 w 3500"/>
                <a:gd name="T21" fmla="*/ 1500 h 1500"/>
                <a:gd name="T22" fmla="*/ 3500 w 3500"/>
                <a:gd name="T23" fmla="*/ 1375 h 1500"/>
                <a:gd name="T24" fmla="*/ 3500 w 3500"/>
                <a:gd name="T25" fmla="*/ 1250 h 1500"/>
                <a:gd name="T26" fmla="*/ 3165 w 3500"/>
                <a:gd name="T27" fmla="*/ 696 h 1500"/>
                <a:gd name="T28" fmla="*/ 555 w 3500"/>
                <a:gd name="T29" fmla="*/ 305 h 1500"/>
                <a:gd name="T30" fmla="*/ 687 w 3500"/>
                <a:gd name="T31" fmla="*/ 250 h 1500"/>
                <a:gd name="T32" fmla="*/ 2812 w 3500"/>
                <a:gd name="T33" fmla="*/ 250 h 1500"/>
                <a:gd name="T34" fmla="*/ 3000 w 3500"/>
                <a:gd name="T35" fmla="*/ 437 h 1500"/>
                <a:gd name="T36" fmla="*/ 2945 w 3500"/>
                <a:gd name="T37" fmla="*/ 570 h 1500"/>
                <a:gd name="T38" fmla="*/ 2812 w 3500"/>
                <a:gd name="T39" fmla="*/ 625 h 1500"/>
                <a:gd name="T40" fmla="*/ 687 w 3500"/>
                <a:gd name="T41" fmla="*/ 625 h 1500"/>
                <a:gd name="T42" fmla="*/ 500 w 3500"/>
                <a:gd name="T43" fmla="*/ 437 h 1500"/>
                <a:gd name="T44" fmla="*/ 555 w 3500"/>
                <a:gd name="T45" fmla="*/ 305 h 1500"/>
                <a:gd name="T46" fmla="*/ 250 w 3500"/>
                <a:gd name="T47" fmla="*/ 1250 h 1500"/>
                <a:gd name="T48" fmla="*/ 625 w 3500"/>
                <a:gd name="T49" fmla="*/ 875 h 1500"/>
                <a:gd name="T50" fmla="*/ 687 w 3500"/>
                <a:gd name="T51" fmla="*/ 875 h 1500"/>
                <a:gd name="T52" fmla="*/ 2812 w 3500"/>
                <a:gd name="T53" fmla="*/ 875 h 1500"/>
                <a:gd name="T54" fmla="*/ 2875 w 3500"/>
                <a:gd name="T55" fmla="*/ 875 h 1500"/>
                <a:gd name="T56" fmla="*/ 3250 w 3500"/>
                <a:gd name="T57" fmla="*/ 1250 h 1500"/>
                <a:gd name="T58" fmla="*/ 250 w 3500"/>
                <a:gd name="T59" fmla="*/ 1250 h 1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00" h="1500">
                  <a:moveTo>
                    <a:pt x="3165" y="696"/>
                  </a:moveTo>
                  <a:cubicBezTo>
                    <a:pt x="3220" y="622"/>
                    <a:pt x="3250" y="532"/>
                    <a:pt x="3250" y="437"/>
                  </a:cubicBezTo>
                  <a:cubicBezTo>
                    <a:pt x="3250" y="196"/>
                    <a:pt x="3054" y="0"/>
                    <a:pt x="2812" y="0"/>
                  </a:cubicBezTo>
                  <a:lnTo>
                    <a:pt x="687" y="0"/>
                  </a:lnTo>
                  <a:cubicBezTo>
                    <a:pt x="571" y="0"/>
                    <a:pt x="461" y="45"/>
                    <a:pt x="378" y="128"/>
                  </a:cubicBezTo>
                  <a:cubicBezTo>
                    <a:pt x="295" y="211"/>
                    <a:pt x="250" y="320"/>
                    <a:pt x="250" y="437"/>
                  </a:cubicBezTo>
                  <a:cubicBezTo>
                    <a:pt x="250" y="534"/>
                    <a:pt x="282" y="624"/>
                    <a:pt x="335" y="696"/>
                  </a:cubicBezTo>
                  <a:cubicBezTo>
                    <a:pt x="136" y="801"/>
                    <a:pt x="0" y="1010"/>
                    <a:pt x="0" y="1250"/>
                  </a:cubicBezTo>
                  <a:lnTo>
                    <a:pt x="0" y="1375"/>
                  </a:lnTo>
                  <a:cubicBezTo>
                    <a:pt x="0" y="1444"/>
                    <a:pt x="56" y="1500"/>
                    <a:pt x="125" y="1500"/>
                  </a:cubicBezTo>
                  <a:lnTo>
                    <a:pt x="3375" y="1500"/>
                  </a:lnTo>
                  <a:cubicBezTo>
                    <a:pt x="3444" y="1500"/>
                    <a:pt x="3500" y="1444"/>
                    <a:pt x="3500" y="1375"/>
                  </a:cubicBezTo>
                  <a:lnTo>
                    <a:pt x="3500" y="1250"/>
                  </a:lnTo>
                  <a:cubicBezTo>
                    <a:pt x="3500" y="1010"/>
                    <a:pt x="3364" y="801"/>
                    <a:pt x="3165" y="696"/>
                  </a:cubicBezTo>
                  <a:close/>
                  <a:moveTo>
                    <a:pt x="555" y="305"/>
                  </a:moveTo>
                  <a:cubicBezTo>
                    <a:pt x="590" y="269"/>
                    <a:pt x="637" y="250"/>
                    <a:pt x="687" y="250"/>
                  </a:cubicBezTo>
                  <a:lnTo>
                    <a:pt x="2812" y="250"/>
                  </a:lnTo>
                  <a:cubicBezTo>
                    <a:pt x="2916" y="250"/>
                    <a:pt x="3000" y="334"/>
                    <a:pt x="3000" y="437"/>
                  </a:cubicBezTo>
                  <a:cubicBezTo>
                    <a:pt x="3000" y="487"/>
                    <a:pt x="2980" y="535"/>
                    <a:pt x="2945" y="570"/>
                  </a:cubicBezTo>
                  <a:cubicBezTo>
                    <a:pt x="2910" y="605"/>
                    <a:pt x="2863" y="625"/>
                    <a:pt x="2812" y="625"/>
                  </a:cubicBezTo>
                  <a:lnTo>
                    <a:pt x="687" y="625"/>
                  </a:lnTo>
                  <a:cubicBezTo>
                    <a:pt x="584" y="625"/>
                    <a:pt x="500" y="541"/>
                    <a:pt x="500" y="437"/>
                  </a:cubicBezTo>
                  <a:cubicBezTo>
                    <a:pt x="500" y="387"/>
                    <a:pt x="519" y="340"/>
                    <a:pt x="555" y="305"/>
                  </a:cubicBezTo>
                  <a:close/>
                  <a:moveTo>
                    <a:pt x="250" y="1250"/>
                  </a:moveTo>
                  <a:cubicBezTo>
                    <a:pt x="250" y="1043"/>
                    <a:pt x="418" y="875"/>
                    <a:pt x="625" y="875"/>
                  </a:cubicBezTo>
                  <a:lnTo>
                    <a:pt x="687" y="875"/>
                  </a:lnTo>
                  <a:lnTo>
                    <a:pt x="2812" y="875"/>
                  </a:lnTo>
                  <a:lnTo>
                    <a:pt x="2875" y="875"/>
                  </a:lnTo>
                  <a:cubicBezTo>
                    <a:pt x="3082" y="875"/>
                    <a:pt x="3250" y="1043"/>
                    <a:pt x="3250" y="1250"/>
                  </a:cubicBezTo>
                  <a:lnTo>
                    <a:pt x="250" y="125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40"/>
            <p:cNvSpPr>
              <a:spLocks noEditPoints="1"/>
            </p:cNvSpPr>
            <p:nvPr/>
          </p:nvSpPr>
          <p:spPr bwMode="auto">
            <a:xfrm>
              <a:off x="5505" y="-663"/>
              <a:ext cx="343" cy="340"/>
            </a:xfrm>
            <a:custGeom>
              <a:avLst/>
              <a:gdLst>
                <a:gd name="T0" fmla="*/ 6181 w 6487"/>
                <a:gd name="T1" fmla="*/ 5079 h 6400"/>
                <a:gd name="T2" fmla="*/ 5581 w 6487"/>
                <a:gd name="T3" fmla="*/ 4550 h 6400"/>
                <a:gd name="T4" fmla="*/ 5194 w 6487"/>
                <a:gd name="T5" fmla="*/ 4218 h 6400"/>
                <a:gd name="T6" fmla="*/ 3663 w 6487"/>
                <a:gd name="T7" fmla="*/ 2533 h 6400"/>
                <a:gd name="T8" fmla="*/ 3449 w 6487"/>
                <a:gd name="T9" fmla="*/ 2195 h 6400"/>
                <a:gd name="T10" fmla="*/ 3730 w 6487"/>
                <a:gd name="T11" fmla="*/ 2060 h 6400"/>
                <a:gd name="T12" fmla="*/ 4230 w 6487"/>
                <a:gd name="T13" fmla="*/ 1561 h 6400"/>
                <a:gd name="T14" fmla="*/ 3023 w 6487"/>
                <a:gd name="T15" fmla="*/ 147 h 6400"/>
                <a:gd name="T16" fmla="*/ 2316 w 6487"/>
                <a:gd name="T17" fmla="*/ 147 h 6400"/>
                <a:gd name="T18" fmla="*/ 677 w 6487"/>
                <a:gd name="T19" fmla="*/ 2138 h 6400"/>
                <a:gd name="T20" fmla="*/ 194 w 6487"/>
                <a:gd name="T21" fmla="*/ 2268 h 6400"/>
                <a:gd name="T22" fmla="*/ 1255 w 6487"/>
                <a:gd name="T23" fmla="*/ 4035 h 6400"/>
                <a:gd name="T24" fmla="*/ 1962 w 6487"/>
                <a:gd name="T25" fmla="*/ 4035 h 6400"/>
                <a:gd name="T26" fmla="*/ 2242 w 6487"/>
                <a:gd name="T27" fmla="*/ 3402 h 6400"/>
                <a:gd name="T28" fmla="*/ 2581 w 6487"/>
                <a:gd name="T29" fmla="*/ 3615 h 6400"/>
                <a:gd name="T30" fmla="*/ 4581 w 6487"/>
                <a:gd name="T31" fmla="*/ 5512 h 6400"/>
                <a:gd name="T32" fmla="*/ 4605 w 6487"/>
                <a:gd name="T33" fmla="*/ 5540 h 6400"/>
                <a:gd name="T34" fmla="*/ 5165 w 6487"/>
                <a:gd name="T35" fmla="*/ 6180 h 6400"/>
                <a:gd name="T36" fmla="*/ 5798 w 6487"/>
                <a:gd name="T37" fmla="*/ 6393 h 6400"/>
                <a:gd name="T38" fmla="*/ 6332 w 6487"/>
                <a:gd name="T39" fmla="*/ 5252 h 6400"/>
                <a:gd name="T40" fmla="*/ 2669 w 6487"/>
                <a:gd name="T41" fmla="*/ 250 h 6400"/>
                <a:gd name="T42" fmla="*/ 3907 w 6487"/>
                <a:gd name="T43" fmla="*/ 1384 h 6400"/>
                <a:gd name="T44" fmla="*/ 3907 w 6487"/>
                <a:gd name="T45" fmla="*/ 1737 h 6400"/>
                <a:gd name="T46" fmla="*/ 2493 w 6487"/>
                <a:gd name="T47" fmla="*/ 677 h 6400"/>
                <a:gd name="T48" fmla="*/ 2492 w 6487"/>
                <a:gd name="T49" fmla="*/ 323 h 6400"/>
                <a:gd name="T50" fmla="*/ 1432 w 6487"/>
                <a:gd name="T51" fmla="*/ 3859 h 6400"/>
                <a:gd name="T52" fmla="*/ 371 w 6487"/>
                <a:gd name="T53" fmla="*/ 2444 h 6400"/>
                <a:gd name="T54" fmla="*/ 725 w 6487"/>
                <a:gd name="T55" fmla="*/ 2444 h 6400"/>
                <a:gd name="T56" fmla="*/ 1785 w 6487"/>
                <a:gd name="T57" fmla="*/ 3859 h 6400"/>
                <a:gd name="T58" fmla="*/ 1962 w 6487"/>
                <a:gd name="T59" fmla="*/ 3328 h 6400"/>
                <a:gd name="T60" fmla="*/ 2316 w 6487"/>
                <a:gd name="T61" fmla="*/ 854 h 6400"/>
                <a:gd name="T62" fmla="*/ 3026 w 6487"/>
                <a:gd name="T63" fmla="*/ 2264 h 6400"/>
                <a:gd name="T64" fmla="*/ 2316 w 6487"/>
                <a:gd name="T65" fmla="*/ 2974 h 6400"/>
                <a:gd name="T66" fmla="*/ 2758 w 6487"/>
                <a:gd name="T67" fmla="*/ 3240 h 6400"/>
                <a:gd name="T68" fmla="*/ 2669 w 6487"/>
                <a:gd name="T69" fmla="*/ 3328 h 6400"/>
                <a:gd name="T70" fmla="*/ 2492 w 6487"/>
                <a:gd name="T71" fmla="*/ 3328 h 6400"/>
                <a:gd name="T72" fmla="*/ 2491 w 6487"/>
                <a:gd name="T73" fmla="*/ 3153 h 6400"/>
                <a:gd name="T74" fmla="*/ 3376 w 6487"/>
                <a:gd name="T75" fmla="*/ 2444 h 6400"/>
                <a:gd name="T76" fmla="*/ 3376 w 6487"/>
                <a:gd name="T77" fmla="*/ 2621 h 6400"/>
                <a:gd name="T78" fmla="*/ 3287 w 6487"/>
                <a:gd name="T79" fmla="*/ 2711 h 6400"/>
                <a:gd name="T80" fmla="*/ 3017 w 6487"/>
                <a:gd name="T81" fmla="*/ 3334 h 6400"/>
                <a:gd name="T82" fmla="*/ 4929 w 6487"/>
                <a:gd name="T83" fmla="*/ 4318 h 6400"/>
                <a:gd name="T84" fmla="*/ 3017 w 6487"/>
                <a:gd name="T85" fmla="*/ 3334 h 6400"/>
                <a:gd name="T86" fmla="*/ 5118 w 6487"/>
                <a:gd name="T87" fmla="*/ 4483 h 6400"/>
                <a:gd name="T88" fmla="*/ 4694 w 6487"/>
                <a:gd name="T89" fmla="*/ 5261 h 6400"/>
                <a:gd name="T90" fmla="*/ 6138 w 6487"/>
                <a:gd name="T91" fmla="*/ 5884 h 6400"/>
                <a:gd name="T92" fmla="*/ 5341 w 6487"/>
                <a:gd name="T93" fmla="*/ 6003 h 6400"/>
                <a:gd name="T94" fmla="*/ 5313 w 6487"/>
                <a:gd name="T95" fmla="*/ 5972 h 6400"/>
                <a:gd name="T96" fmla="*/ 5495 w 6487"/>
                <a:gd name="T97" fmla="*/ 4812 h 6400"/>
                <a:gd name="T98" fmla="*/ 6019 w 6487"/>
                <a:gd name="T99" fmla="*/ 5269 h 6400"/>
                <a:gd name="T100" fmla="*/ 6138 w 6487"/>
                <a:gd name="T101" fmla="*/ 5884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87" h="6400">
                  <a:moveTo>
                    <a:pt x="6332" y="5252"/>
                  </a:moveTo>
                  <a:cubicBezTo>
                    <a:pt x="6289" y="5186"/>
                    <a:pt x="6239" y="5128"/>
                    <a:pt x="6181" y="5079"/>
                  </a:cubicBezTo>
                  <a:lnTo>
                    <a:pt x="5597" y="4569"/>
                  </a:lnTo>
                  <a:cubicBezTo>
                    <a:pt x="5592" y="4562"/>
                    <a:pt x="5587" y="4556"/>
                    <a:pt x="5581" y="4550"/>
                  </a:cubicBezTo>
                  <a:cubicBezTo>
                    <a:pt x="5571" y="4540"/>
                    <a:pt x="5560" y="4532"/>
                    <a:pt x="5547" y="4526"/>
                  </a:cubicBezTo>
                  <a:lnTo>
                    <a:pt x="5194" y="4218"/>
                  </a:lnTo>
                  <a:lnTo>
                    <a:pt x="3559" y="2792"/>
                  </a:lnTo>
                  <a:cubicBezTo>
                    <a:pt x="3626" y="2722"/>
                    <a:pt x="3663" y="2630"/>
                    <a:pt x="3663" y="2533"/>
                  </a:cubicBezTo>
                  <a:cubicBezTo>
                    <a:pt x="3663" y="2433"/>
                    <a:pt x="3624" y="2339"/>
                    <a:pt x="3553" y="2268"/>
                  </a:cubicBezTo>
                  <a:cubicBezTo>
                    <a:pt x="3522" y="2237"/>
                    <a:pt x="3487" y="2212"/>
                    <a:pt x="3449" y="2195"/>
                  </a:cubicBezTo>
                  <a:lnTo>
                    <a:pt x="3601" y="2043"/>
                  </a:lnTo>
                  <a:cubicBezTo>
                    <a:pt x="3643" y="2055"/>
                    <a:pt x="3686" y="2060"/>
                    <a:pt x="3730" y="2060"/>
                  </a:cubicBezTo>
                  <a:cubicBezTo>
                    <a:pt x="3858" y="2060"/>
                    <a:pt x="3986" y="2012"/>
                    <a:pt x="4083" y="1914"/>
                  </a:cubicBezTo>
                  <a:cubicBezTo>
                    <a:pt x="4178" y="1820"/>
                    <a:pt x="4230" y="1694"/>
                    <a:pt x="4230" y="1561"/>
                  </a:cubicBezTo>
                  <a:cubicBezTo>
                    <a:pt x="4230" y="1427"/>
                    <a:pt x="4178" y="1302"/>
                    <a:pt x="4083" y="1207"/>
                  </a:cubicBezTo>
                  <a:lnTo>
                    <a:pt x="3023" y="147"/>
                  </a:lnTo>
                  <a:cubicBezTo>
                    <a:pt x="2928" y="52"/>
                    <a:pt x="2803" y="0"/>
                    <a:pt x="2669" y="0"/>
                  </a:cubicBezTo>
                  <a:cubicBezTo>
                    <a:pt x="2536" y="0"/>
                    <a:pt x="2410" y="52"/>
                    <a:pt x="2316" y="147"/>
                  </a:cubicBezTo>
                  <a:cubicBezTo>
                    <a:pt x="2185" y="277"/>
                    <a:pt x="2142" y="462"/>
                    <a:pt x="2186" y="629"/>
                  </a:cubicBezTo>
                  <a:lnTo>
                    <a:pt x="677" y="2138"/>
                  </a:lnTo>
                  <a:cubicBezTo>
                    <a:pt x="636" y="2127"/>
                    <a:pt x="592" y="2121"/>
                    <a:pt x="548" y="2121"/>
                  </a:cubicBezTo>
                  <a:cubicBezTo>
                    <a:pt x="414" y="2121"/>
                    <a:pt x="289" y="2173"/>
                    <a:pt x="194" y="2268"/>
                  </a:cubicBezTo>
                  <a:cubicBezTo>
                    <a:pt x="0" y="2463"/>
                    <a:pt x="0" y="2780"/>
                    <a:pt x="194" y="2975"/>
                  </a:cubicBezTo>
                  <a:lnTo>
                    <a:pt x="1255" y="4035"/>
                  </a:lnTo>
                  <a:cubicBezTo>
                    <a:pt x="1353" y="4133"/>
                    <a:pt x="1481" y="4182"/>
                    <a:pt x="1609" y="4182"/>
                  </a:cubicBezTo>
                  <a:cubicBezTo>
                    <a:pt x="1737" y="4182"/>
                    <a:pt x="1865" y="4133"/>
                    <a:pt x="1962" y="4035"/>
                  </a:cubicBezTo>
                  <a:cubicBezTo>
                    <a:pt x="2093" y="3905"/>
                    <a:pt x="2136" y="3719"/>
                    <a:pt x="2091" y="3553"/>
                  </a:cubicBezTo>
                  <a:lnTo>
                    <a:pt x="2242" y="3402"/>
                  </a:lnTo>
                  <a:cubicBezTo>
                    <a:pt x="2260" y="3440"/>
                    <a:pt x="2285" y="3475"/>
                    <a:pt x="2316" y="3505"/>
                  </a:cubicBezTo>
                  <a:cubicBezTo>
                    <a:pt x="2386" y="3576"/>
                    <a:pt x="2481" y="3615"/>
                    <a:pt x="2581" y="3615"/>
                  </a:cubicBezTo>
                  <a:cubicBezTo>
                    <a:pt x="2678" y="3615"/>
                    <a:pt x="2769" y="3578"/>
                    <a:pt x="2840" y="3511"/>
                  </a:cubicBezTo>
                  <a:lnTo>
                    <a:pt x="4581" y="5512"/>
                  </a:lnTo>
                  <a:cubicBezTo>
                    <a:pt x="4586" y="5520"/>
                    <a:pt x="4591" y="5527"/>
                    <a:pt x="4598" y="5533"/>
                  </a:cubicBezTo>
                  <a:cubicBezTo>
                    <a:pt x="4600" y="5535"/>
                    <a:pt x="4602" y="5537"/>
                    <a:pt x="4605" y="5540"/>
                  </a:cubicBezTo>
                  <a:lnTo>
                    <a:pt x="5124" y="6136"/>
                  </a:lnTo>
                  <a:cubicBezTo>
                    <a:pt x="5137" y="6151"/>
                    <a:pt x="5150" y="6166"/>
                    <a:pt x="5165" y="6180"/>
                  </a:cubicBezTo>
                  <a:cubicBezTo>
                    <a:pt x="5307" y="6323"/>
                    <a:pt x="5495" y="6400"/>
                    <a:pt x="5693" y="6400"/>
                  </a:cubicBezTo>
                  <a:cubicBezTo>
                    <a:pt x="5728" y="6400"/>
                    <a:pt x="5763" y="6398"/>
                    <a:pt x="5798" y="6393"/>
                  </a:cubicBezTo>
                  <a:cubicBezTo>
                    <a:pt x="6034" y="6360"/>
                    <a:pt x="6237" y="6219"/>
                    <a:pt x="6356" y="6006"/>
                  </a:cubicBezTo>
                  <a:cubicBezTo>
                    <a:pt x="6487" y="5773"/>
                    <a:pt x="6477" y="5477"/>
                    <a:pt x="6332" y="5252"/>
                  </a:cubicBezTo>
                  <a:close/>
                  <a:moveTo>
                    <a:pt x="2492" y="323"/>
                  </a:moveTo>
                  <a:cubicBezTo>
                    <a:pt x="2540" y="276"/>
                    <a:pt x="2602" y="250"/>
                    <a:pt x="2669" y="250"/>
                  </a:cubicBezTo>
                  <a:cubicBezTo>
                    <a:pt x="2736" y="250"/>
                    <a:pt x="2799" y="276"/>
                    <a:pt x="2846" y="323"/>
                  </a:cubicBezTo>
                  <a:lnTo>
                    <a:pt x="3907" y="1384"/>
                  </a:lnTo>
                  <a:cubicBezTo>
                    <a:pt x="3954" y="1431"/>
                    <a:pt x="3980" y="1494"/>
                    <a:pt x="3980" y="1561"/>
                  </a:cubicBezTo>
                  <a:cubicBezTo>
                    <a:pt x="3980" y="1627"/>
                    <a:pt x="3954" y="1690"/>
                    <a:pt x="3907" y="1737"/>
                  </a:cubicBezTo>
                  <a:cubicBezTo>
                    <a:pt x="3809" y="1835"/>
                    <a:pt x="3651" y="1835"/>
                    <a:pt x="3553" y="1737"/>
                  </a:cubicBezTo>
                  <a:lnTo>
                    <a:pt x="2493" y="677"/>
                  </a:lnTo>
                  <a:lnTo>
                    <a:pt x="2492" y="677"/>
                  </a:lnTo>
                  <a:cubicBezTo>
                    <a:pt x="2395" y="579"/>
                    <a:pt x="2395" y="421"/>
                    <a:pt x="2492" y="323"/>
                  </a:cubicBezTo>
                  <a:close/>
                  <a:moveTo>
                    <a:pt x="1785" y="3859"/>
                  </a:moveTo>
                  <a:cubicBezTo>
                    <a:pt x="1688" y="3956"/>
                    <a:pt x="1529" y="3956"/>
                    <a:pt x="1432" y="3859"/>
                  </a:cubicBezTo>
                  <a:lnTo>
                    <a:pt x="371" y="2798"/>
                  </a:lnTo>
                  <a:cubicBezTo>
                    <a:pt x="274" y="2701"/>
                    <a:pt x="274" y="2542"/>
                    <a:pt x="371" y="2444"/>
                  </a:cubicBezTo>
                  <a:cubicBezTo>
                    <a:pt x="418" y="2397"/>
                    <a:pt x="481" y="2371"/>
                    <a:pt x="548" y="2371"/>
                  </a:cubicBezTo>
                  <a:cubicBezTo>
                    <a:pt x="615" y="2371"/>
                    <a:pt x="678" y="2397"/>
                    <a:pt x="725" y="2444"/>
                  </a:cubicBezTo>
                  <a:lnTo>
                    <a:pt x="1785" y="3505"/>
                  </a:lnTo>
                  <a:cubicBezTo>
                    <a:pt x="1883" y="3603"/>
                    <a:pt x="1883" y="3761"/>
                    <a:pt x="1785" y="3859"/>
                  </a:cubicBezTo>
                  <a:close/>
                  <a:moveTo>
                    <a:pt x="2312" y="2979"/>
                  </a:moveTo>
                  <a:lnTo>
                    <a:pt x="1962" y="3328"/>
                  </a:lnTo>
                  <a:lnTo>
                    <a:pt x="901" y="2268"/>
                  </a:lnTo>
                  <a:lnTo>
                    <a:pt x="2316" y="854"/>
                  </a:lnTo>
                  <a:lnTo>
                    <a:pt x="3376" y="1914"/>
                  </a:lnTo>
                  <a:lnTo>
                    <a:pt x="3026" y="2264"/>
                  </a:lnTo>
                  <a:cubicBezTo>
                    <a:pt x="3025" y="2265"/>
                    <a:pt x="3024" y="2266"/>
                    <a:pt x="3023" y="2268"/>
                  </a:cubicBezTo>
                  <a:lnTo>
                    <a:pt x="2316" y="2974"/>
                  </a:lnTo>
                  <a:cubicBezTo>
                    <a:pt x="2315" y="2976"/>
                    <a:pt x="2313" y="2977"/>
                    <a:pt x="2312" y="2979"/>
                  </a:cubicBezTo>
                  <a:close/>
                  <a:moveTo>
                    <a:pt x="2758" y="3240"/>
                  </a:moveTo>
                  <a:lnTo>
                    <a:pt x="2757" y="3240"/>
                  </a:lnTo>
                  <a:lnTo>
                    <a:pt x="2669" y="3328"/>
                  </a:lnTo>
                  <a:cubicBezTo>
                    <a:pt x="2646" y="3352"/>
                    <a:pt x="2614" y="3365"/>
                    <a:pt x="2581" y="3365"/>
                  </a:cubicBezTo>
                  <a:cubicBezTo>
                    <a:pt x="2547" y="3365"/>
                    <a:pt x="2516" y="3352"/>
                    <a:pt x="2492" y="3328"/>
                  </a:cubicBezTo>
                  <a:cubicBezTo>
                    <a:pt x="2469" y="3305"/>
                    <a:pt x="2456" y="3273"/>
                    <a:pt x="2456" y="3240"/>
                  </a:cubicBezTo>
                  <a:cubicBezTo>
                    <a:pt x="2456" y="3207"/>
                    <a:pt x="2468" y="3176"/>
                    <a:pt x="2491" y="3153"/>
                  </a:cubicBezTo>
                  <a:lnTo>
                    <a:pt x="3201" y="2443"/>
                  </a:lnTo>
                  <a:cubicBezTo>
                    <a:pt x="3250" y="2396"/>
                    <a:pt x="3328" y="2396"/>
                    <a:pt x="3376" y="2444"/>
                  </a:cubicBezTo>
                  <a:cubicBezTo>
                    <a:pt x="3400" y="2468"/>
                    <a:pt x="3413" y="2499"/>
                    <a:pt x="3413" y="2533"/>
                  </a:cubicBezTo>
                  <a:cubicBezTo>
                    <a:pt x="3413" y="2566"/>
                    <a:pt x="3400" y="2598"/>
                    <a:pt x="3376" y="2621"/>
                  </a:cubicBezTo>
                  <a:lnTo>
                    <a:pt x="3289" y="2709"/>
                  </a:lnTo>
                  <a:cubicBezTo>
                    <a:pt x="3288" y="2709"/>
                    <a:pt x="3288" y="2710"/>
                    <a:pt x="3287" y="2711"/>
                  </a:cubicBezTo>
                  <a:lnTo>
                    <a:pt x="2758" y="3240"/>
                  </a:lnTo>
                  <a:close/>
                  <a:moveTo>
                    <a:pt x="3017" y="3334"/>
                  </a:moveTo>
                  <a:lnTo>
                    <a:pt x="3382" y="2969"/>
                  </a:lnTo>
                  <a:lnTo>
                    <a:pt x="4929" y="4318"/>
                  </a:lnTo>
                  <a:lnTo>
                    <a:pt x="4365" y="4883"/>
                  </a:lnTo>
                  <a:lnTo>
                    <a:pt x="3017" y="3334"/>
                  </a:lnTo>
                  <a:close/>
                  <a:moveTo>
                    <a:pt x="4529" y="5072"/>
                  </a:moveTo>
                  <a:lnTo>
                    <a:pt x="5118" y="4483"/>
                  </a:lnTo>
                  <a:lnTo>
                    <a:pt x="5307" y="4648"/>
                  </a:lnTo>
                  <a:lnTo>
                    <a:pt x="4694" y="5261"/>
                  </a:lnTo>
                  <a:lnTo>
                    <a:pt x="4529" y="5072"/>
                  </a:lnTo>
                  <a:close/>
                  <a:moveTo>
                    <a:pt x="6138" y="5884"/>
                  </a:moveTo>
                  <a:cubicBezTo>
                    <a:pt x="6058" y="6028"/>
                    <a:pt x="5921" y="6123"/>
                    <a:pt x="5764" y="6145"/>
                  </a:cubicBezTo>
                  <a:cubicBezTo>
                    <a:pt x="5607" y="6167"/>
                    <a:pt x="5453" y="6115"/>
                    <a:pt x="5341" y="6003"/>
                  </a:cubicBezTo>
                  <a:cubicBezTo>
                    <a:pt x="5332" y="5994"/>
                    <a:pt x="5323" y="5984"/>
                    <a:pt x="5314" y="5974"/>
                  </a:cubicBezTo>
                  <a:cubicBezTo>
                    <a:pt x="5314" y="5973"/>
                    <a:pt x="5313" y="5973"/>
                    <a:pt x="5313" y="5972"/>
                  </a:cubicBezTo>
                  <a:lnTo>
                    <a:pt x="4858" y="5450"/>
                  </a:lnTo>
                  <a:lnTo>
                    <a:pt x="5495" y="4812"/>
                  </a:lnTo>
                  <a:lnTo>
                    <a:pt x="6017" y="5268"/>
                  </a:lnTo>
                  <a:cubicBezTo>
                    <a:pt x="6018" y="5268"/>
                    <a:pt x="6018" y="5268"/>
                    <a:pt x="6019" y="5269"/>
                  </a:cubicBezTo>
                  <a:cubicBezTo>
                    <a:pt x="6058" y="5302"/>
                    <a:pt x="6092" y="5342"/>
                    <a:pt x="6122" y="5387"/>
                  </a:cubicBezTo>
                  <a:cubicBezTo>
                    <a:pt x="6216" y="5533"/>
                    <a:pt x="6223" y="5733"/>
                    <a:pt x="6138" y="588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41"/>
            <p:cNvSpPr>
              <a:spLocks/>
            </p:cNvSpPr>
            <p:nvPr/>
          </p:nvSpPr>
          <p:spPr bwMode="auto">
            <a:xfrm>
              <a:off x="5592" y="-597"/>
              <a:ext cx="42" cy="42"/>
            </a:xfrm>
            <a:custGeom>
              <a:avLst/>
              <a:gdLst>
                <a:gd name="T0" fmla="*/ 756 w 805"/>
                <a:gd name="T1" fmla="*/ 48 h 792"/>
                <a:gd name="T2" fmla="*/ 579 w 805"/>
                <a:gd name="T3" fmla="*/ 48 h 792"/>
                <a:gd name="T4" fmla="*/ 49 w 805"/>
                <a:gd name="T5" fmla="*/ 579 h 792"/>
                <a:gd name="T6" fmla="*/ 49 w 805"/>
                <a:gd name="T7" fmla="*/ 756 h 792"/>
                <a:gd name="T8" fmla="*/ 137 w 805"/>
                <a:gd name="T9" fmla="*/ 792 h 792"/>
                <a:gd name="T10" fmla="*/ 226 w 805"/>
                <a:gd name="T11" fmla="*/ 756 h 792"/>
                <a:gd name="T12" fmla="*/ 756 w 805"/>
                <a:gd name="T13" fmla="*/ 225 h 792"/>
                <a:gd name="T14" fmla="*/ 756 w 805"/>
                <a:gd name="T15" fmla="*/ 48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5" h="792">
                  <a:moveTo>
                    <a:pt x="756" y="48"/>
                  </a:moveTo>
                  <a:cubicBezTo>
                    <a:pt x="707" y="0"/>
                    <a:pt x="628" y="0"/>
                    <a:pt x="579" y="48"/>
                  </a:cubicBezTo>
                  <a:lnTo>
                    <a:pt x="49" y="579"/>
                  </a:lnTo>
                  <a:cubicBezTo>
                    <a:pt x="0" y="628"/>
                    <a:pt x="0" y="707"/>
                    <a:pt x="49" y="756"/>
                  </a:cubicBezTo>
                  <a:cubicBezTo>
                    <a:pt x="73" y="780"/>
                    <a:pt x="105" y="792"/>
                    <a:pt x="137" y="792"/>
                  </a:cubicBezTo>
                  <a:cubicBezTo>
                    <a:pt x="169" y="792"/>
                    <a:pt x="201" y="780"/>
                    <a:pt x="226" y="756"/>
                  </a:cubicBezTo>
                  <a:lnTo>
                    <a:pt x="756" y="225"/>
                  </a:lnTo>
                  <a:cubicBezTo>
                    <a:pt x="805" y="176"/>
                    <a:pt x="805" y="97"/>
                    <a:pt x="756" y="4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2" name="Group 144"/>
          <p:cNvGrpSpPr>
            <a:grpSpLocks noChangeAspect="1"/>
          </p:cNvGrpSpPr>
          <p:nvPr/>
        </p:nvGrpSpPr>
        <p:grpSpPr bwMode="auto">
          <a:xfrm>
            <a:off x="5904907" y="5114589"/>
            <a:ext cx="382186" cy="713975"/>
            <a:chOff x="1931" y="-1224"/>
            <a:chExt cx="182" cy="340"/>
          </a:xfrm>
          <a:solidFill>
            <a:schemeClr val="bg1"/>
          </a:solidFill>
        </p:grpSpPr>
        <p:sp>
          <p:nvSpPr>
            <p:cNvPr id="73" name="Freeform 145"/>
            <p:cNvSpPr>
              <a:spLocks noEditPoints="1"/>
            </p:cNvSpPr>
            <p:nvPr/>
          </p:nvSpPr>
          <p:spPr bwMode="auto">
            <a:xfrm>
              <a:off x="1931" y="-1224"/>
              <a:ext cx="182" cy="340"/>
            </a:xfrm>
            <a:custGeom>
              <a:avLst/>
              <a:gdLst>
                <a:gd name="T0" fmla="*/ 2700 w 3200"/>
                <a:gd name="T1" fmla="*/ 0 h 6000"/>
                <a:gd name="T2" fmla="*/ 500 w 3200"/>
                <a:gd name="T3" fmla="*/ 0 h 6000"/>
                <a:gd name="T4" fmla="*/ 0 w 3200"/>
                <a:gd name="T5" fmla="*/ 500 h 6000"/>
                <a:gd name="T6" fmla="*/ 0 w 3200"/>
                <a:gd name="T7" fmla="*/ 5500 h 6000"/>
                <a:gd name="T8" fmla="*/ 500 w 3200"/>
                <a:gd name="T9" fmla="*/ 6000 h 6000"/>
                <a:gd name="T10" fmla="*/ 2700 w 3200"/>
                <a:gd name="T11" fmla="*/ 6000 h 6000"/>
                <a:gd name="T12" fmla="*/ 3200 w 3200"/>
                <a:gd name="T13" fmla="*/ 5500 h 6000"/>
                <a:gd name="T14" fmla="*/ 3200 w 3200"/>
                <a:gd name="T15" fmla="*/ 500 h 6000"/>
                <a:gd name="T16" fmla="*/ 2700 w 3200"/>
                <a:gd name="T17" fmla="*/ 0 h 6000"/>
                <a:gd name="T18" fmla="*/ 1203 w 3200"/>
                <a:gd name="T19" fmla="*/ 5800 h 6000"/>
                <a:gd name="T20" fmla="*/ 500 w 3200"/>
                <a:gd name="T21" fmla="*/ 5800 h 6000"/>
                <a:gd name="T22" fmla="*/ 200 w 3200"/>
                <a:gd name="T23" fmla="*/ 5500 h 6000"/>
                <a:gd name="T24" fmla="*/ 200 w 3200"/>
                <a:gd name="T25" fmla="*/ 5200 h 6000"/>
                <a:gd name="T26" fmla="*/ 1203 w 3200"/>
                <a:gd name="T27" fmla="*/ 5200 h 6000"/>
                <a:gd name="T28" fmla="*/ 1203 w 3200"/>
                <a:gd name="T29" fmla="*/ 5800 h 6000"/>
                <a:gd name="T30" fmla="*/ 1600 w 3200"/>
                <a:gd name="T31" fmla="*/ 5800 h 6000"/>
                <a:gd name="T32" fmla="*/ 1300 w 3200"/>
                <a:gd name="T33" fmla="*/ 5500 h 6000"/>
                <a:gd name="T34" fmla="*/ 1600 w 3200"/>
                <a:gd name="T35" fmla="*/ 5200 h 6000"/>
                <a:gd name="T36" fmla="*/ 1900 w 3200"/>
                <a:gd name="T37" fmla="*/ 5500 h 6000"/>
                <a:gd name="T38" fmla="*/ 1600 w 3200"/>
                <a:gd name="T39" fmla="*/ 5800 h 6000"/>
                <a:gd name="T40" fmla="*/ 3000 w 3200"/>
                <a:gd name="T41" fmla="*/ 5500 h 6000"/>
                <a:gd name="T42" fmla="*/ 2700 w 3200"/>
                <a:gd name="T43" fmla="*/ 5800 h 6000"/>
                <a:gd name="T44" fmla="*/ 1997 w 3200"/>
                <a:gd name="T45" fmla="*/ 5800 h 6000"/>
                <a:gd name="T46" fmla="*/ 1997 w 3200"/>
                <a:gd name="T47" fmla="*/ 5200 h 6000"/>
                <a:gd name="T48" fmla="*/ 3000 w 3200"/>
                <a:gd name="T49" fmla="*/ 5200 h 6000"/>
                <a:gd name="T50" fmla="*/ 3000 w 3200"/>
                <a:gd name="T51" fmla="*/ 5500 h 6000"/>
                <a:gd name="T52" fmla="*/ 3000 w 3200"/>
                <a:gd name="T53" fmla="*/ 5000 h 6000"/>
                <a:gd name="T54" fmla="*/ 200 w 3200"/>
                <a:gd name="T55" fmla="*/ 5000 h 6000"/>
                <a:gd name="T56" fmla="*/ 200 w 3200"/>
                <a:gd name="T57" fmla="*/ 1100 h 6000"/>
                <a:gd name="T58" fmla="*/ 3000 w 3200"/>
                <a:gd name="T59" fmla="*/ 1100 h 6000"/>
                <a:gd name="T60" fmla="*/ 3000 w 3200"/>
                <a:gd name="T61" fmla="*/ 5000 h 6000"/>
                <a:gd name="T62" fmla="*/ 3000 w 3200"/>
                <a:gd name="T63" fmla="*/ 900 h 6000"/>
                <a:gd name="T64" fmla="*/ 200 w 3200"/>
                <a:gd name="T65" fmla="*/ 900 h 6000"/>
                <a:gd name="T66" fmla="*/ 200 w 3200"/>
                <a:gd name="T67" fmla="*/ 500 h 6000"/>
                <a:gd name="T68" fmla="*/ 500 w 3200"/>
                <a:gd name="T69" fmla="*/ 200 h 6000"/>
                <a:gd name="T70" fmla="*/ 2700 w 3200"/>
                <a:gd name="T71" fmla="*/ 200 h 6000"/>
                <a:gd name="T72" fmla="*/ 3000 w 3200"/>
                <a:gd name="T73" fmla="*/ 500 h 6000"/>
                <a:gd name="T74" fmla="*/ 3000 w 3200"/>
                <a:gd name="T75" fmla="*/ 900 h 6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00" h="6000">
                  <a:moveTo>
                    <a:pt x="2700" y="0"/>
                  </a:moveTo>
                  <a:lnTo>
                    <a:pt x="500" y="0"/>
                  </a:lnTo>
                  <a:cubicBezTo>
                    <a:pt x="224" y="0"/>
                    <a:pt x="0" y="224"/>
                    <a:pt x="0" y="500"/>
                  </a:cubicBezTo>
                  <a:lnTo>
                    <a:pt x="0" y="5500"/>
                  </a:lnTo>
                  <a:cubicBezTo>
                    <a:pt x="0" y="5776"/>
                    <a:pt x="224" y="6000"/>
                    <a:pt x="500" y="6000"/>
                  </a:cubicBezTo>
                  <a:lnTo>
                    <a:pt x="2700" y="6000"/>
                  </a:lnTo>
                  <a:cubicBezTo>
                    <a:pt x="2976" y="6000"/>
                    <a:pt x="3200" y="5776"/>
                    <a:pt x="3200" y="5500"/>
                  </a:cubicBezTo>
                  <a:lnTo>
                    <a:pt x="3200" y="500"/>
                  </a:lnTo>
                  <a:cubicBezTo>
                    <a:pt x="3200" y="224"/>
                    <a:pt x="2976" y="0"/>
                    <a:pt x="2700" y="0"/>
                  </a:cubicBezTo>
                  <a:close/>
                  <a:moveTo>
                    <a:pt x="1203" y="5800"/>
                  </a:moveTo>
                  <a:lnTo>
                    <a:pt x="500" y="5800"/>
                  </a:lnTo>
                  <a:cubicBezTo>
                    <a:pt x="334" y="5800"/>
                    <a:pt x="200" y="5666"/>
                    <a:pt x="200" y="5500"/>
                  </a:cubicBezTo>
                  <a:lnTo>
                    <a:pt x="200" y="5200"/>
                  </a:lnTo>
                  <a:lnTo>
                    <a:pt x="1203" y="5200"/>
                  </a:lnTo>
                  <a:cubicBezTo>
                    <a:pt x="1066" y="5377"/>
                    <a:pt x="1066" y="5623"/>
                    <a:pt x="1203" y="5800"/>
                  </a:cubicBezTo>
                  <a:close/>
                  <a:moveTo>
                    <a:pt x="1600" y="5800"/>
                  </a:moveTo>
                  <a:cubicBezTo>
                    <a:pt x="1434" y="5800"/>
                    <a:pt x="1300" y="5666"/>
                    <a:pt x="1300" y="5500"/>
                  </a:cubicBezTo>
                  <a:cubicBezTo>
                    <a:pt x="1300" y="5334"/>
                    <a:pt x="1434" y="5200"/>
                    <a:pt x="1600" y="5200"/>
                  </a:cubicBezTo>
                  <a:cubicBezTo>
                    <a:pt x="1766" y="5200"/>
                    <a:pt x="1900" y="5334"/>
                    <a:pt x="1900" y="5500"/>
                  </a:cubicBezTo>
                  <a:cubicBezTo>
                    <a:pt x="1900" y="5666"/>
                    <a:pt x="1766" y="5800"/>
                    <a:pt x="1600" y="5800"/>
                  </a:cubicBezTo>
                  <a:close/>
                  <a:moveTo>
                    <a:pt x="3000" y="5500"/>
                  </a:moveTo>
                  <a:cubicBezTo>
                    <a:pt x="3000" y="5666"/>
                    <a:pt x="2866" y="5800"/>
                    <a:pt x="2700" y="5800"/>
                  </a:cubicBezTo>
                  <a:lnTo>
                    <a:pt x="1997" y="5800"/>
                  </a:lnTo>
                  <a:cubicBezTo>
                    <a:pt x="2134" y="5623"/>
                    <a:pt x="2134" y="5377"/>
                    <a:pt x="1997" y="5200"/>
                  </a:cubicBezTo>
                  <a:lnTo>
                    <a:pt x="3000" y="5200"/>
                  </a:lnTo>
                  <a:lnTo>
                    <a:pt x="3000" y="5500"/>
                  </a:lnTo>
                  <a:close/>
                  <a:moveTo>
                    <a:pt x="3000" y="5000"/>
                  </a:moveTo>
                  <a:lnTo>
                    <a:pt x="200" y="5000"/>
                  </a:lnTo>
                  <a:lnTo>
                    <a:pt x="200" y="1100"/>
                  </a:lnTo>
                  <a:lnTo>
                    <a:pt x="3000" y="1100"/>
                  </a:lnTo>
                  <a:lnTo>
                    <a:pt x="3000" y="5000"/>
                  </a:lnTo>
                  <a:close/>
                  <a:moveTo>
                    <a:pt x="3000" y="900"/>
                  </a:moveTo>
                  <a:lnTo>
                    <a:pt x="200" y="900"/>
                  </a:lnTo>
                  <a:lnTo>
                    <a:pt x="200" y="500"/>
                  </a:lnTo>
                  <a:cubicBezTo>
                    <a:pt x="200" y="334"/>
                    <a:pt x="334" y="200"/>
                    <a:pt x="500" y="200"/>
                  </a:cubicBezTo>
                  <a:lnTo>
                    <a:pt x="2700" y="200"/>
                  </a:lnTo>
                  <a:cubicBezTo>
                    <a:pt x="2866" y="200"/>
                    <a:pt x="3000" y="334"/>
                    <a:pt x="3000" y="500"/>
                  </a:cubicBezTo>
                  <a:lnTo>
                    <a:pt x="3000" y="9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146"/>
            <p:cNvSpPr>
              <a:spLocks noChangeArrowheads="1"/>
            </p:cNvSpPr>
            <p:nvPr/>
          </p:nvSpPr>
          <p:spPr bwMode="auto">
            <a:xfrm>
              <a:off x="1982" y="-1196"/>
              <a:ext cx="57" cy="1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47"/>
            <p:cNvSpPr>
              <a:spLocks noEditPoints="1"/>
            </p:cNvSpPr>
            <p:nvPr/>
          </p:nvSpPr>
          <p:spPr bwMode="auto">
            <a:xfrm>
              <a:off x="1960" y="-1111"/>
              <a:ext cx="56" cy="57"/>
            </a:xfrm>
            <a:custGeom>
              <a:avLst/>
              <a:gdLst>
                <a:gd name="T0" fmla="*/ 700 w 1000"/>
                <a:gd name="T1" fmla="*/ 0 h 1000"/>
                <a:gd name="T2" fmla="*/ 300 w 1000"/>
                <a:gd name="T3" fmla="*/ 0 h 1000"/>
                <a:gd name="T4" fmla="*/ 0 w 1000"/>
                <a:gd name="T5" fmla="*/ 300 h 1000"/>
                <a:gd name="T6" fmla="*/ 0 w 1000"/>
                <a:gd name="T7" fmla="*/ 700 h 1000"/>
                <a:gd name="T8" fmla="*/ 300 w 1000"/>
                <a:gd name="T9" fmla="*/ 1000 h 1000"/>
                <a:gd name="T10" fmla="*/ 700 w 1000"/>
                <a:gd name="T11" fmla="*/ 1000 h 1000"/>
                <a:gd name="T12" fmla="*/ 1000 w 1000"/>
                <a:gd name="T13" fmla="*/ 700 h 1000"/>
                <a:gd name="T14" fmla="*/ 1000 w 1000"/>
                <a:gd name="T15" fmla="*/ 300 h 1000"/>
                <a:gd name="T16" fmla="*/ 700 w 1000"/>
                <a:gd name="T17" fmla="*/ 0 h 1000"/>
                <a:gd name="T18" fmla="*/ 800 w 1000"/>
                <a:gd name="T19" fmla="*/ 700 h 1000"/>
                <a:gd name="T20" fmla="*/ 700 w 1000"/>
                <a:gd name="T21" fmla="*/ 800 h 1000"/>
                <a:gd name="T22" fmla="*/ 300 w 1000"/>
                <a:gd name="T23" fmla="*/ 800 h 1000"/>
                <a:gd name="T24" fmla="*/ 200 w 1000"/>
                <a:gd name="T25" fmla="*/ 700 h 1000"/>
                <a:gd name="T26" fmla="*/ 200 w 1000"/>
                <a:gd name="T27" fmla="*/ 300 h 1000"/>
                <a:gd name="T28" fmla="*/ 300 w 1000"/>
                <a:gd name="T29" fmla="*/ 200 h 1000"/>
                <a:gd name="T30" fmla="*/ 700 w 1000"/>
                <a:gd name="T31" fmla="*/ 200 h 1000"/>
                <a:gd name="T32" fmla="*/ 800 w 1000"/>
                <a:gd name="T33" fmla="*/ 300 h 1000"/>
                <a:gd name="T34" fmla="*/ 800 w 1000"/>
                <a:gd name="T35" fmla="*/ 70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0" h="1000">
                  <a:moveTo>
                    <a:pt x="700" y="0"/>
                  </a:moveTo>
                  <a:lnTo>
                    <a:pt x="300" y="0"/>
                  </a:lnTo>
                  <a:cubicBezTo>
                    <a:pt x="134" y="0"/>
                    <a:pt x="0" y="134"/>
                    <a:pt x="0" y="300"/>
                  </a:cubicBezTo>
                  <a:lnTo>
                    <a:pt x="0" y="700"/>
                  </a:lnTo>
                  <a:cubicBezTo>
                    <a:pt x="0" y="866"/>
                    <a:pt x="134" y="1000"/>
                    <a:pt x="300" y="1000"/>
                  </a:cubicBezTo>
                  <a:lnTo>
                    <a:pt x="700" y="1000"/>
                  </a:lnTo>
                  <a:cubicBezTo>
                    <a:pt x="866" y="1000"/>
                    <a:pt x="1000" y="866"/>
                    <a:pt x="1000" y="700"/>
                  </a:cubicBezTo>
                  <a:lnTo>
                    <a:pt x="1000" y="300"/>
                  </a:lnTo>
                  <a:cubicBezTo>
                    <a:pt x="1000" y="134"/>
                    <a:pt x="866" y="0"/>
                    <a:pt x="700" y="0"/>
                  </a:cubicBezTo>
                  <a:close/>
                  <a:moveTo>
                    <a:pt x="800" y="700"/>
                  </a:moveTo>
                  <a:cubicBezTo>
                    <a:pt x="800" y="755"/>
                    <a:pt x="755" y="800"/>
                    <a:pt x="700" y="800"/>
                  </a:cubicBezTo>
                  <a:lnTo>
                    <a:pt x="300" y="800"/>
                  </a:lnTo>
                  <a:cubicBezTo>
                    <a:pt x="245" y="800"/>
                    <a:pt x="200" y="755"/>
                    <a:pt x="200" y="700"/>
                  </a:cubicBezTo>
                  <a:lnTo>
                    <a:pt x="200" y="300"/>
                  </a:lnTo>
                  <a:cubicBezTo>
                    <a:pt x="200" y="245"/>
                    <a:pt x="245" y="200"/>
                    <a:pt x="300" y="200"/>
                  </a:cubicBezTo>
                  <a:lnTo>
                    <a:pt x="700" y="200"/>
                  </a:lnTo>
                  <a:cubicBezTo>
                    <a:pt x="755" y="200"/>
                    <a:pt x="800" y="245"/>
                    <a:pt x="800" y="300"/>
                  </a:cubicBezTo>
                  <a:lnTo>
                    <a:pt x="800" y="7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48"/>
            <p:cNvSpPr>
              <a:spLocks noEditPoints="1"/>
            </p:cNvSpPr>
            <p:nvPr/>
          </p:nvSpPr>
          <p:spPr bwMode="auto">
            <a:xfrm>
              <a:off x="2028" y="-1111"/>
              <a:ext cx="56" cy="57"/>
            </a:xfrm>
            <a:custGeom>
              <a:avLst/>
              <a:gdLst>
                <a:gd name="T0" fmla="*/ 700 w 1000"/>
                <a:gd name="T1" fmla="*/ 0 h 1000"/>
                <a:gd name="T2" fmla="*/ 300 w 1000"/>
                <a:gd name="T3" fmla="*/ 0 h 1000"/>
                <a:gd name="T4" fmla="*/ 0 w 1000"/>
                <a:gd name="T5" fmla="*/ 300 h 1000"/>
                <a:gd name="T6" fmla="*/ 0 w 1000"/>
                <a:gd name="T7" fmla="*/ 700 h 1000"/>
                <a:gd name="T8" fmla="*/ 300 w 1000"/>
                <a:gd name="T9" fmla="*/ 1000 h 1000"/>
                <a:gd name="T10" fmla="*/ 700 w 1000"/>
                <a:gd name="T11" fmla="*/ 1000 h 1000"/>
                <a:gd name="T12" fmla="*/ 1000 w 1000"/>
                <a:gd name="T13" fmla="*/ 700 h 1000"/>
                <a:gd name="T14" fmla="*/ 1000 w 1000"/>
                <a:gd name="T15" fmla="*/ 300 h 1000"/>
                <a:gd name="T16" fmla="*/ 700 w 1000"/>
                <a:gd name="T17" fmla="*/ 0 h 1000"/>
                <a:gd name="T18" fmla="*/ 800 w 1000"/>
                <a:gd name="T19" fmla="*/ 700 h 1000"/>
                <a:gd name="T20" fmla="*/ 700 w 1000"/>
                <a:gd name="T21" fmla="*/ 800 h 1000"/>
                <a:gd name="T22" fmla="*/ 300 w 1000"/>
                <a:gd name="T23" fmla="*/ 800 h 1000"/>
                <a:gd name="T24" fmla="*/ 200 w 1000"/>
                <a:gd name="T25" fmla="*/ 700 h 1000"/>
                <a:gd name="T26" fmla="*/ 200 w 1000"/>
                <a:gd name="T27" fmla="*/ 300 h 1000"/>
                <a:gd name="T28" fmla="*/ 300 w 1000"/>
                <a:gd name="T29" fmla="*/ 200 h 1000"/>
                <a:gd name="T30" fmla="*/ 700 w 1000"/>
                <a:gd name="T31" fmla="*/ 200 h 1000"/>
                <a:gd name="T32" fmla="*/ 800 w 1000"/>
                <a:gd name="T33" fmla="*/ 300 h 1000"/>
                <a:gd name="T34" fmla="*/ 800 w 1000"/>
                <a:gd name="T35" fmla="*/ 70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0" h="1000">
                  <a:moveTo>
                    <a:pt x="700" y="0"/>
                  </a:moveTo>
                  <a:lnTo>
                    <a:pt x="300" y="0"/>
                  </a:lnTo>
                  <a:cubicBezTo>
                    <a:pt x="134" y="0"/>
                    <a:pt x="0" y="134"/>
                    <a:pt x="0" y="300"/>
                  </a:cubicBezTo>
                  <a:lnTo>
                    <a:pt x="0" y="700"/>
                  </a:lnTo>
                  <a:cubicBezTo>
                    <a:pt x="0" y="866"/>
                    <a:pt x="134" y="1000"/>
                    <a:pt x="300" y="1000"/>
                  </a:cubicBezTo>
                  <a:lnTo>
                    <a:pt x="700" y="1000"/>
                  </a:lnTo>
                  <a:cubicBezTo>
                    <a:pt x="866" y="1000"/>
                    <a:pt x="1000" y="866"/>
                    <a:pt x="1000" y="700"/>
                  </a:cubicBezTo>
                  <a:lnTo>
                    <a:pt x="1000" y="300"/>
                  </a:lnTo>
                  <a:cubicBezTo>
                    <a:pt x="1000" y="134"/>
                    <a:pt x="866" y="0"/>
                    <a:pt x="700" y="0"/>
                  </a:cubicBezTo>
                  <a:close/>
                  <a:moveTo>
                    <a:pt x="800" y="700"/>
                  </a:moveTo>
                  <a:cubicBezTo>
                    <a:pt x="800" y="755"/>
                    <a:pt x="755" y="800"/>
                    <a:pt x="700" y="800"/>
                  </a:cubicBezTo>
                  <a:lnTo>
                    <a:pt x="300" y="800"/>
                  </a:lnTo>
                  <a:cubicBezTo>
                    <a:pt x="245" y="800"/>
                    <a:pt x="200" y="755"/>
                    <a:pt x="200" y="700"/>
                  </a:cubicBezTo>
                  <a:lnTo>
                    <a:pt x="200" y="300"/>
                  </a:lnTo>
                  <a:cubicBezTo>
                    <a:pt x="200" y="245"/>
                    <a:pt x="245" y="200"/>
                    <a:pt x="300" y="200"/>
                  </a:cubicBezTo>
                  <a:lnTo>
                    <a:pt x="700" y="200"/>
                  </a:lnTo>
                  <a:cubicBezTo>
                    <a:pt x="755" y="200"/>
                    <a:pt x="800" y="245"/>
                    <a:pt x="800" y="300"/>
                  </a:cubicBezTo>
                  <a:lnTo>
                    <a:pt x="800" y="7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149"/>
            <p:cNvSpPr>
              <a:spLocks noEditPoints="1"/>
            </p:cNvSpPr>
            <p:nvPr/>
          </p:nvSpPr>
          <p:spPr bwMode="auto">
            <a:xfrm>
              <a:off x="1960" y="-1043"/>
              <a:ext cx="56" cy="57"/>
            </a:xfrm>
            <a:custGeom>
              <a:avLst/>
              <a:gdLst>
                <a:gd name="T0" fmla="*/ 700 w 1000"/>
                <a:gd name="T1" fmla="*/ 0 h 1000"/>
                <a:gd name="T2" fmla="*/ 300 w 1000"/>
                <a:gd name="T3" fmla="*/ 0 h 1000"/>
                <a:gd name="T4" fmla="*/ 0 w 1000"/>
                <a:gd name="T5" fmla="*/ 300 h 1000"/>
                <a:gd name="T6" fmla="*/ 0 w 1000"/>
                <a:gd name="T7" fmla="*/ 700 h 1000"/>
                <a:gd name="T8" fmla="*/ 300 w 1000"/>
                <a:gd name="T9" fmla="*/ 1000 h 1000"/>
                <a:gd name="T10" fmla="*/ 700 w 1000"/>
                <a:gd name="T11" fmla="*/ 1000 h 1000"/>
                <a:gd name="T12" fmla="*/ 1000 w 1000"/>
                <a:gd name="T13" fmla="*/ 700 h 1000"/>
                <a:gd name="T14" fmla="*/ 1000 w 1000"/>
                <a:gd name="T15" fmla="*/ 300 h 1000"/>
                <a:gd name="T16" fmla="*/ 700 w 1000"/>
                <a:gd name="T17" fmla="*/ 0 h 1000"/>
                <a:gd name="T18" fmla="*/ 800 w 1000"/>
                <a:gd name="T19" fmla="*/ 700 h 1000"/>
                <a:gd name="T20" fmla="*/ 700 w 1000"/>
                <a:gd name="T21" fmla="*/ 800 h 1000"/>
                <a:gd name="T22" fmla="*/ 300 w 1000"/>
                <a:gd name="T23" fmla="*/ 800 h 1000"/>
                <a:gd name="T24" fmla="*/ 200 w 1000"/>
                <a:gd name="T25" fmla="*/ 700 h 1000"/>
                <a:gd name="T26" fmla="*/ 200 w 1000"/>
                <a:gd name="T27" fmla="*/ 300 h 1000"/>
                <a:gd name="T28" fmla="*/ 300 w 1000"/>
                <a:gd name="T29" fmla="*/ 200 h 1000"/>
                <a:gd name="T30" fmla="*/ 700 w 1000"/>
                <a:gd name="T31" fmla="*/ 200 h 1000"/>
                <a:gd name="T32" fmla="*/ 800 w 1000"/>
                <a:gd name="T33" fmla="*/ 300 h 1000"/>
                <a:gd name="T34" fmla="*/ 800 w 1000"/>
                <a:gd name="T35" fmla="*/ 70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0" h="1000">
                  <a:moveTo>
                    <a:pt x="700" y="0"/>
                  </a:moveTo>
                  <a:lnTo>
                    <a:pt x="300" y="0"/>
                  </a:lnTo>
                  <a:cubicBezTo>
                    <a:pt x="134" y="0"/>
                    <a:pt x="0" y="134"/>
                    <a:pt x="0" y="300"/>
                  </a:cubicBezTo>
                  <a:lnTo>
                    <a:pt x="0" y="700"/>
                  </a:lnTo>
                  <a:cubicBezTo>
                    <a:pt x="0" y="866"/>
                    <a:pt x="134" y="1000"/>
                    <a:pt x="300" y="1000"/>
                  </a:cubicBezTo>
                  <a:lnTo>
                    <a:pt x="700" y="1000"/>
                  </a:lnTo>
                  <a:cubicBezTo>
                    <a:pt x="866" y="1000"/>
                    <a:pt x="1000" y="866"/>
                    <a:pt x="1000" y="700"/>
                  </a:cubicBezTo>
                  <a:lnTo>
                    <a:pt x="1000" y="300"/>
                  </a:lnTo>
                  <a:cubicBezTo>
                    <a:pt x="1000" y="134"/>
                    <a:pt x="866" y="0"/>
                    <a:pt x="700" y="0"/>
                  </a:cubicBezTo>
                  <a:close/>
                  <a:moveTo>
                    <a:pt x="800" y="700"/>
                  </a:moveTo>
                  <a:cubicBezTo>
                    <a:pt x="800" y="755"/>
                    <a:pt x="755" y="800"/>
                    <a:pt x="700" y="800"/>
                  </a:cubicBezTo>
                  <a:lnTo>
                    <a:pt x="300" y="800"/>
                  </a:lnTo>
                  <a:cubicBezTo>
                    <a:pt x="245" y="800"/>
                    <a:pt x="200" y="755"/>
                    <a:pt x="200" y="700"/>
                  </a:cubicBezTo>
                  <a:lnTo>
                    <a:pt x="200" y="300"/>
                  </a:lnTo>
                  <a:cubicBezTo>
                    <a:pt x="200" y="245"/>
                    <a:pt x="245" y="200"/>
                    <a:pt x="300" y="200"/>
                  </a:cubicBezTo>
                  <a:lnTo>
                    <a:pt x="700" y="200"/>
                  </a:lnTo>
                  <a:cubicBezTo>
                    <a:pt x="755" y="200"/>
                    <a:pt x="800" y="245"/>
                    <a:pt x="800" y="300"/>
                  </a:cubicBezTo>
                  <a:lnTo>
                    <a:pt x="800" y="7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150"/>
            <p:cNvSpPr>
              <a:spLocks noEditPoints="1"/>
            </p:cNvSpPr>
            <p:nvPr/>
          </p:nvSpPr>
          <p:spPr bwMode="auto">
            <a:xfrm>
              <a:off x="2028" y="-1043"/>
              <a:ext cx="56" cy="57"/>
            </a:xfrm>
            <a:custGeom>
              <a:avLst/>
              <a:gdLst>
                <a:gd name="T0" fmla="*/ 700 w 1000"/>
                <a:gd name="T1" fmla="*/ 0 h 1000"/>
                <a:gd name="T2" fmla="*/ 300 w 1000"/>
                <a:gd name="T3" fmla="*/ 0 h 1000"/>
                <a:gd name="T4" fmla="*/ 0 w 1000"/>
                <a:gd name="T5" fmla="*/ 300 h 1000"/>
                <a:gd name="T6" fmla="*/ 0 w 1000"/>
                <a:gd name="T7" fmla="*/ 700 h 1000"/>
                <a:gd name="T8" fmla="*/ 300 w 1000"/>
                <a:gd name="T9" fmla="*/ 1000 h 1000"/>
                <a:gd name="T10" fmla="*/ 700 w 1000"/>
                <a:gd name="T11" fmla="*/ 1000 h 1000"/>
                <a:gd name="T12" fmla="*/ 1000 w 1000"/>
                <a:gd name="T13" fmla="*/ 700 h 1000"/>
                <a:gd name="T14" fmla="*/ 1000 w 1000"/>
                <a:gd name="T15" fmla="*/ 300 h 1000"/>
                <a:gd name="T16" fmla="*/ 700 w 1000"/>
                <a:gd name="T17" fmla="*/ 0 h 1000"/>
                <a:gd name="T18" fmla="*/ 800 w 1000"/>
                <a:gd name="T19" fmla="*/ 700 h 1000"/>
                <a:gd name="T20" fmla="*/ 700 w 1000"/>
                <a:gd name="T21" fmla="*/ 800 h 1000"/>
                <a:gd name="T22" fmla="*/ 300 w 1000"/>
                <a:gd name="T23" fmla="*/ 800 h 1000"/>
                <a:gd name="T24" fmla="*/ 200 w 1000"/>
                <a:gd name="T25" fmla="*/ 700 h 1000"/>
                <a:gd name="T26" fmla="*/ 200 w 1000"/>
                <a:gd name="T27" fmla="*/ 300 h 1000"/>
                <a:gd name="T28" fmla="*/ 300 w 1000"/>
                <a:gd name="T29" fmla="*/ 200 h 1000"/>
                <a:gd name="T30" fmla="*/ 700 w 1000"/>
                <a:gd name="T31" fmla="*/ 200 h 1000"/>
                <a:gd name="T32" fmla="*/ 800 w 1000"/>
                <a:gd name="T33" fmla="*/ 300 h 1000"/>
                <a:gd name="T34" fmla="*/ 800 w 1000"/>
                <a:gd name="T35" fmla="*/ 70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0" h="1000">
                  <a:moveTo>
                    <a:pt x="700" y="0"/>
                  </a:moveTo>
                  <a:lnTo>
                    <a:pt x="300" y="0"/>
                  </a:lnTo>
                  <a:cubicBezTo>
                    <a:pt x="134" y="0"/>
                    <a:pt x="0" y="134"/>
                    <a:pt x="0" y="300"/>
                  </a:cubicBezTo>
                  <a:lnTo>
                    <a:pt x="0" y="700"/>
                  </a:lnTo>
                  <a:cubicBezTo>
                    <a:pt x="0" y="866"/>
                    <a:pt x="134" y="1000"/>
                    <a:pt x="300" y="1000"/>
                  </a:cubicBezTo>
                  <a:lnTo>
                    <a:pt x="700" y="1000"/>
                  </a:lnTo>
                  <a:cubicBezTo>
                    <a:pt x="866" y="1000"/>
                    <a:pt x="1000" y="866"/>
                    <a:pt x="1000" y="700"/>
                  </a:cubicBezTo>
                  <a:lnTo>
                    <a:pt x="1000" y="300"/>
                  </a:lnTo>
                  <a:cubicBezTo>
                    <a:pt x="1000" y="134"/>
                    <a:pt x="866" y="0"/>
                    <a:pt x="700" y="0"/>
                  </a:cubicBezTo>
                  <a:close/>
                  <a:moveTo>
                    <a:pt x="800" y="700"/>
                  </a:moveTo>
                  <a:cubicBezTo>
                    <a:pt x="800" y="755"/>
                    <a:pt x="755" y="800"/>
                    <a:pt x="700" y="800"/>
                  </a:cubicBezTo>
                  <a:lnTo>
                    <a:pt x="300" y="800"/>
                  </a:lnTo>
                  <a:cubicBezTo>
                    <a:pt x="245" y="800"/>
                    <a:pt x="200" y="755"/>
                    <a:pt x="200" y="700"/>
                  </a:cubicBezTo>
                  <a:lnTo>
                    <a:pt x="200" y="300"/>
                  </a:lnTo>
                  <a:cubicBezTo>
                    <a:pt x="200" y="245"/>
                    <a:pt x="245" y="200"/>
                    <a:pt x="300" y="200"/>
                  </a:cubicBezTo>
                  <a:lnTo>
                    <a:pt x="700" y="200"/>
                  </a:lnTo>
                  <a:cubicBezTo>
                    <a:pt x="755" y="200"/>
                    <a:pt x="800" y="245"/>
                    <a:pt x="800" y="300"/>
                  </a:cubicBezTo>
                  <a:lnTo>
                    <a:pt x="800" y="7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151"/>
            <p:cNvSpPr>
              <a:spLocks/>
            </p:cNvSpPr>
            <p:nvPr/>
          </p:nvSpPr>
          <p:spPr bwMode="auto">
            <a:xfrm>
              <a:off x="1954" y="-1150"/>
              <a:ext cx="28" cy="28"/>
            </a:xfrm>
            <a:custGeom>
              <a:avLst/>
              <a:gdLst>
                <a:gd name="T0" fmla="*/ 400 w 500"/>
                <a:gd name="T1" fmla="*/ 0 h 500"/>
                <a:gd name="T2" fmla="*/ 100 w 500"/>
                <a:gd name="T3" fmla="*/ 0 h 500"/>
                <a:gd name="T4" fmla="*/ 0 w 500"/>
                <a:gd name="T5" fmla="*/ 100 h 500"/>
                <a:gd name="T6" fmla="*/ 0 w 500"/>
                <a:gd name="T7" fmla="*/ 400 h 500"/>
                <a:gd name="T8" fmla="*/ 100 w 500"/>
                <a:gd name="T9" fmla="*/ 500 h 500"/>
                <a:gd name="T10" fmla="*/ 200 w 500"/>
                <a:gd name="T11" fmla="*/ 400 h 500"/>
                <a:gd name="T12" fmla="*/ 200 w 500"/>
                <a:gd name="T13" fmla="*/ 200 h 500"/>
                <a:gd name="T14" fmla="*/ 400 w 500"/>
                <a:gd name="T15" fmla="*/ 200 h 500"/>
                <a:gd name="T16" fmla="*/ 500 w 500"/>
                <a:gd name="T17" fmla="*/ 100 h 500"/>
                <a:gd name="T18" fmla="*/ 400 w 500"/>
                <a:gd name="T19" fmla="*/ 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0" h="500">
                  <a:moveTo>
                    <a:pt x="400" y="0"/>
                  </a:move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lnTo>
                    <a:pt x="0" y="400"/>
                  </a:lnTo>
                  <a:cubicBezTo>
                    <a:pt x="0" y="455"/>
                    <a:pt x="45" y="500"/>
                    <a:pt x="100" y="500"/>
                  </a:cubicBezTo>
                  <a:cubicBezTo>
                    <a:pt x="155" y="500"/>
                    <a:pt x="200" y="455"/>
                    <a:pt x="200" y="400"/>
                  </a:cubicBezTo>
                  <a:lnTo>
                    <a:pt x="200" y="200"/>
                  </a:lnTo>
                  <a:lnTo>
                    <a:pt x="400" y="200"/>
                  </a:lnTo>
                  <a:cubicBezTo>
                    <a:pt x="455" y="200"/>
                    <a:pt x="500" y="155"/>
                    <a:pt x="500" y="100"/>
                  </a:cubicBezTo>
                  <a:cubicBezTo>
                    <a:pt x="500" y="45"/>
                    <a:pt x="455" y="0"/>
                    <a:pt x="4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52"/>
            <p:cNvSpPr>
              <a:spLocks/>
            </p:cNvSpPr>
            <p:nvPr/>
          </p:nvSpPr>
          <p:spPr bwMode="auto">
            <a:xfrm>
              <a:off x="1994" y="-1150"/>
              <a:ext cx="22" cy="11"/>
            </a:xfrm>
            <a:custGeom>
              <a:avLst/>
              <a:gdLst>
                <a:gd name="T0" fmla="*/ 300 w 400"/>
                <a:gd name="T1" fmla="*/ 0 h 200"/>
                <a:gd name="T2" fmla="*/ 100 w 400"/>
                <a:gd name="T3" fmla="*/ 0 h 200"/>
                <a:gd name="T4" fmla="*/ 0 w 400"/>
                <a:gd name="T5" fmla="*/ 100 h 200"/>
                <a:gd name="T6" fmla="*/ 100 w 400"/>
                <a:gd name="T7" fmla="*/ 200 h 200"/>
                <a:gd name="T8" fmla="*/ 300 w 400"/>
                <a:gd name="T9" fmla="*/ 200 h 200"/>
                <a:gd name="T10" fmla="*/ 400 w 400"/>
                <a:gd name="T11" fmla="*/ 100 h 200"/>
                <a:gd name="T12" fmla="*/ 300 w 400"/>
                <a:gd name="T13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0" h="200">
                  <a:moveTo>
                    <a:pt x="300" y="0"/>
                  </a:move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lnTo>
                    <a:pt x="300" y="200"/>
                  </a:lnTo>
                  <a:cubicBezTo>
                    <a:pt x="355" y="200"/>
                    <a:pt x="400" y="155"/>
                    <a:pt x="400" y="100"/>
                  </a:cubicBezTo>
                  <a:cubicBezTo>
                    <a:pt x="400" y="45"/>
                    <a:pt x="355" y="0"/>
                    <a:pt x="3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153"/>
            <p:cNvSpPr>
              <a:spLocks noChangeArrowheads="1"/>
            </p:cNvSpPr>
            <p:nvPr/>
          </p:nvSpPr>
          <p:spPr bwMode="auto">
            <a:xfrm>
              <a:off x="2050" y="-1196"/>
              <a:ext cx="12" cy="1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" name="Group 15"/>
          <p:cNvGrpSpPr>
            <a:grpSpLocks noChangeAspect="1"/>
          </p:cNvGrpSpPr>
          <p:nvPr/>
        </p:nvGrpSpPr>
        <p:grpSpPr bwMode="auto">
          <a:xfrm>
            <a:off x="7371130" y="1748252"/>
            <a:ext cx="540000" cy="540000"/>
            <a:chOff x="4666" y="1088"/>
            <a:chExt cx="328" cy="328"/>
          </a:xfrm>
          <a:solidFill>
            <a:schemeClr val="bg1"/>
          </a:solidFill>
        </p:grpSpPr>
        <p:sp>
          <p:nvSpPr>
            <p:cNvPr id="7" name="Freeform 16"/>
            <p:cNvSpPr>
              <a:spLocks noEditPoints="1"/>
            </p:cNvSpPr>
            <p:nvPr/>
          </p:nvSpPr>
          <p:spPr bwMode="auto">
            <a:xfrm>
              <a:off x="4666" y="1088"/>
              <a:ext cx="328" cy="328"/>
            </a:xfrm>
            <a:custGeom>
              <a:avLst/>
              <a:gdLst>
                <a:gd name="T0" fmla="*/ 6200 w 6200"/>
                <a:gd name="T1" fmla="*/ 2400 h 6200"/>
                <a:gd name="T2" fmla="*/ 6000 w 6200"/>
                <a:gd name="T3" fmla="*/ 1200 h 6200"/>
                <a:gd name="T4" fmla="*/ 1900 w 6200"/>
                <a:gd name="T5" fmla="*/ 0 h 6200"/>
                <a:gd name="T6" fmla="*/ 1428 w 6200"/>
                <a:gd name="T7" fmla="*/ 3738 h 6200"/>
                <a:gd name="T8" fmla="*/ 1400 w 6200"/>
                <a:gd name="T9" fmla="*/ 5900 h 6200"/>
                <a:gd name="T10" fmla="*/ 2100 w 6200"/>
                <a:gd name="T11" fmla="*/ 6200 h 6200"/>
                <a:gd name="T12" fmla="*/ 2400 w 6200"/>
                <a:gd name="T13" fmla="*/ 3900 h 6200"/>
                <a:gd name="T14" fmla="*/ 3000 w 6200"/>
                <a:gd name="T15" fmla="*/ 3448 h 6200"/>
                <a:gd name="T16" fmla="*/ 3200 w 6200"/>
                <a:gd name="T17" fmla="*/ 4400 h 6200"/>
                <a:gd name="T18" fmla="*/ 6200 w 6200"/>
                <a:gd name="T19" fmla="*/ 4200 h 6200"/>
                <a:gd name="T20" fmla="*/ 6000 w 6200"/>
                <a:gd name="T21" fmla="*/ 3000 h 6200"/>
                <a:gd name="T22" fmla="*/ 3665 w 6200"/>
                <a:gd name="T23" fmla="*/ 2600 h 6200"/>
                <a:gd name="T24" fmla="*/ 2400 w 6200"/>
                <a:gd name="T25" fmla="*/ 2600 h 6200"/>
                <a:gd name="T26" fmla="*/ 1900 w 6200"/>
                <a:gd name="T27" fmla="*/ 3200 h 6200"/>
                <a:gd name="T28" fmla="*/ 1900 w 6200"/>
                <a:gd name="T29" fmla="*/ 600 h 6200"/>
                <a:gd name="T30" fmla="*/ 2400 w 6200"/>
                <a:gd name="T31" fmla="*/ 1200 h 6200"/>
                <a:gd name="T32" fmla="*/ 2200 w 6200"/>
                <a:gd name="T33" fmla="*/ 2400 h 6200"/>
                <a:gd name="T34" fmla="*/ 2400 w 6200"/>
                <a:gd name="T35" fmla="*/ 2400 h 6200"/>
                <a:gd name="T36" fmla="*/ 3600 w 6200"/>
                <a:gd name="T37" fmla="*/ 1400 h 6200"/>
                <a:gd name="T38" fmla="*/ 2400 w 6200"/>
                <a:gd name="T39" fmla="*/ 2400 h 6200"/>
                <a:gd name="T40" fmla="*/ 3800 w 6200"/>
                <a:gd name="T41" fmla="*/ 2400 h 6200"/>
                <a:gd name="T42" fmla="*/ 6000 w 6200"/>
                <a:gd name="T43" fmla="*/ 1400 h 6200"/>
                <a:gd name="T44" fmla="*/ 2100 w 6200"/>
                <a:gd name="T45" fmla="*/ 6000 h 6200"/>
                <a:gd name="T46" fmla="*/ 1600 w 6200"/>
                <a:gd name="T47" fmla="*/ 5900 h 6200"/>
                <a:gd name="T48" fmla="*/ 2200 w 6200"/>
                <a:gd name="T49" fmla="*/ 4400 h 6200"/>
                <a:gd name="T50" fmla="*/ 2100 w 6200"/>
                <a:gd name="T51" fmla="*/ 6000 h 6200"/>
                <a:gd name="T52" fmla="*/ 2200 w 6200"/>
                <a:gd name="T53" fmla="*/ 4200 h 6200"/>
                <a:gd name="T54" fmla="*/ 1600 w 6200"/>
                <a:gd name="T55" fmla="*/ 3900 h 6200"/>
                <a:gd name="T56" fmla="*/ 1900 w 6200"/>
                <a:gd name="T57" fmla="*/ 3800 h 6200"/>
                <a:gd name="T58" fmla="*/ 2200 w 6200"/>
                <a:gd name="T59" fmla="*/ 3900 h 6200"/>
                <a:gd name="T60" fmla="*/ 4600 w 6200"/>
                <a:gd name="T61" fmla="*/ 3200 h 6200"/>
                <a:gd name="T62" fmla="*/ 3200 w 6200"/>
                <a:gd name="T63" fmla="*/ 4200 h 6200"/>
                <a:gd name="T64" fmla="*/ 6000 w 6200"/>
                <a:gd name="T65" fmla="*/ 4200 h 6200"/>
                <a:gd name="T66" fmla="*/ 4800 w 6200"/>
                <a:gd name="T67" fmla="*/ 3200 h 6200"/>
                <a:gd name="T68" fmla="*/ 6000 w 6200"/>
                <a:gd name="T69" fmla="*/ 4200 h 6200"/>
                <a:gd name="T70" fmla="*/ 3001 w 6200"/>
                <a:gd name="T71" fmla="*/ 3194 h 6200"/>
                <a:gd name="T72" fmla="*/ 200 w 6200"/>
                <a:gd name="T73" fmla="*/ 1900 h 6200"/>
                <a:gd name="T74" fmla="*/ 3449 w 6200"/>
                <a:gd name="T75" fmla="*/ 1200 h 6200"/>
                <a:gd name="T76" fmla="*/ 1900 w 6200"/>
                <a:gd name="T77" fmla="*/ 400 h 6200"/>
                <a:gd name="T78" fmla="*/ 1900 w 6200"/>
                <a:gd name="T79" fmla="*/ 3400 h 6200"/>
                <a:gd name="T80" fmla="*/ 3449 w 6200"/>
                <a:gd name="T81" fmla="*/ 2600 h 6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200" h="6200">
                  <a:moveTo>
                    <a:pt x="6000" y="2600"/>
                  </a:moveTo>
                  <a:cubicBezTo>
                    <a:pt x="6110" y="2600"/>
                    <a:pt x="6200" y="2510"/>
                    <a:pt x="6200" y="2400"/>
                  </a:cubicBezTo>
                  <a:lnTo>
                    <a:pt x="6200" y="1400"/>
                  </a:lnTo>
                  <a:cubicBezTo>
                    <a:pt x="6200" y="1290"/>
                    <a:pt x="6110" y="1200"/>
                    <a:pt x="6000" y="1200"/>
                  </a:cubicBezTo>
                  <a:lnTo>
                    <a:pt x="3665" y="1200"/>
                  </a:lnTo>
                  <a:cubicBezTo>
                    <a:pt x="3380" y="480"/>
                    <a:pt x="2680" y="0"/>
                    <a:pt x="1900" y="0"/>
                  </a:cubicBezTo>
                  <a:cubicBezTo>
                    <a:pt x="852" y="0"/>
                    <a:pt x="0" y="852"/>
                    <a:pt x="0" y="1900"/>
                  </a:cubicBezTo>
                  <a:cubicBezTo>
                    <a:pt x="0" y="2784"/>
                    <a:pt x="608" y="3527"/>
                    <a:pt x="1428" y="3738"/>
                  </a:cubicBezTo>
                  <a:cubicBezTo>
                    <a:pt x="1410" y="3790"/>
                    <a:pt x="1400" y="3844"/>
                    <a:pt x="1400" y="3900"/>
                  </a:cubicBezTo>
                  <a:lnTo>
                    <a:pt x="1400" y="5900"/>
                  </a:lnTo>
                  <a:cubicBezTo>
                    <a:pt x="1400" y="6065"/>
                    <a:pt x="1535" y="6200"/>
                    <a:pt x="1700" y="6200"/>
                  </a:cubicBezTo>
                  <a:lnTo>
                    <a:pt x="2100" y="6200"/>
                  </a:lnTo>
                  <a:cubicBezTo>
                    <a:pt x="2265" y="6200"/>
                    <a:pt x="2400" y="6065"/>
                    <a:pt x="2400" y="5900"/>
                  </a:cubicBezTo>
                  <a:lnTo>
                    <a:pt x="2400" y="3900"/>
                  </a:lnTo>
                  <a:cubicBezTo>
                    <a:pt x="2400" y="3845"/>
                    <a:pt x="2390" y="3790"/>
                    <a:pt x="2373" y="3739"/>
                  </a:cubicBezTo>
                  <a:cubicBezTo>
                    <a:pt x="2597" y="3681"/>
                    <a:pt x="2810" y="3583"/>
                    <a:pt x="3000" y="3448"/>
                  </a:cubicBezTo>
                  <a:lnTo>
                    <a:pt x="3000" y="4200"/>
                  </a:lnTo>
                  <a:cubicBezTo>
                    <a:pt x="3000" y="4310"/>
                    <a:pt x="3090" y="4400"/>
                    <a:pt x="3200" y="4400"/>
                  </a:cubicBezTo>
                  <a:lnTo>
                    <a:pt x="6000" y="4400"/>
                  </a:lnTo>
                  <a:cubicBezTo>
                    <a:pt x="6110" y="4400"/>
                    <a:pt x="6200" y="4310"/>
                    <a:pt x="6200" y="4200"/>
                  </a:cubicBezTo>
                  <a:lnTo>
                    <a:pt x="6200" y="3200"/>
                  </a:lnTo>
                  <a:cubicBezTo>
                    <a:pt x="6200" y="3090"/>
                    <a:pt x="6110" y="3000"/>
                    <a:pt x="6000" y="3000"/>
                  </a:cubicBezTo>
                  <a:lnTo>
                    <a:pt x="3448" y="3000"/>
                  </a:lnTo>
                  <a:cubicBezTo>
                    <a:pt x="3537" y="2876"/>
                    <a:pt x="3608" y="2742"/>
                    <a:pt x="3665" y="2600"/>
                  </a:cubicBezTo>
                  <a:lnTo>
                    <a:pt x="6000" y="2600"/>
                  </a:lnTo>
                  <a:close/>
                  <a:moveTo>
                    <a:pt x="2400" y="2600"/>
                  </a:moveTo>
                  <a:lnTo>
                    <a:pt x="2995" y="2600"/>
                  </a:lnTo>
                  <a:cubicBezTo>
                    <a:pt x="2758" y="2969"/>
                    <a:pt x="2344" y="3200"/>
                    <a:pt x="1900" y="3200"/>
                  </a:cubicBezTo>
                  <a:cubicBezTo>
                    <a:pt x="1183" y="3200"/>
                    <a:pt x="600" y="2617"/>
                    <a:pt x="600" y="1900"/>
                  </a:cubicBezTo>
                  <a:cubicBezTo>
                    <a:pt x="600" y="1183"/>
                    <a:pt x="1183" y="600"/>
                    <a:pt x="1900" y="600"/>
                  </a:cubicBezTo>
                  <a:cubicBezTo>
                    <a:pt x="2344" y="600"/>
                    <a:pt x="2758" y="831"/>
                    <a:pt x="2995" y="1200"/>
                  </a:cubicBezTo>
                  <a:lnTo>
                    <a:pt x="2400" y="1200"/>
                  </a:lnTo>
                  <a:cubicBezTo>
                    <a:pt x="2290" y="1200"/>
                    <a:pt x="2200" y="1290"/>
                    <a:pt x="2200" y="1400"/>
                  </a:cubicBezTo>
                  <a:lnTo>
                    <a:pt x="2200" y="2400"/>
                  </a:lnTo>
                  <a:cubicBezTo>
                    <a:pt x="2200" y="2510"/>
                    <a:pt x="2290" y="2600"/>
                    <a:pt x="2400" y="2600"/>
                  </a:cubicBezTo>
                  <a:close/>
                  <a:moveTo>
                    <a:pt x="2400" y="2400"/>
                  </a:moveTo>
                  <a:lnTo>
                    <a:pt x="2400" y="1400"/>
                  </a:lnTo>
                  <a:lnTo>
                    <a:pt x="3600" y="1400"/>
                  </a:lnTo>
                  <a:lnTo>
                    <a:pt x="3600" y="2400"/>
                  </a:lnTo>
                  <a:lnTo>
                    <a:pt x="2400" y="2400"/>
                  </a:lnTo>
                  <a:close/>
                  <a:moveTo>
                    <a:pt x="6000" y="2400"/>
                  </a:moveTo>
                  <a:lnTo>
                    <a:pt x="3800" y="2400"/>
                  </a:lnTo>
                  <a:lnTo>
                    <a:pt x="3800" y="1400"/>
                  </a:lnTo>
                  <a:lnTo>
                    <a:pt x="6000" y="1400"/>
                  </a:lnTo>
                  <a:lnTo>
                    <a:pt x="6000" y="2400"/>
                  </a:lnTo>
                  <a:close/>
                  <a:moveTo>
                    <a:pt x="2100" y="6000"/>
                  </a:moveTo>
                  <a:lnTo>
                    <a:pt x="1700" y="6000"/>
                  </a:lnTo>
                  <a:cubicBezTo>
                    <a:pt x="1645" y="6000"/>
                    <a:pt x="1600" y="5955"/>
                    <a:pt x="1600" y="5900"/>
                  </a:cubicBezTo>
                  <a:lnTo>
                    <a:pt x="1600" y="4400"/>
                  </a:lnTo>
                  <a:lnTo>
                    <a:pt x="2200" y="4400"/>
                  </a:lnTo>
                  <a:lnTo>
                    <a:pt x="2200" y="5900"/>
                  </a:lnTo>
                  <a:cubicBezTo>
                    <a:pt x="2200" y="5955"/>
                    <a:pt x="2155" y="6000"/>
                    <a:pt x="2100" y="6000"/>
                  </a:cubicBezTo>
                  <a:close/>
                  <a:moveTo>
                    <a:pt x="2200" y="3900"/>
                  </a:moveTo>
                  <a:lnTo>
                    <a:pt x="2200" y="4200"/>
                  </a:lnTo>
                  <a:lnTo>
                    <a:pt x="1600" y="4200"/>
                  </a:lnTo>
                  <a:lnTo>
                    <a:pt x="1600" y="3900"/>
                  </a:lnTo>
                  <a:cubicBezTo>
                    <a:pt x="1600" y="3857"/>
                    <a:pt x="1610" y="3816"/>
                    <a:pt x="1627" y="3778"/>
                  </a:cubicBezTo>
                  <a:cubicBezTo>
                    <a:pt x="1716" y="3791"/>
                    <a:pt x="1807" y="3800"/>
                    <a:pt x="1900" y="3800"/>
                  </a:cubicBezTo>
                  <a:cubicBezTo>
                    <a:pt x="1992" y="3800"/>
                    <a:pt x="2083" y="3791"/>
                    <a:pt x="2174" y="3778"/>
                  </a:cubicBezTo>
                  <a:cubicBezTo>
                    <a:pt x="2191" y="3816"/>
                    <a:pt x="2200" y="3858"/>
                    <a:pt x="2200" y="3900"/>
                  </a:cubicBezTo>
                  <a:close/>
                  <a:moveTo>
                    <a:pt x="3200" y="3200"/>
                  </a:moveTo>
                  <a:lnTo>
                    <a:pt x="4600" y="3200"/>
                  </a:lnTo>
                  <a:lnTo>
                    <a:pt x="4600" y="4200"/>
                  </a:lnTo>
                  <a:lnTo>
                    <a:pt x="3200" y="4200"/>
                  </a:lnTo>
                  <a:lnTo>
                    <a:pt x="3200" y="3200"/>
                  </a:lnTo>
                  <a:close/>
                  <a:moveTo>
                    <a:pt x="6000" y="4200"/>
                  </a:moveTo>
                  <a:lnTo>
                    <a:pt x="4800" y="4200"/>
                  </a:lnTo>
                  <a:lnTo>
                    <a:pt x="4800" y="3200"/>
                  </a:lnTo>
                  <a:lnTo>
                    <a:pt x="6000" y="3200"/>
                  </a:lnTo>
                  <a:lnTo>
                    <a:pt x="6000" y="4200"/>
                  </a:lnTo>
                  <a:close/>
                  <a:moveTo>
                    <a:pt x="3194" y="3001"/>
                  </a:moveTo>
                  <a:cubicBezTo>
                    <a:pt x="3089" y="3004"/>
                    <a:pt x="3004" y="3089"/>
                    <a:pt x="3001" y="3194"/>
                  </a:cubicBezTo>
                  <a:cubicBezTo>
                    <a:pt x="2694" y="3455"/>
                    <a:pt x="2305" y="3600"/>
                    <a:pt x="1900" y="3600"/>
                  </a:cubicBezTo>
                  <a:cubicBezTo>
                    <a:pt x="963" y="3600"/>
                    <a:pt x="200" y="2837"/>
                    <a:pt x="200" y="1900"/>
                  </a:cubicBezTo>
                  <a:cubicBezTo>
                    <a:pt x="200" y="963"/>
                    <a:pt x="963" y="200"/>
                    <a:pt x="1900" y="200"/>
                  </a:cubicBezTo>
                  <a:cubicBezTo>
                    <a:pt x="2571" y="200"/>
                    <a:pt x="3177" y="597"/>
                    <a:pt x="3449" y="1200"/>
                  </a:cubicBezTo>
                  <a:lnTo>
                    <a:pt x="3226" y="1200"/>
                  </a:lnTo>
                  <a:cubicBezTo>
                    <a:pt x="2968" y="712"/>
                    <a:pt x="2455" y="400"/>
                    <a:pt x="1900" y="400"/>
                  </a:cubicBezTo>
                  <a:cubicBezTo>
                    <a:pt x="1073" y="400"/>
                    <a:pt x="400" y="1073"/>
                    <a:pt x="400" y="1900"/>
                  </a:cubicBezTo>
                  <a:cubicBezTo>
                    <a:pt x="400" y="2727"/>
                    <a:pt x="1073" y="3400"/>
                    <a:pt x="1900" y="3400"/>
                  </a:cubicBezTo>
                  <a:cubicBezTo>
                    <a:pt x="2455" y="3400"/>
                    <a:pt x="2968" y="3088"/>
                    <a:pt x="3226" y="2600"/>
                  </a:cubicBezTo>
                  <a:lnTo>
                    <a:pt x="3449" y="2600"/>
                  </a:lnTo>
                  <a:cubicBezTo>
                    <a:pt x="3383" y="2745"/>
                    <a:pt x="3298" y="2879"/>
                    <a:pt x="3194" y="3001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8" name="Rectangle 17"/>
            <p:cNvSpPr>
              <a:spLocks noChangeArrowheads="1"/>
            </p:cNvSpPr>
            <p:nvPr/>
          </p:nvSpPr>
          <p:spPr bwMode="auto">
            <a:xfrm>
              <a:off x="4963" y="1184"/>
              <a:ext cx="10" cy="1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9" name="Rectangle 18"/>
            <p:cNvSpPr>
              <a:spLocks noChangeArrowheads="1"/>
            </p:cNvSpPr>
            <p:nvPr/>
          </p:nvSpPr>
          <p:spPr bwMode="auto">
            <a:xfrm>
              <a:off x="4941" y="1184"/>
              <a:ext cx="11" cy="1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0" name="Rectangle 19"/>
            <p:cNvSpPr>
              <a:spLocks noChangeArrowheads="1"/>
            </p:cNvSpPr>
            <p:nvPr/>
          </p:nvSpPr>
          <p:spPr bwMode="auto">
            <a:xfrm>
              <a:off x="4920" y="1184"/>
              <a:ext cx="11" cy="1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1" name="Rectangle 20"/>
            <p:cNvSpPr>
              <a:spLocks noChangeArrowheads="1"/>
            </p:cNvSpPr>
            <p:nvPr/>
          </p:nvSpPr>
          <p:spPr bwMode="auto">
            <a:xfrm>
              <a:off x="4899" y="1184"/>
              <a:ext cx="11" cy="1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3" name="Rectangle 21"/>
            <p:cNvSpPr>
              <a:spLocks noChangeArrowheads="1"/>
            </p:cNvSpPr>
            <p:nvPr/>
          </p:nvSpPr>
          <p:spPr bwMode="auto">
            <a:xfrm>
              <a:off x="4878" y="1184"/>
              <a:ext cx="11" cy="1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4" name="Freeform 22"/>
            <p:cNvSpPr>
              <a:spLocks/>
            </p:cNvSpPr>
            <p:nvPr/>
          </p:nvSpPr>
          <p:spPr bwMode="auto">
            <a:xfrm>
              <a:off x="4800" y="1169"/>
              <a:ext cx="50" cy="43"/>
            </a:xfrm>
            <a:custGeom>
              <a:avLst/>
              <a:gdLst>
                <a:gd name="T0" fmla="*/ 800 w 942"/>
                <a:gd name="T1" fmla="*/ 0 h 812"/>
                <a:gd name="T2" fmla="*/ 271 w 942"/>
                <a:gd name="T3" fmla="*/ 530 h 812"/>
                <a:gd name="T4" fmla="*/ 142 w 942"/>
                <a:gd name="T5" fmla="*/ 400 h 812"/>
                <a:gd name="T6" fmla="*/ 0 w 942"/>
                <a:gd name="T7" fmla="*/ 542 h 812"/>
                <a:gd name="T8" fmla="*/ 271 w 942"/>
                <a:gd name="T9" fmla="*/ 812 h 812"/>
                <a:gd name="T10" fmla="*/ 942 w 942"/>
                <a:gd name="T11" fmla="*/ 142 h 812"/>
                <a:gd name="T12" fmla="*/ 800 w 942"/>
                <a:gd name="T13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2" h="812">
                  <a:moveTo>
                    <a:pt x="800" y="0"/>
                  </a:moveTo>
                  <a:lnTo>
                    <a:pt x="271" y="530"/>
                  </a:lnTo>
                  <a:lnTo>
                    <a:pt x="142" y="400"/>
                  </a:lnTo>
                  <a:lnTo>
                    <a:pt x="0" y="542"/>
                  </a:lnTo>
                  <a:lnTo>
                    <a:pt x="271" y="812"/>
                  </a:lnTo>
                  <a:lnTo>
                    <a:pt x="942" y="142"/>
                  </a:lnTo>
                  <a:lnTo>
                    <a:pt x="80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5" name="Freeform 23"/>
            <p:cNvSpPr>
              <a:spLocks noEditPoints="1"/>
            </p:cNvSpPr>
            <p:nvPr/>
          </p:nvSpPr>
          <p:spPr bwMode="auto">
            <a:xfrm>
              <a:off x="4804" y="1342"/>
              <a:ext cx="169" cy="74"/>
            </a:xfrm>
            <a:custGeom>
              <a:avLst/>
              <a:gdLst>
                <a:gd name="T0" fmla="*/ 3000 w 3200"/>
                <a:gd name="T1" fmla="*/ 0 h 1400"/>
                <a:gd name="T2" fmla="*/ 200 w 3200"/>
                <a:gd name="T3" fmla="*/ 0 h 1400"/>
                <a:gd name="T4" fmla="*/ 0 w 3200"/>
                <a:gd name="T5" fmla="*/ 200 h 1400"/>
                <a:gd name="T6" fmla="*/ 0 w 3200"/>
                <a:gd name="T7" fmla="*/ 1200 h 1400"/>
                <a:gd name="T8" fmla="*/ 200 w 3200"/>
                <a:gd name="T9" fmla="*/ 1400 h 1400"/>
                <a:gd name="T10" fmla="*/ 3000 w 3200"/>
                <a:gd name="T11" fmla="*/ 1400 h 1400"/>
                <a:gd name="T12" fmla="*/ 3200 w 3200"/>
                <a:gd name="T13" fmla="*/ 1200 h 1400"/>
                <a:gd name="T14" fmla="*/ 3200 w 3200"/>
                <a:gd name="T15" fmla="*/ 200 h 1400"/>
                <a:gd name="T16" fmla="*/ 3000 w 3200"/>
                <a:gd name="T17" fmla="*/ 0 h 1400"/>
                <a:gd name="T18" fmla="*/ 200 w 3200"/>
                <a:gd name="T19" fmla="*/ 200 h 1400"/>
                <a:gd name="T20" fmla="*/ 1400 w 3200"/>
                <a:gd name="T21" fmla="*/ 200 h 1400"/>
                <a:gd name="T22" fmla="*/ 1400 w 3200"/>
                <a:gd name="T23" fmla="*/ 1200 h 1400"/>
                <a:gd name="T24" fmla="*/ 200 w 3200"/>
                <a:gd name="T25" fmla="*/ 1200 h 1400"/>
                <a:gd name="T26" fmla="*/ 200 w 3200"/>
                <a:gd name="T27" fmla="*/ 200 h 1400"/>
                <a:gd name="T28" fmla="*/ 1600 w 3200"/>
                <a:gd name="T29" fmla="*/ 1200 h 1400"/>
                <a:gd name="T30" fmla="*/ 1600 w 3200"/>
                <a:gd name="T31" fmla="*/ 200 h 1400"/>
                <a:gd name="T32" fmla="*/ 3000 w 3200"/>
                <a:gd name="T33" fmla="*/ 200 h 1400"/>
                <a:gd name="T34" fmla="*/ 3000 w 3200"/>
                <a:gd name="T35" fmla="*/ 1200 h 1400"/>
                <a:gd name="T36" fmla="*/ 1600 w 3200"/>
                <a:gd name="T37" fmla="*/ 1200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00" h="1400">
                  <a:moveTo>
                    <a:pt x="3000" y="0"/>
                  </a:moveTo>
                  <a:lnTo>
                    <a:pt x="200" y="0"/>
                  </a:lnTo>
                  <a:cubicBezTo>
                    <a:pt x="90" y="0"/>
                    <a:pt x="0" y="90"/>
                    <a:pt x="0" y="200"/>
                  </a:cubicBezTo>
                  <a:lnTo>
                    <a:pt x="0" y="1200"/>
                  </a:lnTo>
                  <a:cubicBezTo>
                    <a:pt x="0" y="1310"/>
                    <a:pt x="90" y="1400"/>
                    <a:pt x="200" y="1400"/>
                  </a:cubicBezTo>
                  <a:lnTo>
                    <a:pt x="3000" y="1400"/>
                  </a:lnTo>
                  <a:cubicBezTo>
                    <a:pt x="3110" y="1400"/>
                    <a:pt x="3200" y="1310"/>
                    <a:pt x="3200" y="1200"/>
                  </a:cubicBezTo>
                  <a:lnTo>
                    <a:pt x="3200" y="200"/>
                  </a:lnTo>
                  <a:cubicBezTo>
                    <a:pt x="3200" y="90"/>
                    <a:pt x="3110" y="0"/>
                    <a:pt x="3000" y="0"/>
                  </a:cubicBezTo>
                  <a:close/>
                  <a:moveTo>
                    <a:pt x="200" y="200"/>
                  </a:moveTo>
                  <a:lnTo>
                    <a:pt x="1400" y="200"/>
                  </a:lnTo>
                  <a:lnTo>
                    <a:pt x="1400" y="1200"/>
                  </a:lnTo>
                  <a:lnTo>
                    <a:pt x="200" y="1200"/>
                  </a:lnTo>
                  <a:lnTo>
                    <a:pt x="200" y="200"/>
                  </a:lnTo>
                  <a:close/>
                  <a:moveTo>
                    <a:pt x="1600" y="1200"/>
                  </a:moveTo>
                  <a:lnTo>
                    <a:pt x="1600" y="200"/>
                  </a:lnTo>
                  <a:lnTo>
                    <a:pt x="3000" y="200"/>
                  </a:lnTo>
                  <a:lnTo>
                    <a:pt x="3000" y="1200"/>
                  </a:lnTo>
                  <a:lnTo>
                    <a:pt x="1600" y="12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6" name="Rectangle 24"/>
            <p:cNvSpPr>
              <a:spLocks noChangeArrowheads="1"/>
            </p:cNvSpPr>
            <p:nvPr/>
          </p:nvSpPr>
          <p:spPr bwMode="auto">
            <a:xfrm>
              <a:off x="4941" y="1374"/>
              <a:ext cx="11" cy="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9" name="Rectangle 25"/>
            <p:cNvSpPr>
              <a:spLocks noChangeArrowheads="1"/>
            </p:cNvSpPr>
            <p:nvPr/>
          </p:nvSpPr>
          <p:spPr bwMode="auto">
            <a:xfrm>
              <a:off x="4920" y="1374"/>
              <a:ext cx="11" cy="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21" name="Rectangle 26"/>
            <p:cNvSpPr>
              <a:spLocks noChangeArrowheads="1"/>
            </p:cNvSpPr>
            <p:nvPr/>
          </p:nvSpPr>
          <p:spPr bwMode="auto">
            <a:xfrm>
              <a:off x="4899" y="1374"/>
              <a:ext cx="11" cy="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82" name="Rectangle 27"/>
            <p:cNvSpPr>
              <a:spLocks noChangeArrowheads="1"/>
            </p:cNvSpPr>
            <p:nvPr/>
          </p:nvSpPr>
          <p:spPr bwMode="auto">
            <a:xfrm>
              <a:off x="4846" y="1279"/>
              <a:ext cx="11" cy="1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83" name="Rectangle 28"/>
            <p:cNvSpPr>
              <a:spLocks noChangeArrowheads="1"/>
            </p:cNvSpPr>
            <p:nvPr/>
          </p:nvSpPr>
          <p:spPr bwMode="auto">
            <a:xfrm>
              <a:off x="4867" y="1279"/>
              <a:ext cx="11" cy="1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84" name="Rectangle 29"/>
            <p:cNvSpPr>
              <a:spLocks noChangeArrowheads="1"/>
            </p:cNvSpPr>
            <p:nvPr/>
          </p:nvSpPr>
          <p:spPr bwMode="auto">
            <a:xfrm>
              <a:off x="4889" y="1279"/>
              <a:ext cx="10" cy="1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85" name="Freeform 30"/>
            <p:cNvSpPr>
              <a:spLocks/>
            </p:cNvSpPr>
            <p:nvPr/>
          </p:nvSpPr>
          <p:spPr bwMode="auto">
            <a:xfrm>
              <a:off x="4821" y="1360"/>
              <a:ext cx="50" cy="43"/>
            </a:xfrm>
            <a:custGeom>
              <a:avLst/>
              <a:gdLst>
                <a:gd name="T0" fmla="*/ 800 w 942"/>
                <a:gd name="T1" fmla="*/ 0 h 812"/>
                <a:gd name="T2" fmla="*/ 271 w 942"/>
                <a:gd name="T3" fmla="*/ 530 h 812"/>
                <a:gd name="T4" fmla="*/ 142 w 942"/>
                <a:gd name="T5" fmla="*/ 400 h 812"/>
                <a:gd name="T6" fmla="*/ 0 w 942"/>
                <a:gd name="T7" fmla="*/ 542 h 812"/>
                <a:gd name="T8" fmla="*/ 271 w 942"/>
                <a:gd name="T9" fmla="*/ 812 h 812"/>
                <a:gd name="T10" fmla="*/ 942 w 942"/>
                <a:gd name="T11" fmla="*/ 142 h 812"/>
                <a:gd name="T12" fmla="*/ 800 w 942"/>
                <a:gd name="T13" fmla="*/ 0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2" h="812">
                  <a:moveTo>
                    <a:pt x="800" y="0"/>
                  </a:moveTo>
                  <a:lnTo>
                    <a:pt x="271" y="530"/>
                  </a:lnTo>
                  <a:lnTo>
                    <a:pt x="142" y="400"/>
                  </a:lnTo>
                  <a:lnTo>
                    <a:pt x="0" y="542"/>
                  </a:lnTo>
                  <a:lnTo>
                    <a:pt x="271" y="812"/>
                  </a:lnTo>
                  <a:lnTo>
                    <a:pt x="942" y="142"/>
                  </a:lnTo>
                  <a:lnTo>
                    <a:pt x="80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86" name="Freeform 31"/>
            <p:cNvSpPr>
              <a:spLocks/>
            </p:cNvSpPr>
            <p:nvPr/>
          </p:nvSpPr>
          <p:spPr bwMode="auto">
            <a:xfrm>
              <a:off x="4932" y="1264"/>
              <a:ext cx="40" cy="40"/>
            </a:xfrm>
            <a:custGeom>
              <a:avLst/>
              <a:gdLst>
                <a:gd name="T0" fmla="*/ 0 w 742"/>
                <a:gd name="T1" fmla="*/ 600 h 742"/>
                <a:gd name="T2" fmla="*/ 142 w 742"/>
                <a:gd name="T3" fmla="*/ 742 h 742"/>
                <a:gd name="T4" fmla="*/ 371 w 742"/>
                <a:gd name="T5" fmla="*/ 512 h 742"/>
                <a:gd name="T6" fmla="*/ 600 w 742"/>
                <a:gd name="T7" fmla="*/ 742 h 742"/>
                <a:gd name="T8" fmla="*/ 742 w 742"/>
                <a:gd name="T9" fmla="*/ 600 h 742"/>
                <a:gd name="T10" fmla="*/ 512 w 742"/>
                <a:gd name="T11" fmla="*/ 371 h 742"/>
                <a:gd name="T12" fmla="*/ 742 w 742"/>
                <a:gd name="T13" fmla="*/ 142 h 742"/>
                <a:gd name="T14" fmla="*/ 600 w 742"/>
                <a:gd name="T15" fmla="*/ 0 h 742"/>
                <a:gd name="T16" fmla="*/ 371 w 742"/>
                <a:gd name="T17" fmla="*/ 230 h 742"/>
                <a:gd name="T18" fmla="*/ 142 w 742"/>
                <a:gd name="T19" fmla="*/ 0 h 742"/>
                <a:gd name="T20" fmla="*/ 0 w 742"/>
                <a:gd name="T21" fmla="*/ 142 h 742"/>
                <a:gd name="T22" fmla="*/ 230 w 742"/>
                <a:gd name="T23" fmla="*/ 371 h 742"/>
                <a:gd name="T24" fmla="*/ 0 w 742"/>
                <a:gd name="T25" fmla="*/ 600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42" h="742">
                  <a:moveTo>
                    <a:pt x="0" y="600"/>
                  </a:moveTo>
                  <a:lnTo>
                    <a:pt x="142" y="742"/>
                  </a:lnTo>
                  <a:lnTo>
                    <a:pt x="371" y="512"/>
                  </a:lnTo>
                  <a:lnTo>
                    <a:pt x="600" y="742"/>
                  </a:lnTo>
                  <a:lnTo>
                    <a:pt x="742" y="600"/>
                  </a:lnTo>
                  <a:lnTo>
                    <a:pt x="512" y="371"/>
                  </a:lnTo>
                  <a:lnTo>
                    <a:pt x="742" y="142"/>
                  </a:lnTo>
                  <a:lnTo>
                    <a:pt x="600" y="0"/>
                  </a:lnTo>
                  <a:lnTo>
                    <a:pt x="371" y="230"/>
                  </a:lnTo>
                  <a:lnTo>
                    <a:pt x="142" y="0"/>
                  </a:lnTo>
                  <a:lnTo>
                    <a:pt x="0" y="142"/>
                  </a:lnTo>
                  <a:lnTo>
                    <a:pt x="230" y="371"/>
                  </a:lnTo>
                  <a:lnTo>
                    <a:pt x="0" y="6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grpSp>
        <p:nvGrpSpPr>
          <p:cNvPr id="87" name="Group 34"/>
          <p:cNvGrpSpPr>
            <a:grpSpLocks noChangeAspect="1"/>
          </p:cNvGrpSpPr>
          <p:nvPr/>
        </p:nvGrpSpPr>
        <p:grpSpPr bwMode="auto">
          <a:xfrm>
            <a:off x="1144588" y="3530601"/>
            <a:ext cx="523875" cy="527050"/>
            <a:chOff x="721" y="2236"/>
            <a:chExt cx="330" cy="332"/>
          </a:xfrm>
          <a:solidFill>
            <a:schemeClr val="bg1"/>
          </a:solidFill>
        </p:grpSpPr>
        <p:sp>
          <p:nvSpPr>
            <p:cNvPr id="89" name="Freeform 35"/>
            <p:cNvSpPr>
              <a:spLocks noEditPoints="1"/>
            </p:cNvSpPr>
            <p:nvPr/>
          </p:nvSpPr>
          <p:spPr bwMode="auto">
            <a:xfrm>
              <a:off x="721" y="2236"/>
              <a:ext cx="330" cy="332"/>
            </a:xfrm>
            <a:custGeom>
              <a:avLst/>
              <a:gdLst>
                <a:gd name="T0" fmla="*/ 3236 w 6236"/>
                <a:gd name="T1" fmla="*/ 20 h 6256"/>
                <a:gd name="T2" fmla="*/ 464 w 6236"/>
                <a:gd name="T3" fmla="*/ 1872 h 6256"/>
                <a:gd name="T4" fmla="*/ 1115 w 6236"/>
                <a:gd name="T5" fmla="*/ 5141 h 6256"/>
                <a:gd name="T6" fmla="*/ 4384 w 6236"/>
                <a:gd name="T7" fmla="*/ 5792 h 6256"/>
                <a:gd name="T8" fmla="*/ 6236 w 6236"/>
                <a:gd name="T9" fmla="*/ 3020 h 6256"/>
                <a:gd name="T10" fmla="*/ 3236 w 6236"/>
                <a:gd name="T11" fmla="*/ 20 h 6256"/>
                <a:gd name="T12" fmla="*/ 3236 w 6236"/>
                <a:gd name="T13" fmla="*/ 5820 h 6256"/>
                <a:gd name="T14" fmla="*/ 649 w 6236"/>
                <a:gd name="T15" fmla="*/ 4092 h 6256"/>
                <a:gd name="T16" fmla="*/ 1256 w 6236"/>
                <a:gd name="T17" fmla="*/ 1040 h 6256"/>
                <a:gd name="T18" fmla="*/ 4308 w 6236"/>
                <a:gd name="T19" fmla="*/ 433 h 6256"/>
                <a:gd name="T20" fmla="*/ 6036 w 6236"/>
                <a:gd name="T21" fmla="*/ 3020 h 6256"/>
                <a:gd name="T22" fmla="*/ 3236 w 6236"/>
                <a:gd name="T23" fmla="*/ 5820 h 6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36" h="6256">
                  <a:moveTo>
                    <a:pt x="3236" y="20"/>
                  </a:moveTo>
                  <a:cubicBezTo>
                    <a:pt x="2023" y="20"/>
                    <a:pt x="929" y="751"/>
                    <a:pt x="464" y="1872"/>
                  </a:cubicBezTo>
                  <a:cubicBezTo>
                    <a:pt x="0" y="2993"/>
                    <a:pt x="257" y="4283"/>
                    <a:pt x="1115" y="5141"/>
                  </a:cubicBezTo>
                  <a:cubicBezTo>
                    <a:pt x="1973" y="5999"/>
                    <a:pt x="3263" y="6256"/>
                    <a:pt x="4384" y="5792"/>
                  </a:cubicBezTo>
                  <a:cubicBezTo>
                    <a:pt x="5505" y="5327"/>
                    <a:pt x="6236" y="4233"/>
                    <a:pt x="6236" y="3020"/>
                  </a:cubicBezTo>
                  <a:cubicBezTo>
                    <a:pt x="6234" y="1364"/>
                    <a:pt x="4892" y="22"/>
                    <a:pt x="3236" y="20"/>
                  </a:cubicBezTo>
                  <a:close/>
                  <a:moveTo>
                    <a:pt x="3236" y="5820"/>
                  </a:moveTo>
                  <a:cubicBezTo>
                    <a:pt x="2104" y="5820"/>
                    <a:pt x="1083" y="5138"/>
                    <a:pt x="649" y="4092"/>
                  </a:cubicBezTo>
                  <a:cubicBezTo>
                    <a:pt x="216" y="3045"/>
                    <a:pt x="455" y="1841"/>
                    <a:pt x="1256" y="1040"/>
                  </a:cubicBezTo>
                  <a:cubicBezTo>
                    <a:pt x="2057" y="239"/>
                    <a:pt x="3261" y="0"/>
                    <a:pt x="4308" y="433"/>
                  </a:cubicBezTo>
                  <a:cubicBezTo>
                    <a:pt x="5354" y="867"/>
                    <a:pt x="6036" y="1888"/>
                    <a:pt x="6036" y="3020"/>
                  </a:cubicBezTo>
                  <a:cubicBezTo>
                    <a:pt x="6034" y="4566"/>
                    <a:pt x="4782" y="5818"/>
                    <a:pt x="3236" y="58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6"/>
            <p:cNvSpPr>
              <a:spLocks noEditPoints="1"/>
            </p:cNvSpPr>
            <p:nvPr/>
          </p:nvSpPr>
          <p:spPr bwMode="auto">
            <a:xfrm>
              <a:off x="850" y="2475"/>
              <a:ext cx="85" cy="54"/>
            </a:xfrm>
            <a:custGeom>
              <a:avLst/>
              <a:gdLst>
                <a:gd name="T0" fmla="*/ 1500 w 1600"/>
                <a:gd name="T1" fmla="*/ 0 h 1000"/>
                <a:gd name="T2" fmla="*/ 100 w 1600"/>
                <a:gd name="T3" fmla="*/ 0 h 1000"/>
                <a:gd name="T4" fmla="*/ 0 w 1600"/>
                <a:gd name="T5" fmla="*/ 100 h 1000"/>
                <a:gd name="T6" fmla="*/ 0 w 1600"/>
                <a:gd name="T7" fmla="*/ 900 h 1000"/>
                <a:gd name="T8" fmla="*/ 100 w 1600"/>
                <a:gd name="T9" fmla="*/ 1000 h 1000"/>
                <a:gd name="T10" fmla="*/ 1500 w 1600"/>
                <a:gd name="T11" fmla="*/ 1000 h 1000"/>
                <a:gd name="T12" fmla="*/ 1600 w 1600"/>
                <a:gd name="T13" fmla="*/ 900 h 1000"/>
                <a:gd name="T14" fmla="*/ 1600 w 1600"/>
                <a:gd name="T15" fmla="*/ 100 h 1000"/>
                <a:gd name="T16" fmla="*/ 1500 w 1600"/>
                <a:gd name="T17" fmla="*/ 0 h 1000"/>
                <a:gd name="T18" fmla="*/ 1400 w 1600"/>
                <a:gd name="T19" fmla="*/ 800 h 1000"/>
                <a:gd name="T20" fmla="*/ 200 w 1600"/>
                <a:gd name="T21" fmla="*/ 800 h 1000"/>
                <a:gd name="T22" fmla="*/ 200 w 1600"/>
                <a:gd name="T23" fmla="*/ 200 h 1000"/>
                <a:gd name="T24" fmla="*/ 1400 w 1600"/>
                <a:gd name="T25" fmla="*/ 200 h 1000"/>
                <a:gd name="T26" fmla="*/ 1400 w 1600"/>
                <a:gd name="T27" fmla="*/ 80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00" h="1000">
                  <a:moveTo>
                    <a:pt x="1500" y="0"/>
                  </a:move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lnTo>
                    <a:pt x="0" y="900"/>
                  </a:lnTo>
                  <a:cubicBezTo>
                    <a:pt x="0" y="955"/>
                    <a:pt x="45" y="1000"/>
                    <a:pt x="100" y="1000"/>
                  </a:cubicBezTo>
                  <a:lnTo>
                    <a:pt x="1500" y="1000"/>
                  </a:lnTo>
                  <a:cubicBezTo>
                    <a:pt x="1555" y="1000"/>
                    <a:pt x="1600" y="955"/>
                    <a:pt x="1600" y="900"/>
                  </a:cubicBezTo>
                  <a:lnTo>
                    <a:pt x="1600" y="100"/>
                  </a:lnTo>
                  <a:cubicBezTo>
                    <a:pt x="1600" y="45"/>
                    <a:pt x="1555" y="0"/>
                    <a:pt x="1500" y="0"/>
                  </a:cubicBezTo>
                  <a:close/>
                  <a:moveTo>
                    <a:pt x="1400" y="800"/>
                  </a:moveTo>
                  <a:lnTo>
                    <a:pt x="200" y="800"/>
                  </a:lnTo>
                  <a:lnTo>
                    <a:pt x="200" y="200"/>
                  </a:lnTo>
                  <a:lnTo>
                    <a:pt x="1400" y="200"/>
                  </a:lnTo>
                  <a:lnTo>
                    <a:pt x="1400" y="8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7"/>
            <p:cNvSpPr>
              <a:spLocks noEditPoints="1"/>
            </p:cNvSpPr>
            <p:nvPr/>
          </p:nvSpPr>
          <p:spPr bwMode="auto">
            <a:xfrm>
              <a:off x="760" y="2263"/>
              <a:ext cx="265" cy="174"/>
            </a:xfrm>
            <a:custGeom>
              <a:avLst/>
              <a:gdLst>
                <a:gd name="T0" fmla="*/ 0 w 5000"/>
                <a:gd name="T1" fmla="*/ 2500 h 3277"/>
                <a:gd name="T2" fmla="*/ 900 w 5000"/>
                <a:gd name="T3" fmla="*/ 2600 h 3277"/>
                <a:gd name="T4" fmla="*/ 1857 w 5000"/>
                <a:gd name="T5" fmla="*/ 1145 h 3277"/>
                <a:gd name="T6" fmla="*/ 2800 w 5000"/>
                <a:gd name="T7" fmla="*/ 1869 h 3277"/>
                <a:gd name="T8" fmla="*/ 1998 w 5000"/>
                <a:gd name="T9" fmla="*/ 3002 h 3277"/>
                <a:gd name="T10" fmla="*/ 3131 w 5000"/>
                <a:gd name="T11" fmla="*/ 2200 h 3277"/>
                <a:gd name="T12" fmla="*/ 4000 w 5000"/>
                <a:gd name="T13" fmla="*/ 2500 h 3277"/>
                <a:gd name="T14" fmla="*/ 4900 w 5000"/>
                <a:gd name="T15" fmla="*/ 2600 h 3277"/>
                <a:gd name="T16" fmla="*/ 2500 w 5000"/>
                <a:gd name="T17" fmla="*/ 0 h 3277"/>
                <a:gd name="T18" fmla="*/ 202 w 5000"/>
                <a:gd name="T19" fmla="*/ 2400 h 3277"/>
                <a:gd name="T20" fmla="*/ 982 w 5000"/>
                <a:gd name="T21" fmla="*/ 1739 h 3277"/>
                <a:gd name="T22" fmla="*/ 1082 w 5000"/>
                <a:gd name="T23" fmla="*/ 1566 h 3277"/>
                <a:gd name="T24" fmla="*/ 1265 w 5000"/>
                <a:gd name="T25" fmla="*/ 561 h 3277"/>
                <a:gd name="T26" fmla="*/ 1082 w 5000"/>
                <a:gd name="T27" fmla="*/ 1566 h 3277"/>
                <a:gd name="T28" fmla="*/ 1739 w 5000"/>
                <a:gd name="T29" fmla="*/ 981 h 3277"/>
                <a:gd name="T30" fmla="*/ 2400 w 5000"/>
                <a:gd name="T31" fmla="*/ 202 h 3277"/>
                <a:gd name="T32" fmla="*/ 2500 w 5000"/>
                <a:gd name="T33" fmla="*/ 3000 h 3277"/>
                <a:gd name="T34" fmla="*/ 2500 w 5000"/>
                <a:gd name="T35" fmla="*/ 2000 h 3277"/>
                <a:gd name="T36" fmla="*/ 2295 w 5000"/>
                <a:gd name="T37" fmla="*/ 2281 h 3277"/>
                <a:gd name="T38" fmla="*/ 2280 w 5000"/>
                <a:gd name="T39" fmla="*/ 2720 h 3277"/>
                <a:gd name="T40" fmla="*/ 2719 w 5000"/>
                <a:gd name="T41" fmla="*/ 2705 h 3277"/>
                <a:gd name="T42" fmla="*/ 3000 w 5000"/>
                <a:gd name="T43" fmla="*/ 2500 h 3277"/>
                <a:gd name="T44" fmla="*/ 2568 w 5000"/>
                <a:gd name="T45" fmla="*/ 2574 h 3277"/>
                <a:gd name="T46" fmla="*/ 2400 w 5000"/>
                <a:gd name="T47" fmla="*/ 2500 h 3277"/>
                <a:gd name="T48" fmla="*/ 3196 w 5000"/>
                <a:gd name="T49" fmla="*/ 1804 h 3277"/>
                <a:gd name="T50" fmla="*/ 2600 w 5000"/>
                <a:gd name="T51" fmla="*/ 805 h 3277"/>
                <a:gd name="T52" fmla="*/ 3562 w 5000"/>
                <a:gd name="T53" fmla="*/ 460 h 3277"/>
                <a:gd name="T54" fmla="*/ 2600 w 5000"/>
                <a:gd name="T55" fmla="*/ 805 h 3277"/>
                <a:gd name="T56" fmla="*/ 3789 w 5000"/>
                <a:gd name="T57" fmla="*/ 1394 h 3277"/>
                <a:gd name="T58" fmla="*/ 3837 w 5000"/>
                <a:gd name="T59" fmla="*/ 1023 h 3277"/>
                <a:gd name="T60" fmla="*/ 3435 w 5000"/>
                <a:gd name="T61" fmla="*/ 1081 h 3277"/>
                <a:gd name="T62" fmla="*/ 4439 w 5000"/>
                <a:gd name="T63" fmla="*/ 1265 h 3277"/>
                <a:gd name="T64" fmla="*/ 4197 w 5000"/>
                <a:gd name="T65" fmla="*/ 2400 h 3277"/>
                <a:gd name="T66" fmla="*/ 4540 w 5000"/>
                <a:gd name="T67" fmla="*/ 1438 h 3277"/>
                <a:gd name="T68" fmla="*/ 4197 w 5000"/>
                <a:gd name="T69" fmla="*/ 2400 h 3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000" h="3277">
                  <a:moveTo>
                    <a:pt x="2500" y="0"/>
                  </a:moveTo>
                  <a:cubicBezTo>
                    <a:pt x="1120" y="1"/>
                    <a:pt x="1" y="1120"/>
                    <a:pt x="0" y="2500"/>
                  </a:cubicBezTo>
                  <a:cubicBezTo>
                    <a:pt x="0" y="2555"/>
                    <a:pt x="45" y="2600"/>
                    <a:pt x="100" y="2600"/>
                  </a:cubicBezTo>
                  <a:lnTo>
                    <a:pt x="900" y="2600"/>
                  </a:lnTo>
                  <a:cubicBezTo>
                    <a:pt x="955" y="2600"/>
                    <a:pt x="1000" y="2555"/>
                    <a:pt x="1000" y="2500"/>
                  </a:cubicBezTo>
                  <a:cubicBezTo>
                    <a:pt x="1000" y="1921"/>
                    <a:pt x="1333" y="1393"/>
                    <a:pt x="1857" y="1145"/>
                  </a:cubicBezTo>
                  <a:cubicBezTo>
                    <a:pt x="2381" y="896"/>
                    <a:pt x="3001" y="972"/>
                    <a:pt x="3449" y="1339"/>
                  </a:cubicBezTo>
                  <a:lnTo>
                    <a:pt x="2800" y="1869"/>
                  </a:lnTo>
                  <a:cubicBezTo>
                    <a:pt x="2491" y="1721"/>
                    <a:pt x="2120" y="1817"/>
                    <a:pt x="1921" y="2097"/>
                  </a:cubicBezTo>
                  <a:cubicBezTo>
                    <a:pt x="1723" y="2377"/>
                    <a:pt x="1756" y="2759"/>
                    <a:pt x="1998" y="3002"/>
                  </a:cubicBezTo>
                  <a:cubicBezTo>
                    <a:pt x="2241" y="3244"/>
                    <a:pt x="2623" y="3277"/>
                    <a:pt x="2903" y="3079"/>
                  </a:cubicBezTo>
                  <a:cubicBezTo>
                    <a:pt x="3183" y="2880"/>
                    <a:pt x="3279" y="2509"/>
                    <a:pt x="3131" y="2200"/>
                  </a:cubicBezTo>
                  <a:lnTo>
                    <a:pt x="3661" y="1551"/>
                  </a:lnTo>
                  <a:cubicBezTo>
                    <a:pt x="3881" y="1818"/>
                    <a:pt x="4000" y="2154"/>
                    <a:pt x="4000" y="2500"/>
                  </a:cubicBezTo>
                  <a:cubicBezTo>
                    <a:pt x="4000" y="2555"/>
                    <a:pt x="4045" y="2600"/>
                    <a:pt x="4100" y="2600"/>
                  </a:cubicBezTo>
                  <a:lnTo>
                    <a:pt x="4900" y="2600"/>
                  </a:lnTo>
                  <a:cubicBezTo>
                    <a:pt x="4955" y="2600"/>
                    <a:pt x="5000" y="2555"/>
                    <a:pt x="5000" y="2500"/>
                  </a:cubicBezTo>
                  <a:cubicBezTo>
                    <a:pt x="4999" y="1120"/>
                    <a:pt x="3880" y="1"/>
                    <a:pt x="2500" y="0"/>
                  </a:cubicBezTo>
                  <a:close/>
                  <a:moveTo>
                    <a:pt x="803" y="2400"/>
                  </a:moveTo>
                  <a:lnTo>
                    <a:pt x="202" y="2400"/>
                  </a:lnTo>
                  <a:cubicBezTo>
                    <a:pt x="217" y="2064"/>
                    <a:pt x="305" y="1736"/>
                    <a:pt x="460" y="1438"/>
                  </a:cubicBezTo>
                  <a:lnTo>
                    <a:pt x="982" y="1739"/>
                  </a:lnTo>
                  <a:cubicBezTo>
                    <a:pt x="877" y="1945"/>
                    <a:pt x="816" y="2170"/>
                    <a:pt x="803" y="2400"/>
                  </a:cubicBezTo>
                  <a:close/>
                  <a:moveTo>
                    <a:pt x="1082" y="1566"/>
                  </a:moveTo>
                  <a:lnTo>
                    <a:pt x="561" y="1265"/>
                  </a:lnTo>
                  <a:cubicBezTo>
                    <a:pt x="742" y="982"/>
                    <a:pt x="982" y="742"/>
                    <a:pt x="1265" y="561"/>
                  </a:cubicBezTo>
                  <a:lnTo>
                    <a:pt x="1565" y="1081"/>
                  </a:lnTo>
                  <a:cubicBezTo>
                    <a:pt x="1373" y="1209"/>
                    <a:pt x="1209" y="1374"/>
                    <a:pt x="1082" y="1566"/>
                  </a:cubicBezTo>
                  <a:close/>
                  <a:moveTo>
                    <a:pt x="2400" y="805"/>
                  </a:moveTo>
                  <a:cubicBezTo>
                    <a:pt x="2170" y="818"/>
                    <a:pt x="1945" y="878"/>
                    <a:pt x="1739" y="981"/>
                  </a:cubicBezTo>
                  <a:lnTo>
                    <a:pt x="1438" y="460"/>
                  </a:lnTo>
                  <a:cubicBezTo>
                    <a:pt x="1736" y="305"/>
                    <a:pt x="2064" y="217"/>
                    <a:pt x="2400" y="202"/>
                  </a:cubicBezTo>
                  <a:lnTo>
                    <a:pt x="2400" y="805"/>
                  </a:lnTo>
                  <a:close/>
                  <a:moveTo>
                    <a:pt x="2500" y="3000"/>
                  </a:moveTo>
                  <a:cubicBezTo>
                    <a:pt x="2224" y="3000"/>
                    <a:pt x="2000" y="2776"/>
                    <a:pt x="2000" y="2500"/>
                  </a:cubicBezTo>
                  <a:cubicBezTo>
                    <a:pt x="2000" y="2224"/>
                    <a:pt x="2224" y="2000"/>
                    <a:pt x="2500" y="2000"/>
                  </a:cubicBezTo>
                  <a:cubicBezTo>
                    <a:pt x="2541" y="2000"/>
                    <a:pt x="2581" y="2005"/>
                    <a:pt x="2621" y="2015"/>
                  </a:cubicBezTo>
                  <a:lnTo>
                    <a:pt x="2295" y="2281"/>
                  </a:lnTo>
                  <a:cubicBezTo>
                    <a:pt x="2292" y="2283"/>
                    <a:pt x="2290" y="2285"/>
                    <a:pt x="2288" y="2288"/>
                  </a:cubicBezTo>
                  <a:cubicBezTo>
                    <a:pt x="2164" y="2404"/>
                    <a:pt x="2160" y="2600"/>
                    <a:pt x="2280" y="2720"/>
                  </a:cubicBezTo>
                  <a:cubicBezTo>
                    <a:pt x="2400" y="2840"/>
                    <a:pt x="2596" y="2836"/>
                    <a:pt x="2712" y="2712"/>
                  </a:cubicBezTo>
                  <a:cubicBezTo>
                    <a:pt x="2715" y="2710"/>
                    <a:pt x="2717" y="2708"/>
                    <a:pt x="2719" y="2705"/>
                  </a:cubicBezTo>
                  <a:lnTo>
                    <a:pt x="2985" y="2379"/>
                  </a:lnTo>
                  <a:cubicBezTo>
                    <a:pt x="2995" y="2419"/>
                    <a:pt x="3000" y="2459"/>
                    <a:pt x="3000" y="2500"/>
                  </a:cubicBezTo>
                  <a:cubicBezTo>
                    <a:pt x="3000" y="2776"/>
                    <a:pt x="2776" y="3000"/>
                    <a:pt x="2500" y="3000"/>
                  </a:cubicBezTo>
                  <a:close/>
                  <a:moveTo>
                    <a:pt x="2568" y="2574"/>
                  </a:moveTo>
                  <a:cubicBezTo>
                    <a:pt x="2528" y="2609"/>
                    <a:pt x="2468" y="2607"/>
                    <a:pt x="2429" y="2571"/>
                  </a:cubicBezTo>
                  <a:cubicBezTo>
                    <a:pt x="2410" y="2552"/>
                    <a:pt x="2400" y="2527"/>
                    <a:pt x="2400" y="2500"/>
                  </a:cubicBezTo>
                  <a:cubicBezTo>
                    <a:pt x="2400" y="2475"/>
                    <a:pt x="2409" y="2451"/>
                    <a:pt x="2426" y="2432"/>
                  </a:cubicBezTo>
                  <a:lnTo>
                    <a:pt x="3196" y="1804"/>
                  </a:lnTo>
                  <a:lnTo>
                    <a:pt x="2568" y="2574"/>
                  </a:lnTo>
                  <a:close/>
                  <a:moveTo>
                    <a:pt x="2600" y="805"/>
                  </a:moveTo>
                  <a:lnTo>
                    <a:pt x="2600" y="202"/>
                  </a:lnTo>
                  <a:cubicBezTo>
                    <a:pt x="2936" y="217"/>
                    <a:pt x="3264" y="305"/>
                    <a:pt x="3562" y="460"/>
                  </a:cubicBezTo>
                  <a:lnTo>
                    <a:pt x="3261" y="981"/>
                  </a:lnTo>
                  <a:cubicBezTo>
                    <a:pt x="3055" y="878"/>
                    <a:pt x="2830" y="818"/>
                    <a:pt x="2600" y="805"/>
                  </a:cubicBezTo>
                  <a:close/>
                  <a:moveTo>
                    <a:pt x="3918" y="1566"/>
                  </a:moveTo>
                  <a:cubicBezTo>
                    <a:pt x="3879" y="1506"/>
                    <a:pt x="3836" y="1449"/>
                    <a:pt x="3789" y="1394"/>
                  </a:cubicBezTo>
                  <a:lnTo>
                    <a:pt x="3977" y="1163"/>
                  </a:lnTo>
                  <a:cubicBezTo>
                    <a:pt x="4055" y="1070"/>
                    <a:pt x="3930" y="945"/>
                    <a:pt x="3837" y="1023"/>
                  </a:cubicBezTo>
                  <a:lnTo>
                    <a:pt x="3605" y="1212"/>
                  </a:lnTo>
                  <a:cubicBezTo>
                    <a:pt x="3551" y="1165"/>
                    <a:pt x="3494" y="1121"/>
                    <a:pt x="3435" y="1081"/>
                  </a:cubicBezTo>
                  <a:lnTo>
                    <a:pt x="3735" y="561"/>
                  </a:lnTo>
                  <a:cubicBezTo>
                    <a:pt x="4018" y="742"/>
                    <a:pt x="4258" y="982"/>
                    <a:pt x="4439" y="1265"/>
                  </a:cubicBezTo>
                  <a:lnTo>
                    <a:pt x="3918" y="1566"/>
                  </a:lnTo>
                  <a:close/>
                  <a:moveTo>
                    <a:pt x="4197" y="2400"/>
                  </a:moveTo>
                  <a:cubicBezTo>
                    <a:pt x="4184" y="2170"/>
                    <a:pt x="4123" y="1945"/>
                    <a:pt x="4018" y="1739"/>
                  </a:cubicBezTo>
                  <a:lnTo>
                    <a:pt x="4540" y="1438"/>
                  </a:lnTo>
                  <a:cubicBezTo>
                    <a:pt x="4695" y="1736"/>
                    <a:pt x="4783" y="2064"/>
                    <a:pt x="4798" y="2400"/>
                  </a:cubicBezTo>
                  <a:lnTo>
                    <a:pt x="4197" y="2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8"/>
            <p:cNvSpPr>
              <a:spLocks noEditPoints="1"/>
            </p:cNvSpPr>
            <p:nvPr/>
          </p:nvSpPr>
          <p:spPr bwMode="auto">
            <a:xfrm>
              <a:off x="935" y="2433"/>
              <a:ext cx="37" cy="37"/>
            </a:xfrm>
            <a:custGeom>
              <a:avLst/>
              <a:gdLst>
                <a:gd name="T0" fmla="*/ 401 w 701"/>
                <a:gd name="T1" fmla="*/ 0 h 701"/>
                <a:gd name="T2" fmla="*/ 189 w 701"/>
                <a:gd name="T3" fmla="*/ 512 h 701"/>
                <a:gd name="T4" fmla="*/ 701 w 701"/>
                <a:gd name="T5" fmla="*/ 300 h 701"/>
                <a:gd name="T6" fmla="*/ 401 w 701"/>
                <a:gd name="T7" fmla="*/ 0 h 701"/>
                <a:gd name="T8" fmla="*/ 401 w 701"/>
                <a:gd name="T9" fmla="*/ 400 h 701"/>
                <a:gd name="T10" fmla="*/ 330 w 701"/>
                <a:gd name="T11" fmla="*/ 229 h 701"/>
                <a:gd name="T12" fmla="*/ 501 w 701"/>
                <a:gd name="T13" fmla="*/ 300 h 701"/>
                <a:gd name="T14" fmla="*/ 401 w 701"/>
                <a:gd name="T15" fmla="*/ 400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1" h="701">
                  <a:moveTo>
                    <a:pt x="401" y="0"/>
                  </a:moveTo>
                  <a:cubicBezTo>
                    <a:pt x="134" y="0"/>
                    <a:pt x="0" y="323"/>
                    <a:pt x="189" y="512"/>
                  </a:cubicBezTo>
                  <a:cubicBezTo>
                    <a:pt x="378" y="701"/>
                    <a:pt x="701" y="567"/>
                    <a:pt x="701" y="300"/>
                  </a:cubicBezTo>
                  <a:cubicBezTo>
                    <a:pt x="701" y="134"/>
                    <a:pt x="567" y="0"/>
                    <a:pt x="401" y="0"/>
                  </a:cubicBezTo>
                  <a:close/>
                  <a:moveTo>
                    <a:pt x="401" y="400"/>
                  </a:moveTo>
                  <a:cubicBezTo>
                    <a:pt x="312" y="400"/>
                    <a:pt x="267" y="292"/>
                    <a:pt x="330" y="229"/>
                  </a:cubicBezTo>
                  <a:cubicBezTo>
                    <a:pt x="393" y="166"/>
                    <a:pt x="501" y="211"/>
                    <a:pt x="501" y="300"/>
                  </a:cubicBezTo>
                  <a:cubicBezTo>
                    <a:pt x="501" y="355"/>
                    <a:pt x="456" y="400"/>
                    <a:pt x="401" y="4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9"/>
            <p:cNvSpPr>
              <a:spLocks noEditPoints="1"/>
            </p:cNvSpPr>
            <p:nvPr/>
          </p:nvSpPr>
          <p:spPr bwMode="auto">
            <a:xfrm>
              <a:off x="977" y="2433"/>
              <a:ext cx="37" cy="37"/>
            </a:xfrm>
            <a:custGeom>
              <a:avLst/>
              <a:gdLst>
                <a:gd name="T0" fmla="*/ 401 w 701"/>
                <a:gd name="T1" fmla="*/ 0 h 701"/>
                <a:gd name="T2" fmla="*/ 189 w 701"/>
                <a:gd name="T3" fmla="*/ 512 h 701"/>
                <a:gd name="T4" fmla="*/ 701 w 701"/>
                <a:gd name="T5" fmla="*/ 300 h 701"/>
                <a:gd name="T6" fmla="*/ 401 w 701"/>
                <a:gd name="T7" fmla="*/ 0 h 701"/>
                <a:gd name="T8" fmla="*/ 401 w 701"/>
                <a:gd name="T9" fmla="*/ 400 h 701"/>
                <a:gd name="T10" fmla="*/ 330 w 701"/>
                <a:gd name="T11" fmla="*/ 229 h 701"/>
                <a:gd name="T12" fmla="*/ 501 w 701"/>
                <a:gd name="T13" fmla="*/ 300 h 701"/>
                <a:gd name="T14" fmla="*/ 401 w 701"/>
                <a:gd name="T15" fmla="*/ 400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1" h="701">
                  <a:moveTo>
                    <a:pt x="401" y="0"/>
                  </a:moveTo>
                  <a:cubicBezTo>
                    <a:pt x="134" y="0"/>
                    <a:pt x="0" y="323"/>
                    <a:pt x="189" y="512"/>
                  </a:cubicBezTo>
                  <a:cubicBezTo>
                    <a:pt x="378" y="701"/>
                    <a:pt x="701" y="567"/>
                    <a:pt x="701" y="300"/>
                  </a:cubicBezTo>
                  <a:cubicBezTo>
                    <a:pt x="701" y="134"/>
                    <a:pt x="567" y="0"/>
                    <a:pt x="401" y="0"/>
                  </a:cubicBezTo>
                  <a:close/>
                  <a:moveTo>
                    <a:pt x="401" y="400"/>
                  </a:moveTo>
                  <a:cubicBezTo>
                    <a:pt x="312" y="400"/>
                    <a:pt x="267" y="292"/>
                    <a:pt x="330" y="229"/>
                  </a:cubicBezTo>
                  <a:cubicBezTo>
                    <a:pt x="393" y="166"/>
                    <a:pt x="501" y="211"/>
                    <a:pt x="501" y="300"/>
                  </a:cubicBezTo>
                  <a:cubicBezTo>
                    <a:pt x="501" y="355"/>
                    <a:pt x="456" y="400"/>
                    <a:pt x="401" y="4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0"/>
            <p:cNvSpPr>
              <a:spLocks noEditPoints="1"/>
            </p:cNvSpPr>
            <p:nvPr/>
          </p:nvSpPr>
          <p:spPr bwMode="auto">
            <a:xfrm>
              <a:off x="808" y="2433"/>
              <a:ext cx="37" cy="37"/>
            </a:xfrm>
            <a:custGeom>
              <a:avLst/>
              <a:gdLst>
                <a:gd name="T0" fmla="*/ 401 w 701"/>
                <a:gd name="T1" fmla="*/ 0 h 701"/>
                <a:gd name="T2" fmla="*/ 189 w 701"/>
                <a:gd name="T3" fmla="*/ 512 h 701"/>
                <a:gd name="T4" fmla="*/ 701 w 701"/>
                <a:gd name="T5" fmla="*/ 300 h 701"/>
                <a:gd name="T6" fmla="*/ 401 w 701"/>
                <a:gd name="T7" fmla="*/ 0 h 701"/>
                <a:gd name="T8" fmla="*/ 401 w 701"/>
                <a:gd name="T9" fmla="*/ 400 h 701"/>
                <a:gd name="T10" fmla="*/ 330 w 701"/>
                <a:gd name="T11" fmla="*/ 229 h 701"/>
                <a:gd name="T12" fmla="*/ 501 w 701"/>
                <a:gd name="T13" fmla="*/ 300 h 701"/>
                <a:gd name="T14" fmla="*/ 401 w 701"/>
                <a:gd name="T15" fmla="*/ 400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1" h="701">
                  <a:moveTo>
                    <a:pt x="401" y="0"/>
                  </a:moveTo>
                  <a:cubicBezTo>
                    <a:pt x="134" y="0"/>
                    <a:pt x="0" y="323"/>
                    <a:pt x="189" y="512"/>
                  </a:cubicBezTo>
                  <a:cubicBezTo>
                    <a:pt x="378" y="701"/>
                    <a:pt x="701" y="567"/>
                    <a:pt x="701" y="300"/>
                  </a:cubicBezTo>
                  <a:cubicBezTo>
                    <a:pt x="701" y="134"/>
                    <a:pt x="567" y="0"/>
                    <a:pt x="401" y="0"/>
                  </a:cubicBezTo>
                  <a:close/>
                  <a:moveTo>
                    <a:pt x="401" y="400"/>
                  </a:moveTo>
                  <a:cubicBezTo>
                    <a:pt x="312" y="400"/>
                    <a:pt x="267" y="292"/>
                    <a:pt x="330" y="229"/>
                  </a:cubicBezTo>
                  <a:cubicBezTo>
                    <a:pt x="393" y="166"/>
                    <a:pt x="501" y="211"/>
                    <a:pt x="501" y="300"/>
                  </a:cubicBezTo>
                  <a:cubicBezTo>
                    <a:pt x="501" y="355"/>
                    <a:pt x="456" y="400"/>
                    <a:pt x="401" y="4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41"/>
            <p:cNvSpPr>
              <a:spLocks noEditPoints="1"/>
            </p:cNvSpPr>
            <p:nvPr/>
          </p:nvSpPr>
          <p:spPr bwMode="auto">
            <a:xfrm>
              <a:off x="765" y="2433"/>
              <a:ext cx="37" cy="37"/>
            </a:xfrm>
            <a:custGeom>
              <a:avLst/>
              <a:gdLst>
                <a:gd name="T0" fmla="*/ 401 w 701"/>
                <a:gd name="T1" fmla="*/ 0 h 701"/>
                <a:gd name="T2" fmla="*/ 189 w 701"/>
                <a:gd name="T3" fmla="*/ 512 h 701"/>
                <a:gd name="T4" fmla="*/ 701 w 701"/>
                <a:gd name="T5" fmla="*/ 300 h 701"/>
                <a:gd name="T6" fmla="*/ 401 w 701"/>
                <a:gd name="T7" fmla="*/ 0 h 701"/>
                <a:gd name="T8" fmla="*/ 401 w 701"/>
                <a:gd name="T9" fmla="*/ 400 h 701"/>
                <a:gd name="T10" fmla="*/ 330 w 701"/>
                <a:gd name="T11" fmla="*/ 229 h 701"/>
                <a:gd name="T12" fmla="*/ 501 w 701"/>
                <a:gd name="T13" fmla="*/ 300 h 701"/>
                <a:gd name="T14" fmla="*/ 401 w 701"/>
                <a:gd name="T15" fmla="*/ 400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1" h="701">
                  <a:moveTo>
                    <a:pt x="401" y="0"/>
                  </a:moveTo>
                  <a:cubicBezTo>
                    <a:pt x="134" y="0"/>
                    <a:pt x="0" y="323"/>
                    <a:pt x="189" y="512"/>
                  </a:cubicBezTo>
                  <a:cubicBezTo>
                    <a:pt x="378" y="701"/>
                    <a:pt x="701" y="567"/>
                    <a:pt x="701" y="300"/>
                  </a:cubicBezTo>
                  <a:cubicBezTo>
                    <a:pt x="701" y="134"/>
                    <a:pt x="567" y="0"/>
                    <a:pt x="401" y="0"/>
                  </a:cubicBezTo>
                  <a:close/>
                  <a:moveTo>
                    <a:pt x="401" y="400"/>
                  </a:moveTo>
                  <a:cubicBezTo>
                    <a:pt x="312" y="400"/>
                    <a:pt x="267" y="292"/>
                    <a:pt x="330" y="229"/>
                  </a:cubicBezTo>
                  <a:cubicBezTo>
                    <a:pt x="393" y="166"/>
                    <a:pt x="501" y="211"/>
                    <a:pt x="501" y="300"/>
                  </a:cubicBezTo>
                  <a:cubicBezTo>
                    <a:pt x="501" y="355"/>
                    <a:pt x="456" y="400"/>
                    <a:pt x="401" y="4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42"/>
            <p:cNvSpPr>
              <a:spLocks noChangeArrowheads="1"/>
            </p:cNvSpPr>
            <p:nvPr/>
          </p:nvSpPr>
          <p:spPr bwMode="auto">
            <a:xfrm>
              <a:off x="855" y="2444"/>
              <a:ext cx="11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43"/>
            <p:cNvSpPr>
              <a:spLocks noChangeArrowheads="1"/>
            </p:cNvSpPr>
            <p:nvPr/>
          </p:nvSpPr>
          <p:spPr bwMode="auto">
            <a:xfrm>
              <a:off x="876" y="2444"/>
              <a:ext cx="27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44"/>
            <p:cNvSpPr>
              <a:spLocks noChangeArrowheads="1"/>
            </p:cNvSpPr>
            <p:nvPr/>
          </p:nvSpPr>
          <p:spPr bwMode="auto">
            <a:xfrm>
              <a:off x="914" y="2444"/>
              <a:ext cx="10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9" name="Group 47"/>
          <p:cNvGrpSpPr>
            <a:grpSpLocks noChangeAspect="1"/>
          </p:cNvGrpSpPr>
          <p:nvPr/>
        </p:nvGrpSpPr>
        <p:grpSpPr bwMode="auto">
          <a:xfrm>
            <a:off x="4398963" y="3519488"/>
            <a:ext cx="479425" cy="538163"/>
            <a:chOff x="2771" y="2217"/>
            <a:chExt cx="302" cy="339"/>
          </a:xfrm>
          <a:solidFill>
            <a:schemeClr val="bg1"/>
          </a:solidFill>
        </p:grpSpPr>
        <p:sp>
          <p:nvSpPr>
            <p:cNvPr id="101" name="Freeform 48"/>
            <p:cNvSpPr>
              <a:spLocks/>
            </p:cNvSpPr>
            <p:nvPr/>
          </p:nvSpPr>
          <p:spPr bwMode="auto">
            <a:xfrm>
              <a:off x="2897" y="2308"/>
              <a:ext cx="50" cy="112"/>
            </a:xfrm>
            <a:custGeom>
              <a:avLst/>
              <a:gdLst>
                <a:gd name="T0" fmla="*/ 348 w 931"/>
                <a:gd name="T1" fmla="*/ 100 h 2122"/>
                <a:gd name="T2" fmla="*/ 15 w 931"/>
                <a:gd name="T3" fmla="*/ 1066 h 2122"/>
                <a:gd name="T4" fmla="*/ 43 w 931"/>
                <a:gd name="T5" fmla="*/ 1193 h 2122"/>
                <a:gd name="T6" fmla="*/ 169 w 931"/>
                <a:gd name="T7" fmla="*/ 1227 h 2122"/>
                <a:gd name="T8" fmla="*/ 542 w 931"/>
                <a:gd name="T9" fmla="*/ 1115 h 2122"/>
                <a:gd name="T10" fmla="*/ 372 w 931"/>
                <a:gd name="T11" fmla="*/ 1671 h 2122"/>
                <a:gd name="T12" fmla="*/ 309 w 931"/>
                <a:gd name="T13" fmla="*/ 1553 h 2122"/>
                <a:gd name="T14" fmla="*/ 140 w 931"/>
                <a:gd name="T15" fmla="*/ 1501 h 2122"/>
                <a:gd name="T16" fmla="*/ 88 w 931"/>
                <a:gd name="T17" fmla="*/ 1670 h 2122"/>
                <a:gd name="T18" fmla="*/ 293 w 931"/>
                <a:gd name="T19" fmla="*/ 2055 h 2122"/>
                <a:gd name="T20" fmla="*/ 367 w 931"/>
                <a:gd name="T21" fmla="*/ 2116 h 2122"/>
                <a:gd name="T22" fmla="*/ 404 w 931"/>
                <a:gd name="T23" fmla="*/ 2122 h 2122"/>
                <a:gd name="T24" fmla="*/ 462 w 931"/>
                <a:gd name="T25" fmla="*/ 2107 h 2122"/>
                <a:gd name="T26" fmla="*/ 848 w 931"/>
                <a:gd name="T27" fmla="*/ 1901 h 2122"/>
                <a:gd name="T28" fmla="*/ 899 w 931"/>
                <a:gd name="T29" fmla="*/ 1732 h 2122"/>
                <a:gd name="T30" fmla="*/ 730 w 931"/>
                <a:gd name="T31" fmla="*/ 1681 h 2122"/>
                <a:gd name="T32" fmla="*/ 611 w 931"/>
                <a:gd name="T33" fmla="*/ 1744 h 2122"/>
                <a:gd name="T34" fmla="*/ 849 w 931"/>
                <a:gd name="T35" fmla="*/ 964 h 2122"/>
                <a:gd name="T36" fmla="*/ 818 w 931"/>
                <a:gd name="T37" fmla="*/ 840 h 2122"/>
                <a:gd name="T38" fmla="*/ 693 w 931"/>
                <a:gd name="T39" fmla="*/ 808 h 2122"/>
                <a:gd name="T40" fmla="*/ 331 w 931"/>
                <a:gd name="T41" fmla="*/ 917 h 2122"/>
                <a:gd name="T42" fmla="*/ 585 w 931"/>
                <a:gd name="T43" fmla="*/ 181 h 2122"/>
                <a:gd name="T44" fmla="*/ 507 w 931"/>
                <a:gd name="T45" fmla="*/ 22 h 2122"/>
                <a:gd name="T46" fmla="*/ 348 w 931"/>
                <a:gd name="T47" fmla="*/ 100 h 2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31" h="2122">
                  <a:moveTo>
                    <a:pt x="348" y="100"/>
                  </a:moveTo>
                  <a:lnTo>
                    <a:pt x="15" y="1066"/>
                  </a:lnTo>
                  <a:cubicBezTo>
                    <a:pt x="0" y="1110"/>
                    <a:pt x="11" y="1160"/>
                    <a:pt x="43" y="1193"/>
                  </a:cubicBezTo>
                  <a:cubicBezTo>
                    <a:pt x="76" y="1227"/>
                    <a:pt x="125" y="1240"/>
                    <a:pt x="169" y="1227"/>
                  </a:cubicBezTo>
                  <a:lnTo>
                    <a:pt x="542" y="1115"/>
                  </a:lnTo>
                  <a:lnTo>
                    <a:pt x="372" y="1671"/>
                  </a:lnTo>
                  <a:lnTo>
                    <a:pt x="309" y="1553"/>
                  </a:lnTo>
                  <a:cubicBezTo>
                    <a:pt x="276" y="1492"/>
                    <a:pt x="200" y="1469"/>
                    <a:pt x="140" y="1501"/>
                  </a:cubicBezTo>
                  <a:cubicBezTo>
                    <a:pt x="79" y="1534"/>
                    <a:pt x="56" y="1609"/>
                    <a:pt x="88" y="1670"/>
                  </a:cubicBezTo>
                  <a:lnTo>
                    <a:pt x="293" y="2055"/>
                  </a:lnTo>
                  <a:cubicBezTo>
                    <a:pt x="309" y="2085"/>
                    <a:pt x="336" y="2106"/>
                    <a:pt x="367" y="2116"/>
                  </a:cubicBezTo>
                  <a:cubicBezTo>
                    <a:pt x="379" y="2120"/>
                    <a:pt x="391" y="2122"/>
                    <a:pt x="404" y="2122"/>
                  </a:cubicBezTo>
                  <a:cubicBezTo>
                    <a:pt x="424" y="2122"/>
                    <a:pt x="444" y="2117"/>
                    <a:pt x="462" y="2107"/>
                  </a:cubicBezTo>
                  <a:lnTo>
                    <a:pt x="848" y="1901"/>
                  </a:lnTo>
                  <a:cubicBezTo>
                    <a:pt x="908" y="1869"/>
                    <a:pt x="931" y="1793"/>
                    <a:pt x="899" y="1732"/>
                  </a:cubicBezTo>
                  <a:cubicBezTo>
                    <a:pt x="866" y="1671"/>
                    <a:pt x="791" y="1648"/>
                    <a:pt x="730" y="1681"/>
                  </a:cubicBezTo>
                  <a:lnTo>
                    <a:pt x="611" y="1744"/>
                  </a:lnTo>
                  <a:lnTo>
                    <a:pt x="849" y="964"/>
                  </a:lnTo>
                  <a:cubicBezTo>
                    <a:pt x="862" y="920"/>
                    <a:pt x="850" y="872"/>
                    <a:pt x="818" y="840"/>
                  </a:cubicBezTo>
                  <a:cubicBezTo>
                    <a:pt x="785" y="807"/>
                    <a:pt x="737" y="795"/>
                    <a:pt x="693" y="808"/>
                  </a:cubicBezTo>
                  <a:lnTo>
                    <a:pt x="331" y="917"/>
                  </a:lnTo>
                  <a:lnTo>
                    <a:pt x="585" y="181"/>
                  </a:lnTo>
                  <a:cubicBezTo>
                    <a:pt x="607" y="116"/>
                    <a:pt x="572" y="45"/>
                    <a:pt x="507" y="22"/>
                  </a:cubicBezTo>
                  <a:cubicBezTo>
                    <a:pt x="442" y="0"/>
                    <a:pt x="371" y="34"/>
                    <a:pt x="348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49"/>
            <p:cNvSpPr>
              <a:spLocks noEditPoints="1"/>
            </p:cNvSpPr>
            <p:nvPr/>
          </p:nvSpPr>
          <p:spPr bwMode="auto">
            <a:xfrm>
              <a:off x="2812" y="2253"/>
              <a:ext cx="219" cy="192"/>
            </a:xfrm>
            <a:custGeom>
              <a:avLst/>
              <a:gdLst>
                <a:gd name="T0" fmla="*/ 4075 w 4140"/>
                <a:gd name="T1" fmla="*/ 3255 h 3620"/>
                <a:gd name="T2" fmla="*/ 2281 w 4140"/>
                <a:gd name="T3" fmla="*/ 149 h 3620"/>
                <a:gd name="T4" fmla="*/ 2281 w 4140"/>
                <a:gd name="T5" fmla="*/ 149 h 3620"/>
                <a:gd name="T6" fmla="*/ 2070 w 4140"/>
                <a:gd name="T7" fmla="*/ 0 h 3620"/>
                <a:gd name="T8" fmla="*/ 2070 w 4140"/>
                <a:gd name="T9" fmla="*/ 0 h 3620"/>
                <a:gd name="T10" fmla="*/ 1859 w 4140"/>
                <a:gd name="T11" fmla="*/ 149 h 3620"/>
                <a:gd name="T12" fmla="*/ 65 w 4140"/>
                <a:gd name="T13" fmla="*/ 3255 h 3620"/>
                <a:gd name="T14" fmla="*/ 41 w 4140"/>
                <a:gd name="T15" fmla="*/ 3512 h 3620"/>
                <a:gd name="T16" fmla="*/ 276 w 4140"/>
                <a:gd name="T17" fmla="*/ 3620 h 3620"/>
                <a:gd name="T18" fmla="*/ 3864 w 4140"/>
                <a:gd name="T19" fmla="*/ 3620 h 3620"/>
                <a:gd name="T20" fmla="*/ 4099 w 4140"/>
                <a:gd name="T21" fmla="*/ 3512 h 3620"/>
                <a:gd name="T22" fmla="*/ 4075 w 4140"/>
                <a:gd name="T23" fmla="*/ 3255 h 3620"/>
                <a:gd name="T24" fmla="*/ 287 w 4140"/>
                <a:gd name="T25" fmla="*/ 3370 h 3620"/>
                <a:gd name="T26" fmla="*/ 2070 w 4140"/>
                <a:gd name="T27" fmla="*/ 284 h 3620"/>
                <a:gd name="T28" fmla="*/ 3853 w 4140"/>
                <a:gd name="T29" fmla="*/ 3370 h 3620"/>
                <a:gd name="T30" fmla="*/ 287 w 4140"/>
                <a:gd name="T31" fmla="*/ 3370 h 3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40" h="3620">
                  <a:moveTo>
                    <a:pt x="4075" y="3255"/>
                  </a:moveTo>
                  <a:lnTo>
                    <a:pt x="2281" y="149"/>
                  </a:lnTo>
                  <a:cubicBezTo>
                    <a:pt x="2281" y="149"/>
                    <a:pt x="2281" y="149"/>
                    <a:pt x="2281" y="149"/>
                  </a:cubicBezTo>
                  <a:cubicBezTo>
                    <a:pt x="2224" y="50"/>
                    <a:pt x="2153" y="0"/>
                    <a:pt x="2070" y="0"/>
                  </a:cubicBezTo>
                  <a:lnTo>
                    <a:pt x="2070" y="0"/>
                  </a:lnTo>
                  <a:cubicBezTo>
                    <a:pt x="1987" y="0"/>
                    <a:pt x="1916" y="50"/>
                    <a:pt x="1859" y="149"/>
                  </a:cubicBezTo>
                  <a:lnTo>
                    <a:pt x="65" y="3255"/>
                  </a:lnTo>
                  <a:cubicBezTo>
                    <a:pt x="8" y="3354"/>
                    <a:pt x="0" y="3440"/>
                    <a:pt x="41" y="3512"/>
                  </a:cubicBezTo>
                  <a:cubicBezTo>
                    <a:pt x="83" y="3584"/>
                    <a:pt x="162" y="3620"/>
                    <a:pt x="276" y="3620"/>
                  </a:cubicBezTo>
                  <a:lnTo>
                    <a:pt x="3864" y="3620"/>
                  </a:lnTo>
                  <a:cubicBezTo>
                    <a:pt x="3978" y="3620"/>
                    <a:pt x="4057" y="3584"/>
                    <a:pt x="4099" y="3512"/>
                  </a:cubicBezTo>
                  <a:cubicBezTo>
                    <a:pt x="4140" y="3440"/>
                    <a:pt x="4132" y="3354"/>
                    <a:pt x="4075" y="3255"/>
                  </a:cubicBezTo>
                  <a:close/>
                  <a:moveTo>
                    <a:pt x="287" y="3370"/>
                  </a:moveTo>
                  <a:lnTo>
                    <a:pt x="2070" y="284"/>
                  </a:lnTo>
                  <a:lnTo>
                    <a:pt x="3853" y="3370"/>
                  </a:lnTo>
                  <a:lnTo>
                    <a:pt x="287" y="337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50"/>
            <p:cNvSpPr>
              <a:spLocks/>
            </p:cNvSpPr>
            <p:nvPr/>
          </p:nvSpPr>
          <p:spPr bwMode="auto">
            <a:xfrm>
              <a:off x="2875" y="2466"/>
              <a:ext cx="155" cy="13"/>
            </a:xfrm>
            <a:custGeom>
              <a:avLst/>
              <a:gdLst>
                <a:gd name="T0" fmla="*/ 2802 w 2927"/>
                <a:gd name="T1" fmla="*/ 0 h 250"/>
                <a:gd name="T2" fmla="*/ 125 w 2927"/>
                <a:gd name="T3" fmla="*/ 0 h 250"/>
                <a:gd name="T4" fmla="*/ 0 w 2927"/>
                <a:gd name="T5" fmla="*/ 125 h 250"/>
                <a:gd name="T6" fmla="*/ 125 w 2927"/>
                <a:gd name="T7" fmla="*/ 250 h 250"/>
                <a:gd name="T8" fmla="*/ 2802 w 2927"/>
                <a:gd name="T9" fmla="*/ 250 h 250"/>
                <a:gd name="T10" fmla="*/ 2927 w 2927"/>
                <a:gd name="T11" fmla="*/ 125 h 250"/>
                <a:gd name="T12" fmla="*/ 2802 w 2927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27" h="250">
                  <a:moveTo>
                    <a:pt x="2802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2802" y="250"/>
                  </a:lnTo>
                  <a:cubicBezTo>
                    <a:pt x="2871" y="250"/>
                    <a:pt x="2927" y="194"/>
                    <a:pt x="2927" y="125"/>
                  </a:cubicBezTo>
                  <a:cubicBezTo>
                    <a:pt x="2927" y="56"/>
                    <a:pt x="2871" y="0"/>
                    <a:pt x="280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51"/>
            <p:cNvSpPr>
              <a:spLocks/>
            </p:cNvSpPr>
            <p:nvPr/>
          </p:nvSpPr>
          <p:spPr bwMode="auto">
            <a:xfrm>
              <a:off x="2815" y="2466"/>
              <a:ext cx="43" cy="13"/>
            </a:xfrm>
            <a:custGeom>
              <a:avLst/>
              <a:gdLst>
                <a:gd name="T0" fmla="*/ 125 w 817"/>
                <a:gd name="T1" fmla="*/ 250 h 250"/>
                <a:gd name="T2" fmla="*/ 692 w 817"/>
                <a:gd name="T3" fmla="*/ 250 h 250"/>
                <a:gd name="T4" fmla="*/ 817 w 817"/>
                <a:gd name="T5" fmla="*/ 125 h 250"/>
                <a:gd name="T6" fmla="*/ 692 w 817"/>
                <a:gd name="T7" fmla="*/ 0 h 250"/>
                <a:gd name="T8" fmla="*/ 125 w 817"/>
                <a:gd name="T9" fmla="*/ 0 h 250"/>
                <a:gd name="T10" fmla="*/ 0 w 817"/>
                <a:gd name="T11" fmla="*/ 125 h 250"/>
                <a:gd name="T12" fmla="*/ 125 w 817"/>
                <a:gd name="T13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7" h="250">
                  <a:moveTo>
                    <a:pt x="125" y="250"/>
                  </a:moveTo>
                  <a:lnTo>
                    <a:pt x="692" y="250"/>
                  </a:lnTo>
                  <a:cubicBezTo>
                    <a:pt x="761" y="250"/>
                    <a:pt x="817" y="194"/>
                    <a:pt x="817" y="125"/>
                  </a:cubicBezTo>
                  <a:cubicBezTo>
                    <a:pt x="817" y="56"/>
                    <a:pt x="761" y="0"/>
                    <a:pt x="692" y="0"/>
                  </a:cubicBez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52"/>
            <p:cNvSpPr>
              <a:spLocks/>
            </p:cNvSpPr>
            <p:nvPr/>
          </p:nvSpPr>
          <p:spPr bwMode="auto">
            <a:xfrm>
              <a:off x="2815" y="2499"/>
              <a:ext cx="154" cy="13"/>
            </a:xfrm>
            <a:custGeom>
              <a:avLst/>
              <a:gdLst>
                <a:gd name="T0" fmla="*/ 125 w 2926"/>
                <a:gd name="T1" fmla="*/ 250 h 250"/>
                <a:gd name="T2" fmla="*/ 2801 w 2926"/>
                <a:gd name="T3" fmla="*/ 250 h 250"/>
                <a:gd name="T4" fmla="*/ 2926 w 2926"/>
                <a:gd name="T5" fmla="*/ 125 h 250"/>
                <a:gd name="T6" fmla="*/ 2801 w 2926"/>
                <a:gd name="T7" fmla="*/ 0 h 250"/>
                <a:gd name="T8" fmla="*/ 125 w 2926"/>
                <a:gd name="T9" fmla="*/ 0 h 250"/>
                <a:gd name="T10" fmla="*/ 0 w 2926"/>
                <a:gd name="T11" fmla="*/ 125 h 250"/>
                <a:gd name="T12" fmla="*/ 125 w 2926"/>
                <a:gd name="T13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26" h="250">
                  <a:moveTo>
                    <a:pt x="125" y="250"/>
                  </a:moveTo>
                  <a:lnTo>
                    <a:pt x="2801" y="250"/>
                  </a:lnTo>
                  <a:cubicBezTo>
                    <a:pt x="2870" y="250"/>
                    <a:pt x="2926" y="194"/>
                    <a:pt x="2926" y="125"/>
                  </a:cubicBezTo>
                  <a:cubicBezTo>
                    <a:pt x="2926" y="56"/>
                    <a:pt x="2870" y="0"/>
                    <a:pt x="2801" y="0"/>
                  </a:cubicBez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53"/>
            <p:cNvSpPr>
              <a:spLocks/>
            </p:cNvSpPr>
            <p:nvPr/>
          </p:nvSpPr>
          <p:spPr bwMode="auto">
            <a:xfrm>
              <a:off x="2987" y="2499"/>
              <a:ext cx="43" cy="13"/>
            </a:xfrm>
            <a:custGeom>
              <a:avLst/>
              <a:gdLst>
                <a:gd name="T0" fmla="*/ 692 w 817"/>
                <a:gd name="T1" fmla="*/ 0 h 250"/>
                <a:gd name="T2" fmla="*/ 125 w 817"/>
                <a:gd name="T3" fmla="*/ 0 h 250"/>
                <a:gd name="T4" fmla="*/ 0 w 817"/>
                <a:gd name="T5" fmla="*/ 125 h 250"/>
                <a:gd name="T6" fmla="*/ 125 w 817"/>
                <a:gd name="T7" fmla="*/ 250 h 250"/>
                <a:gd name="T8" fmla="*/ 692 w 817"/>
                <a:gd name="T9" fmla="*/ 250 h 250"/>
                <a:gd name="T10" fmla="*/ 817 w 817"/>
                <a:gd name="T11" fmla="*/ 125 h 250"/>
                <a:gd name="T12" fmla="*/ 692 w 817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7" h="250">
                  <a:moveTo>
                    <a:pt x="692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692" y="250"/>
                  </a:lnTo>
                  <a:cubicBezTo>
                    <a:pt x="761" y="250"/>
                    <a:pt x="817" y="194"/>
                    <a:pt x="817" y="125"/>
                  </a:cubicBezTo>
                  <a:cubicBezTo>
                    <a:pt x="817" y="56"/>
                    <a:pt x="761" y="0"/>
                    <a:pt x="69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54"/>
            <p:cNvSpPr>
              <a:spLocks/>
            </p:cNvSpPr>
            <p:nvPr/>
          </p:nvSpPr>
          <p:spPr bwMode="auto">
            <a:xfrm>
              <a:off x="2771" y="2217"/>
              <a:ext cx="302" cy="339"/>
            </a:xfrm>
            <a:custGeom>
              <a:avLst/>
              <a:gdLst>
                <a:gd name="T0" fmla="*/ 5250 w 5712"/>
                <a:gd name="T1" fmla="*/ 0 h 6400"/>
                <a:gd name="T2" fmla="*/ 462 w 5712"/>
                <a:gd name="T3" fmla="*/ 0 h 6400"/>
                <a:gd name="T4" fmla="*/ 0 w 5712"/>
                <a:gd name="T5" fmla="*/ 462 h 6400"/>
                <a:gd name="T6" fmla="*/ 0 w 5712"/>
                <a:gd name="T7" fmla="*/ 5937 h 6400"/>
                <a:gd name="T8" fmla="*/ 462 w 5712"/>
                <a:gd name="T9" fmla="*/ 6400 h 6400"/>
                <a:gd name="T10" fmla="*/ 5250 w 5712"/>
                <a:gd name="T11" fmla="*/ 6400 h 6400"/>
                <a:gd name="T12" fmla="*/ 5712 w 5712"/>
                <a:gd name="T13" fmla="*/ 5937 h 6400"/>
                <a:gd name="T14" fmla="*/ 5712 w 5712"/>
                <a:gd name="T15" fmla="*/ 3200 h 6400"/>
                <a:gd name="T16" fmla="*/ 5587 w 5712"/>
                <a:gd name="T17" fmla="*/ 3075 h 6400"/>
                <a:gd name="T18" fmla="*/ 5462 w 5712"/>
                <a:gd name="T19" fmla="*/ 3200 h 6400"/>
                <a:gd name="T20" fmla="*/ 5462 w 5712"/>
                <a:gd name="T21" fmla="*/ 5937 h 6400"/>
                <a:gd name="T22" fmla="*/ 5250 w 5712"/>
                <a:gd name="T23" fmla="*/ 6150 h 6400"/>
                <a:gd name="T24" fmla="*/ 462 w 5712"/>
                <a:gd name="T25" fmla="*/ 6150 h 6400"/>
                <a:gd name="T26" fmla="*/ 250 w 5712"/>
                <a:gd name="T27" fmla="*/ 5937 h 6400"/>
                <a:gd name="T28" fmla="*/ 250 w 5712"/>
                <a:gd name="T29" fmla="*/ 462 h 6400"/>
                <a:gd name="T30" fmla="*/ 462 w 5712"/>
                <a:gd name="T31" fmla="*/ 250 h 6400"/>
                <a:gd name="T32" fmla="*/ 5250 w 5712"/>
                <a:gd name="T33" fmla="*/ 250 h 6400"/>
                <a:gd name="T34" fmla="*/ 5462 w 5712"/>
                <a:gd name="T35" fmla="*/ 462 h 6400"/>
                <a:gd name="T36" fmla="*/ 5462 w 5712"/>
                <a:gd name="T37" fmla="*/ 2042 h 6400"/>
                <a:gd name="T38" fmla="*/ 5587 w 5712"/>
                <a:gd name="T39" fmla="*/ 2167 h 6400"/>
                <a:gd name="T40" fmla="*/ 5712 w 5712"/>
                <a:gd name="T41" fmla="*/ 2042 h 6400"/>
                <a:gd name="T42" fmla="*/ 5712 w 5712"/>
                <a:gd name="T43" fmla="*/ 462 h 6400"/>
                <a:gd name="T44" fmla="*/ 5250 w 5712"/>
                <a:gd name="T45" fmla="*/ 0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712" h="6400">
                  <a:moveTo>
                    <a:pt x="5250" y="0"/>
                  </a:moveTo>
                  <a:lnTo>
                    <a:pt x="462" y="0"/>
                  </a:lnTo>
                  <a:cubicBezTo>
                    <a:pt x="207" y="0"/>
                    <a:pt x="0" y="207"/>
                    <a:pt x="0" y="462"/>
                  </a:cubicBezTo>
                  <a:lnTo>
                    <a:pt x="0" y="5937"/>
                  </a:lnTo>
                  <a:cubicBezTo>
                    <a:pt x="0" y="6192"/>
                    <a:pt x="207" y="6400"/>
                    <a:pt x="462" y="6400"/>
                  </a:cubicBezTo>
                  <a:lnTo>
                    <a:pt x="5250" y="6400"/>
                  </a:lnTo>
                  <a:cubicBezTo>
                    <a:pt x="5505" y="6400"/>
                    <a:pt x="5712" y="6192"/>
                    <a:pt x="5712" y="5937"/>
                  </a:cubicBezTo>
                  <a:lnTo>
                    <a:pt x="5712" y="3200"/>
                  </a:lnTo>
                  <a:cubicBezTo>
                    <a:pt x="5712" y="3131"/>
                    <a:pt x="5656" y="3075"/>
                    <a:pt x="5587" y="3075"/>
                  </a:cubicBezTo>
                  <a:cubicBezTo>
                    <a:pt x="5518" y="3075"/>
                    <a:pt x="5462" y="3131"/>
                    <a:pt x="5462" y="3200"/>
                  </a:cubicBezTo>
                  <a:lnTo>
                    <a:pt x="5462" y="5937"/>
                  </a:lnTo>
                  <a:cubicBezTo>
                    <a:pt x="5462" y="6055"/>
                    <a:pt x="5367" y="6150"/>
                    <a:pt x="5250" y="6150"/>
                  </a:cubicBezTo>
                  <a:lnTo>
                    <a:pt x="462" y="6150"/>
                  </a:lnTo>
                  <a:cubicBezTo>
                    <a:pt x="345" y="6150"/>
                    <a:pt x="250" y="6055"/>
                    <a:pt x="250" y="5937"/>
                  </a:cubicBezTo>
                  <a:lnTo>
                    <a:pt x="250" y="462"/>
                  </a:lnTo>
                  <a:cubicBezTo>
                    <a:pt x="250" y="345"/>
                    <a:pt x="345" y="250"/>
                    <a:pt x="462" y="250"/>
                  </a:cubicBezTo>
                  <a:lnTo>
                    <a:pt x="5250" y="250"/>
                  </a:lnTo>
                  <a:cubicBezTo>
                    <a:pt x="5367" y="250"/>
                    <a:pt x="5462" y="345"/>
                    <a:pt x="5462" y="462"/>
                  </a:cubicBezTo>
                  <a:lnTo>
                    <a:pt x="5462" y="2042"/>
                  </a:lnTo>
                  <a:cubicBezTo>
                    <a:pt x="5462" y="2111"/>
                    <a:pt x="5518" y="2167"/>
                    <a:pt x="5587" y="2167"/>
                  </a:cubicBezTo>
                  <a:cubicBezTo>
                    <a:pt x="5656" y="2167"/>
                    <a:pt x="5712" y="2111"/>
                    <a:pt x="5712" y="2042"/>
                  </a:cubicBezTo>
                  <a:lnTo>
                    <a:pt x="5712" y="462"/>
                  </a:lnTo>
                  <a:cubicBezTo>
                    <a:pt x="5712" y="207"/>
                    <a:pt x="5505" y="0"/>
                    <a:pt x="525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55"/>
            <p:cNvSpPr>
              <a:spLocks/>
            </p:cNvSpPr>
            <p:nvPr/>
          </p:nvSpPr>
          <p:spPr bwMode="auto">
            <a:xfrm>
              <a:off x="3060" y="2348"/>
              <a:ext cx="13" cy="13"/>
            </a:xfrm>
            <a:custGeom>
              <a:avLst/>
              <a:gdLst>
                <a:gd name="T0" fmla="*/ 125 w 250"/>
                <a:gd name="T1" fmla="*/ 0 h 251"/>
                <a:gd name="T2" fmla="*/ 0 w 250"/>
                <a:gd name="T3" fmla="*/ 126 h 251"/>
                <a:gd name="T4" fmla="*/ 125 w 250"/>
                <a:gd name="T5" fmla="*/ 251 h 251"/>
                <a:gd name="T6" fmla="*/ 250 w 250"/>
                <a:gd name="T7" fmla="*/ 126 h 251"/>
                <a:gd name="T8" fmla="*/ 250 w 250"/>
                <a:gd name="T9" fmla="*/ 125 h 251"/>
                <a:gd name="T10" fmla="*/ 125 w 250"/>
                <a:gd name="T11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0" h="251">
                  <a:moveTo>
                    <a:pt x="125" y="0"/>
                  </a:moveTo>
                  <a:cubicBezTo>
                    <a:pt x="56" y="0"/>
                    <a:pt x="0" y="57"/>
                    <a:pt x="0" y="126"/>
                  </a:cubicBezTo>
                  <a:cubicBezTo>
                    <a:pt x="0" y="195"/>
                    <a:pt x="56" y="251"/>
                    <a:pt x="125" y="251"/>
                  </a:cubicBezTo>
                  <a:cubicBezTo>
                    <a:pt x="194" y="251"/>
                    <a:pt x="250" y="195"/>
                    <a:pt x="250" y="126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9" name="Group 58"/>
          <p:cNvGrpSpPr>
            <a:grpSpLocks noChangeAspect="1"/>
          </p:cNvGrpSpPr>
          <p:nvPr/>
        </p:nvGrpSpPr>
        <p:grpSpPr bwMode="auto">
          <a:xfrm>
            <a:off x="7399345" y="3530601"/>
            <a:ext cx="538163" cy="527050"/>
            <a:chOff x="4661" y="2256"/>
            <a:chExt cx="339" cy="332"/>
          </a:xfrm>
          <a:solidFill>
            <a:schemeClr val="bg1"/>
          </a:solidFill>
        </p:grpSpPr>
        <p:sp>
          <p:nvSpPr>
            <p:cNvPr id="111" name="Freeform 59"/>
            <p:cNvSpPr>
              <a:spLocks/>
            </p:cNvSpPr>
            <p:nvPr/>
          </p:nvSpPr>
          <p:spPr bwMode="auto">
            <a:xfrm>
              <a:off x="4913" y="2432"/>
              <a:ext cx="32" cy="21"/>
            </a:xfrm>
            <a:custGeom>
              <a:avLst/>
              <a:gdLst>
                <a:gd name="T0" fmla="*/ 516 w 609"/>
                <a:gd name="T1" fmla="*/ 0 h 397"/>
                <a:gd name="T2" fmla="*/ 423 w 609"/>
                <a:gd name="T3" fmla="*/ 93 h 397"/>
                <a:gd name="T4" fmla="*/ 305 w 609"/>
                <a:gd name="T5" fmla="*/ 211 h 397"/>
                <a:gd name="T6" fmla="*/ 187 w 609"/>
                <a:gd name="T7" fmla="*/ 93 h 397"/>
                <a:gd name="T8" fmla="*/ 93 w 609"/>
                <a:gd name="T9" fmla="*/ 0 h 397"/>
                <a:gd name="T10" fmla="*/ 0 w 609"/>
                <a:gd name="T11" fmla="*/ 93 h 397"/>
                <a:gd name="T12" fmla="*/ 305 w 609"/>
                <a:gd name="T13" fmla="*/ 397 h 397"/>
                <a:gd name="T14" fmla="*/ 609 w 609"/>
                <a:gd name="T15" fmla="*/ 93 h 397"/>
                <a:gd name="T16" fmla="*/ 516 w 609"/>
                <a:gd name="T1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9" h="397">
                  <a:moveTo>
                    <a:pt x="516" y="0"/>
                  </a:moveTo>
                  <a:cubicBezTo>
                    <a:pt x="465" y="0"/>
                    <a:pt x="423" y="41"/>
                    <a:pt x="423" y="93"/>
                  </a:cubicBezTo>
                  <a:cubicBezTo>
                    <a:pt x="423" y="158"/>
                    <a:pt x="370" y="211"/>
                    <a:pt x="305" y="211"/>
                  </a:cubicBezTo>
                  <a:cubicBezTo>
                    <a:pt x="240" y="211"/>
                    <a:pt x="187" y="158"/>
                    <a:pt x="187" y="93"/>
                  </a:cubicBezTo>
                  <a:cubicBezTo>
                    <a:pt x="187" y="41"/>
                    <a:pt x="145" y="0"/>
                    <a:pt x="93" y="0"/>
                  </a:cubicBezTo>
                  <a:cubicBezTo>
                    <a:pt x="42" y="0"/>
                    <a:pt x="0" y="41"/>
                    <a:pt x="0" y="93"/>
                  </a:cubicBezTo>
                  <a:cubicBezTo>
                    <a:pt x="0" y="261"/>
                    <a:pt x="137" y="397"/>
                    <a:pt x="305" y="397"/>
                  </a:cubicBezTo>
                  <a:cubicBezTo>
                    <a:pt x="473" y="397"/>
                    <a:pt x="609" y="261"/>
                    <a:pt x="609" y="93"/>
                  </a:cubicBezTo>
                  <a:cubicBezTo>
                    <a:pt x="609" y="41"/>
                    <a:pt x="568" y="0"/>
                    <a:pt x="51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60"/>
            <p:cNvSpPr>
              <a:spLocks noEditPoints="1"/>
            </p:cNvSpPr>
            <p:nvPr/>
          </p:nvSpPr>
          <p:spPr bwMode="auto">
            <a:xfrm>
              <a:off x="4661" y="2256"/>
              <a:ext cx="339" cy="332"/>
            </a:xfrm>
            <a:custGeom>
              <a:avLst/>
              <a:gdLst>
                <a:gd name="T0" fmla="*/ 5823 w 6400"/>
                <a:gd name="T1" fmla="*/ 3178 h 6272"/>
                <a:gd name="T2" fmla="*/ 5466 w 6400"/>
                <a:gd name="T3" fmla="*/ 1965 h 6272"/>
                <a:gd name="T4" fmla="*/ 4231 w 6400"/>
                <a:gd name="T5" fmla="*/ 1846 h 6272"/>
                <a:gd name="T6" fmla="*/ 4154 w 6400"/>
                <a:gd name="T7" fmla="*/ 1328 h 6272"/>
                <a:gd name="T8" fmla="*/ 3651 w 6400"/>
                <a:gd name="T9" fmla="*/ 2038 h 6272"/>
                <a:gd name="T10" fmla="*/ 2116 w 6400"/>
                <a:gd name="T11" fmla="*/ 2038 h 6272"/>
                <a:gd name="T12" fmla="*/ 2884 w 6400"/>
                <a:gd name="T13" fmla="*/ 186 h 6272"/>
                <a:gd name="T14" fmla="*/ 3978 w 6400"/>
                <a:gd name="T15" fmla="*/ 825 h 6272"/>
                <a:gd name="T16" fmla="*/ 2884 w 6400"/>
                <a:gd name="T17" fmla="*/ 0 h 6272"/>
                <a:gd name="T18" fmla="*/ 1985 w 6400"/>
                <a:gd name="T19" fmla="*/ 2170 h 6272"/>
                <a:gd name="T20" fmla="*/ 2037 w 6400"/>
                <a:gd name="T21" fmla="*/ 2400 h 6272"/>
                <a:gd name="T22" fmla="*/ 3671 w 6400"/>
                <a:gd name="T23" fmla="*/ 2576 h 6272"/>
                <a:gd name="T24" fmla="*/ 3730 w 6400"/>
                <a:gd name="T25" fmla="*/ 2400 h 6272"/>
                <a:gd name="T26" fmla="*/ 3782 w 6400"/>
                <a:gd name="T27" fmla="*/ 2170 h 6272"/>
                <a:gd name="T28" fmla="*/ 4121 w 6400"/>
                <a:gd name="T29" fmla="*/ 2010 h 6272"/>
                <a:gd name="T30" fmla="*/ 4374 w 6400"/>
                <a:gd name="T31" fmla="*/ 2936 h 6272"/>
                <a:gd name="T32" fmla="*/ 5348 w 6400"/>
                <a:gd name="T33" fmla="*/ 2702 h 6272"/>
                <a:gd name="T34" fmla="*/ 5837 w 6400"/>
                <a:gd name="T35" fmla="*/ 3427 h 6272"/>
                <a:gd name="T36" fmla="*/ 6214 w 6400"/>
                <a:gd name="T37" fmla="*/ 4104 h 6272"/>
                <a:gd name="T38" fmla="*/ 5515 w 6400"/>
                <a:gd name="T39" fmla="*/ 4527 h 6272"/>
                <a:gd name="T40" fmla="*/ 4528 w 6400"/>
                <a:gd name="T41" fmla="*/ 6052 h 6272"/>
                <a:gd name="T42" fmla="*/ 4006 w 6400"/>
                <a:gd name="T43" fmla="*/ 6052 h 6272"/>
                <a:gd name="T44" fmla="*/ 3184 w 6400"/>
                <a:gd name="T45" fmla="*/ 5581 h 6272"/>
                <a:gd name="T46" fmla="*/ 2525 w 6400"/>
                <a:gd name="T47" fmla="*/ 6052 h 6272"/>
                <a:gd name="T48" fmla="*/ 2003 w 6400"/>
                <a:gd name="T49" fmla="*/ 6051 h 6272"/>
                <a:gd name="T50" fmla="*/ 889 w 6400"/>
                <a:gd name="T51" fmla="*/ 3740 h 6272"/>
                <a:gd name="T52" fmla="*/ 1754 w 6400"/>
                <a:gd name="T53" fmla="*/ 2112 h 6272"/>
                <a:gd name="T54" fmla="*/ 727 w 6400"/>
                <a:gd name="T55" fmla="*/ 3402 h 6272"/>
                <a:gd name="T56" fmla="*/ 383 w 6400"/>
                <a:gd name="T57" fmla="*/ 2967 h 6272"/>
                <a:gd name="T58" fmla="*/ 462 w 6400"/>
                <a:gd name="T59" fmla="*/ 3550 h 6272"/>
                <a:gd name="T60" fmla="*/ 0 w 6400"/>
                <a:gd name="T61" fmla="*/ 3857 h 6272"/>
                <a:gd name="T62" fmla="*/ 114 w 6400"/>
                <a:gd name="T63" fmla="*/ 3955 h 6272"/>
                <a:gd name="T64" fmla="*/ 708 w 6400"/>
                <a:gd name="T65" fmla="*/ 3587 h 6272"/>
                <a:gd name="T66" fmla="*/ 978 w 6400"/>
                <a:gd name="T67" fmla="*/ 4768 h 6272"/>
                <a:gd name="T68" fmla="*/ 2044 w 6400"/>
                <a:gd name="T69" fmla="*/ 6272 h 6272"/>
                <a:gd name="T70" fmla="*/ 2772 w 6400"/>
                <a:gd name="T71" fmla="*/ 5746 h 6272"/>
                <a:gd name="T72" fmla="*/ 3823 w 6400"/>
                <a:gd name="T73" fmla="*/ 6086 h 6272"/>
                <a:gd name="T74" fmla="*/ 4711 w 6400"/>
                <a:gd name="T75" fmla="*/ 6086 h 6272"/>
                <a:gd name="T76" fmla="*/ 5733 w 6400"/>
                <a:gd name="T77" fmla="*/ 4574 h 6272"/>
                <a:gd name="T78" fmla="*/ 6400 w 6400"/>
                <a:gd name="T79" fmla="*/ 3669 h 6272"/>
                <a:gd name="T80" fmla="*/ 5037 w 6400"/>
                <a:gd name="T81" fmla="*/ 2850 h 6272"/>
                <a:gd name="T82" fmla="*/ 4300 w 6400"/>
                <a:gd name="T83" fmla="*/ 2060 h 6272"/>
                <a:gd name="T84" fmla="*/ 5233 w 6400"/>
                <a:gd name="T85" fmla="*/ 1704 h 6272"/>
                <a:gd name="T86" fmla="*/ 289 w 6400"/>
                <a:gd name="T87" fmla="*/ 3187 h 6272"/>
                <a:gd name="T88" fmla="*/ 493 w 6400"/>
                <a:gd name="T89" fmla="*/ 3283 h 6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400" h="6272">
                  <a:moveTo>
                    <a:pt x="6156" y="3334"/>
                  </a:moveTo>
                  <a:lnTo>
                    <a:pt x="5893" y="3250"/>
                  </a:lnTo>
                  <a:cubicBezTo>
                    <a:pt x="5860" y="3239"/>
                    <a:pt x="5833" y="3212"/>
                    <a:pt x="5823" y="3178"/>
                  </a:cubicBezTo>
                  <a:cubicBezTo>
                    <a:pt x="5767" y="3003"/>
                    <a:pt x="5684" y="2838"/>
                    <a:pt x="5575" y="2688"/>
                  </a:cubicBezTo>
                  <a:cubicBezTo>
                    <a:pt x="5525" y="2620"/>
                    <a:pt x="5470" y="2555"/>
                    <a:pt x="5409" y="2493"/>
                  </a:cubicBezTo>
                  <a:cubicBezTo>
                    <a:pt x="5448" y="2323"/>
                    <a:pt x="5469" y="2131"/>
                    <a:pt x="5466" y="1965"/>
                  </a:cubicBezTo>
                  <a:cubicBezTo>
                    <a:pt x="5462" y="1728"/>
                    <a:pt x="5415" y="1589"/>
                    <a:pt x="5321" y="1540"/>
                  </a:cubicBezTo>
                  <a:cubicBezTo>
                    <a:pt x="5271" y="1513"/>
                    <a:pt x="5117" y="1433"/>
                    <a:pt x="4286" y="1813"/>
                  </a:cubicBezTo>
                  <a:cubicBezTo>
                    <a:pt x="4267" y="1822"/>
                    <a:pt x="4248" y="1833"/>
                    <a:pt x="4231" y="1846"/>
                  </a:cubicBezTo>
                  <a:cubicBezTo>
                    <a:pt x="4175" y="1831"/>
                    <a:pt x="4118" y="1817"/>
                    <a:pt x="4061" y="1804"/>
                  </a:cubicBezTo>
                  <a:cubicBezTo>
                    <a:pt x="4054" y="1803"/>
                    <a:pt x="4046" y="1802"/>
                    <a:pt x="4039" y="1800"/>
                  </a:cubicBezTo>
                  <a:cubicBezTo>
                    <a:pt x="4107" y="1653"/>
                    <a:pt x="4146" y="1493"/>
                    <a:pt x="4154" y="1328"/>
                  </a:cubicBezTo>
                  <a:cubicBezTo>
                    <a:pt x="4156" y="1277"/>
                    <a:pt x="4116" y="1234"/>
                    <a:pt x="4065" y="1231"/>
                  </a:cubicBezTo>
                  <a:cubicBezTo>
                    <a:pt x="4013" y="1229"/>
                    <a:pt x="3970" y="1269"/>
                    <a:pt x="3967" y="1320"/>
                  </a:cubicBezTo>
                  <a:cubicBezTo>
                    <a:pt x="3955" y="1591"/>
                    <a:pt x="3843" y="1846"/>
                    <a:pt x="3651" y="2038"/>
                  </a:cubicBezTo>
                  <a:cubicBezTo>
                    <a:pt x="3536" y="2153"/>
                    <a:pt x="3402" y="2237"/>
                    <a:pt x="3258" y="2289"/>
                  </a:cubicBezTo>
                  <a:cubicBezTo>
                    <a:pt x="3010" y="2254"/>
                    <a:pt x="2757" y="2254"/>
                    <a:pt x="2509" y="2289"/>
                  </a:cubicBezTo>
                  <a:cubicBezTo>
                    <a:pt x="2365" y="2237"/>
                    <a:pt x="2231" y="2153"/>
                    <a:pt x="2116" y="2038"/>
                  </a:cubicBezTo>
                  <a:cubicBezTo>
                    <a:pt x="1911" y="1834"/>
                    <a:pt x="1799" y="1561"/>
                    <a:pt x="1799" y="1271"/>
                  </a:cubicBezTo>
                  <a:cubicBezTo>
                    <a:pt x="1799" y="981"/>
                    <a:pt x="1911" y="709"/>
                    <a:pt x="2116" y="504"/>
                  </a:cubicBezTo>
                  <a:cubicBezTo>
                    <a:pt x="2321" y="299"/>
                    <a:pt x="2594" y="186"/>
                    <a:pt x="2884" y="186"/>
                  </a:cubicBezTo>
                  <a:cubicBezTo>
                    <a:pt x="3173" y="186"/>
                    <a:pt x="3446" y="299"/>
                    <a:pt x="3651" y="504"/>
                  </a:cubicBezTo>
                  <a:cubicBezTo>
                    <a:pt x="3733" y="586"/>
                    <a:pt x="3801" y="680"/>
                    <a:pt x="3853" y="783"/>
                  </a:cubicBezTo>
                  <a:cubicBezTo>
                    <a:pt x="3876" y="829"/>
                    <a:pt x="3932" y="848"/>
                    <a:pt x="3978" y="825"/>
                  </a:cubicBezTo>
                  <a:cubicBezTo>
                    <a:pt x="4024" y="801"/>
                    <a:pt x="4043" y="745"/>
                    <a:pt x="4019" y="700"/>
                  </a:cubicBezTo>
                  <a:cubicBezTo>
                    <a:pt x="3959" y="579"/>
                    <a:pt x="3879" y="469"/>
                    <a:pt x="3782" y="372"/>
                  </a:cubicBezTo>
                  <a:cubicBezTo>
                    <a:pt x="3542" y="132"/>
                    <a:pt x="3223" y="0"/>
                    <a:pt x="2884" y="0"/>
                  </a:cubicBezTo>
                  <a:cubicBezTo>
                    <a:pt x="2544" y="0"/>
                    <a:pt x="2225" y="132"/>
                    <a:pt x="1985" y="372"/>
                  </a:cubicBezTo>
                  <a:cubicBezTo>
                    <a:pt x="1745" y="612"/>
                    <a:pt x="1612" y="932"/>
                    <a:pt x="1612" y="1271"/>
                  </a:cubicBezTo>
                  <a:cubicBezTo>
                    <a:pt x="1612" y="1611"/>
                    <a:pt x="1745" y="1930"/>
                    <a:pt x="1985" y="2170"/>
                  </a:cubicBezTo>
                  <a:cubicBezTo>
                    <a:pt x="2054" y="2239"/>
                    <a:pt x="2129" y="2299"/>
                    <a:pt x="2209" y="2349"/>
                  </a:cubicBezTo>
                  <a:cubicBezTo>
                    <a:pt x="2209" y="2349"/>
                    <a:pt x="2209" y="2349"/>
                    <a:pt x="2209" y="2349"/>
                  </a:cubicBezTo>
                  <a:cubicBezTo>
                    <a:pt x="2151" y="2364"/>
                    <a:pt x="2094" y="2381"/>
                    <a:pt x="2037" y="2400"/>
                  </a:cubicBezTo>
                  <a:cubicBezTo>
                    <a:pt x="1988" y="2416"/>
                    <a:pt x="1962" y="2469"/>
                    <a:pt x="1978" y="2518"/>
                  </a:cubicBezTo>
                  <a:cubicBezTo>
                    <a:pt x="1994" y="2566"/>
                    <a:pt x="2047" y="2593"/>
                    <a:pt x="2096" y="2576"/>
                  </a:cubicBezTo>
                  <a:cubicBezTo>
                    <a:pt x="2604" y="2407"/>
                    <a:pt x="3163" y="2407"/>
                    <a:pt x="3671" y="2576"/>
                  </a:cubicBezTo>
                  <a:cubicBezTo>
                    <a:pt x="3681" y="2580"/>
                    <a:pt x="3691" y="2581"/>
                    <a:pt x="3701" y="2581"/>
                  </a:cubicBezTo>
                  <a:cubicBezTo>
                    <a:pt x="3740" y="2581"/>
                    <a:pt x="3776" y="2557"/>
                    <a:pt x="3789" y="2518"/>
                  </a:cubicBezTo>
                  <a:cubicBezTo>
                    <a:pt x="3805" y="2469"/>
                    <a:pt x="3779" y="2416"/>
                    <a:pt x="3730" y="2400"/>
                  </a:cubicBezTo>
                  <a:cubicBezTo>
                    <a:pt x="3673" y="2381"/>
                    <a:pt x="3616" y="2364"/>
                    <a:pt x="3558" y="2349"/>
                  </a:cubicBezTo>
                  <a:cubicBezTo>
                    <a:pt x="3558" y="2349"/>
                    <a:pt x="3558" y="2349"/>
                    <a:pt x="3558" y="2349"/>
                  </a:cubicBezTo>
                  <a:cubicBezTo>
                    <a:pt x="3638" y="2299"/>
                    <a:pt x="3713" y="2239"/>
                    <a:pt x="3782" y="2170"/>
                  </a:cubicBezTo>
                  <a:cubicBezTo>
                    <a:pt x="3844" y="2109"/>
                    <a:pt x="3898" y="2042"/>
                    <a:pt x="3945" y="1971"/>
                  </a:cubicBezTo>
                  <a:cubicBezTo>
                    <a:pt x="3970" y="1976"/>
                    <a:pt x="3996" y="1981"/>
                    <a:pt x="4021" y="1987"/>
                  </a:cubicBezTo>
                  <a:cubicBezTo>
                    <a:pt x="4055" y="1994"/>
                    <a:pt x="4088" y="2002"/>
                    <a:pt x="4121" y="2010"/>
                  </a:cubicBezTo>
                  <a:cubicBezTo>
                    <a:pt x="4120" y="2014"/>
                    <a:pt x="4119" y="2018"/>
                    <a:pt x="4118" y="2022"/>
                  </a:cubicBezTo>
                  <a:cubicBezTo>
                    <a:pt x="4072" y="2238"/>
                    <a:pt x="4075" y="2428"/>
                    <a:pt x="4127" y="2589"/>
                  </a:cubicBezTo>
                  <a:cubicBezTo>
                    <a:pt x="4173" y="2733"/>
                    <a:pt x="4256" y="2850"/>
                    <a:pt x="4374" y="2936"/>
                  </a:cubicBezTo>
                  <a:cubicBezTo>
                    <a:pt x="4513" y="3037"/>
                    <a:pt x="4680" y="3081"/>
                    <a:pt x="4832" y="3081"/>
                  </a:cubicBezTo>
                  <a:cubicBezTo>
                    <a:pt x="4946" y="3081"/>
                    <a:pt x="5052" y="3056"/>
                    <a:pt x="5129" y="3013"/>
                  </a:cubicBezTo>
                  <a:cubicBezTo>
                    <a:pt x="5217" y="2963"/>
                    <a:pt x="5290" y="2858"/>
                    <a:pt x="5348" y="2702"/>
                  </a:cubicBezTo>
                  <a:cubicBezTo>
                    <a:pt x="5375" y="2733"/>
                    <a:pt x="5400" y="2765"/>
                    <a:pt x="5424" y="2798"/>
                  </a:cubicBezTo>
                  <a:cubicBezTo>
                    <a:pt x="5522" y="2931"/>
                    <a:pt x="5596" y="3078"/>
                    <a:pt x="5645" y="3234"/>
                  </a:cubicBezTo>
                  <a:cubicBezTo>
                    <a:pt x="5674" y="3326"/>
                    <a:pt x="5745" y="3398"/>
                    <a:pt x="5837" y="3427"/>
                  </a:cubicBezTo>
                  <a:lnTo>
                    <a:pt x="6099" y="3511"/>
                  </a:lnTo>
                  <a:cubicBezTo>
                    <a:pt x="6168" y="3533"/>
                    <a:pt x="6214" y="3597"/>
                    <a:pt x="6214" y="3669"/>
                  </a:cubicBezTo>
                  <a:lnTo>
                    <a:pt x="6214" y="4104"/>
                  </a:lnTo>
                  <a:cubicBezTo>
                    <a:pt x="6214" y="4176"/>
                    <a:pt x="6168" y="4239"/>
                    <a:pt x="6099" y="4261"/>
                  </a:cubicBezTo>
                  <a:lnTo>
                    <a:pt x="5676" y="4396"/>
                  </a:lnTo>
                  <a:cubicBezTo>
                    <a:pt x="5609" y="4418"/>
                    <a:pt x="5552" y="4465"/>
                    <a:pt x="5515" y="4527"/>
                  </a:cubicBezTo>
                  <a:cubicBezTo>
                    <a:pt x="5349" y="4814"/>
                    <a:pt x="5089" y="5051"/>
                    <a:pt x="4740" y="5233"/>
                  </a:cubicBezTo>
                  <a:cubicBezTo>
                    <a:pt x="4700" y="5254"/>
                    <a:pt x="4672" y="5291"/>
                    <a:pt x="4663" y="5335"/>
                  </a:cubicBezTo>
                  <a:lnTo>
                    <a:pt x="4528" y="6052"/>
                  </a:lnTo>
                  <a:cubicBezTo>
                    <a:pt x="4524" y="6071"/>
                    <a:pt x="4507" y="6086"/>
                    <a:pt x="4487" y="6086"/>
                  </a:cubicBezTo>
                  <a:lnTo>
                    <a:pt x="4047" y="6086"/>
                  </a:lnTo>
                  <a:cubicBezTo>
                    <a:pt x="4027" y="6086"/>
                    <a:pt x="4010" y="6071"/>
                    <a:pt x="4006" y="6052"/>
                  </a:cubicBezTo>
                  <a:lnTo>
                    <a:pt x="3931" y="5656"/>
                  </a:lnTo>
                  <a:cubicBezTo>
                    <a:pt x="3916" y="5578"/>
                    <a:pt x="3843" y="5526"/>
                    <a:pt x="3765" y="5538"/>
                  </a:cubicBezTo>
                  <a:cubicBezTo>
                    <a:pt x="3575" y="5567"/>
                    <a:pt x="3380" y="5581"/>
                    <a:pt x="3184" y="5581"/>
                  </a:cubicBezTo>
                  <a:cubicBezTo>
                    <a:pt x="3039" y="5581"/>
                    <a:pt x="2895" y="5573"/>
                    <a:pt x="2758" y="5557"/>
                  </a:cubicBezTo>
                  <a:cubicBezTo>
                    <a:pt x="2681" y="5548"/>
                    <a:pt x="2610" y="5600"/>
                    <a:pt x="2596" y="5676"/>
                  </a:cubicBezTo>
                  <a:lnTo>
                    <a:pt x="2525" y="6052"/>
                  </a:lnTo>
                  <a:cubicBezTo>
                    <a:pt x="2521" y="6071"/>
                    <a:pt x="2504" y="6086"/>
                    <a:pt x="2484" y="6086"/>
                  </a:cubicBezTo>
                  <a:lnTo>
                    <a:pt x="2044" y="6086"/>
                  </a:lnTo>
                  <a:cubicBezTo>
                    <a:pt x="2024" y="6086"/>
                    <a:pt x="2007" y="6071"/>
                    <a:pt x="2003" y="6051"/>
                  </a:cubicBezTo>
                  <a:lnTo>
                    <a:pt x="1873" y="5375"/>
                  </a:lnTo>
                  <a:cubicBezTo>
                    <a:pt x="1864" y="5331"/>
                    <a:pt x="1837" y="5294"/>
                    <a:pt x="1797" y="5273"/>
                  </a:cubicBezTo>
                  <a:cubicBezTo>
                    <a:pt x="1203" y="4956"/>
                    <a:pt x="889" y="4426"/>
                    <a:pt x="889" y="3740"/>
                  </a:cubicBezTo>
                  <a:cubicBezTo>
                    <a:pt x="889" y="3394"/>
                    <a:pt x="965" y="3088"/>
                    <a:pt x="1114" y="2830"/>
                  </a:cubicBezTo>
                  <a:cubicBezTo>
                    <a:pt x="1254" y="2590"/>
                    <a:pt x="1457" y="2391"/>
                    <a:pt x="1720" y="2239"/>
                  </a:cubicBezTo>
                  <a:cubicBezTo>
                    <a:pt x="1764" y="2213"/>
                    <a:pt x="1779" y="2156"/>
                    <a:pt x="1754" y="2112"/>
                  </a:cubicBezTo>
                  <a:cubicBezTo>
                    <a:pt x="1728" y="2067"/>
                    <a:pt x="1671" y="2052"/>
                    <a:pt x="1626" y="2078"/>
                  </a:cubicBezTo>
                  <a:cubicBezTo>
                    <a:pt x="1118" y="2372"/>
                    <a:pt x="811" y="2826"/>
                    <a:pt x="727" y="3402"/>
                  </a:cubicBezTo>
                  <a:lnTo>
                    <a:pt x="727" y="3402"/>
                  </a:lnTo>
                  <a:cubicBezTo>
                    <a:pt x="718" y="3401"/>
                    <a:pt x="709" y="3401"/>
                    <a:pt x="700" y="3400"/>
                  </a:cubicBezTo>
                  <a:cubicBezTo>
                    <a:pt x="701" y="3337"/>
                    <a:pt x="690" y="3275"/>
                    <a:pt x="666" y="3214"/>
                  </a:cubicBezTo>
                  <a:cubicBezTo>
                    <a:pt x="612" y="3079"/>
                    <a:pt x="501" y="2982"/>
                    <a:pt x="383" y="2967"/>
                  </a:cubicBezTo>
                  <a:cubicBezTo>
                    <a:pt x="290" y="2954"/>
                    <a:pt x="202" y="2994"/>
                    <a:pt x="140" y="3075"/>
                  </a:cubicBezTo>
                  <a:cubicBezTo>
                    <a:pt x="52" y="3192"/>
                    <a:pt x="66" y="3285"/>
                    <a:pt x="94" y="3342"/>
                  </a:cubicBezTo>
                  <a:cubicBezTo>
                    <a:pt x="141" y="3439"/>
                    <a:pt x="261" y="3507"/>
                    <a:pt x="462" y="3550"/>
                  </a:cubicBezTo>
                  <a:cubicBezTo>
                    <a:pt x="456" y="3559"/>
                    <a:pt x="450" y="3567"/>
                    <a:pt x="443" y="3575"/>
                  </a:cubicBezTo>
                  <a:cubicBezTo>
                    <a:pt x="325" y="3723"/>
                    <a:pt x="186" y="3756"/>
                    <a:pt x="95" y="3759"/>
                  </a:cubicBezTo>
                  <a:cubicBezTo>
                    <a:pt x="42" y="3761"/>
                    <a:pt x="0" y="3804"/>
                    <a:pt x="0" y="3857"/>
                  </a:cubicBezTo>
                  <a:lnTo>
                    <a:pt x="0" y="3857"/>
                  </a:lnTo>
                  <a:cubicBezTo>
                    <a:pt x="0" y="3909"/>
                    <a:pt x="41" y="3952"/>
                    <a:pt x="93" y="3954"/>
                  </a:cubicBezTo>
                  <a:cubicBezTo>
                    <a:pt x="100" y="3955"/>
                    <a:pt x="107" y="3955"/>
                    <a:pt x="114" y="3955"/>
                  </a:cubicBezTo>
                  <a:cubicBezTo>
                    <a:pt x="229" y="3955"/>
                    <a:pt x="413" y="3913"/>
                    <a:pt x="589" y="3691"/>
                  </a:cubicBezTo>
                  <a:cubicBezTo>
                    <a:pt x="617" y="3656"/>
                    <a:pt x="640" y="3620"/>
                    <a:pt x="657" y="3582"/>
                  </a:cubicBezTo>
                  <a:cubicBezTo>
                    <a:pt x="675" y="3583"/>
                    <a:pt x="691" y="3585"/>
                    <a:pt x="708" y="3587"/>
                  </a:cubicBezTo>
                  <a:cubicBezTo>
                    <a:pt x="708" y="3587"/>
                    <a:pt x="708" y="3587"/>
                    <a:pt x="708" y="3587"/>
                  </a:cubicBezTo>
                  <a:cubicBezTo>
                    <a:pt x="705" y="3637"/>
                    <a:pt x="703" y="3688"/>
                    <a:pt x="703" y="3740"/>
                  </a:cubicBezTo>
                  <a:cubicBezTo>
                    <a:pt x="703" y="4128"/>
                    <a:pt x="795" y="4474"/>
                    <a:pt x="978" y="4768"/>
                  </a:cubicBezTo>
                  <a:cubicBezTo>
                    <a:pt x="1146" y="5040"/>
                    <a:pt x="1386" y="5262"/>
                    <a:pt x="1693" y="5429"/>
                  </a:cubicBezTo>
                  <a:lnTo>
                    <a:pt x="1820" y="6086"/>
                  </a:lnTo>
                  <a:cubicBezTo>
                    <a:pt x="1840" y="6194"/>
                    <a:pt x="1934" y="6272"/>
                    <a:pt x="2044" y="6272"/>
                  </a:cubicBezTo>
                  <a:lnTo>
                    <a:pt x="2484" y="6272"/>
                  </a:lnTo>
                  <a:cubicBezTo>
                    <a:pt x="2593" y="6272"/>
                    <a:pt x="2688" y="6194"/>
                    <a:pt x="2708" y="6086"/>
                  </a:cubicBezTo>
                  <a:lnTo>
                    <a:pt x="2772" y="5746"/>
                  </a:lnTo>
                  <a:cubicBezTo>
                    <a:pt x="2906" y="5760"/>
                    <a:pt x="3044" y="5768"/>
                    <a:pt x="3184" y="5768"/>
                  </a:cubicBezTo>
                  <a:cubicBezTo>
                    <a:pt x="3376" y="5768"/>
                    <a:pt x="3568" y="5754"/>
                    <a:pt x="3755" y="5728"/>
                  </a:cubicBezTo>
                  <a:lnTo>
                    <a:pt x="3823" y="6086"/>
                  </a:lnTo>
                  <a:cubicBezTo>
                    <a:pt x="3843" y="6194"/>
                    <a:pt x="3938" y="6272"/>
                    <a:pt x="4047" y="6272"/>
                  </a:cubicBezTo>
                  <a:lnTo>
                    <a:pt x="4487" y="6272"/>
                  </a:lnTo>
                  <a:cubicBezTo>
                    <a:pt x="4596" y="6272"/>
                    <a:pt x="4691" y="6194"/>
                    <a:pt x="4711" y="6086"/>
                  </a:cubicBezTo>
                  <a:lnTo>
                    <a:pt x="4843" y="5389"/>
                  </a:lnTo>
                  <a:cubicBezTo>
                    <a:pt x="5215" y="5192"/>
                    <a:pt x="5495" y="4934"/>
                    <a:pt x="5677" y="4620"/>
                  </a:cubicBezTo>
                  <a:cubicBezTo>
                    <a:pt x="5690" y="4598"/>
                    <a:pt x="5710" y="4581"/>
                    <a:pt x="5733" y="4574"/>
                  </a:cubicBezTo>
                  <a:lnTo>
                    <a:pt x="6156" y="4439"/>
                  </a:lnTo>
                  <a:cubicBezTo>
                    <a:pt x="6302" y="4392"/>
                    <a:pt x="6400" y="4257"/>
                    <a:pt x="6400" y="4104"/>
                  </a:cubicBezTo>
                  <a:lnTo>
                    <a:pt x="6400" y="3669"/>
                  </a:lnTo>
                  <a:cubicBezTo>
                    <a:pt x="6400" y="3515"/>
                    <a:pt x="6302" y="3381"/>
                    <a:pt x="6156" y="3334"/>
                  </a:cubicBezTo>
                  <a:close/>
                  <a:moveTo>
                    <a:pt x="5266" y="2227"/>
                  </a:moveTo>
                  <a:cubicBezTo>
                    <a:pt x="5230" y="2533"/>
                    <a:pt x="5134" y="2796"/>
                    <a:pt x="5037" y="2850"/>
                  </a:cubicBezTo>
                  <a:cubicBezTo>
                    <a:pt x="4928" y="2913"/>
                    <a:pt x="4674" y="2925"/>
                    <a:pt x="4484" y="2785"/>
                  </a:cubicBezTo>
                  <a:cubicBezTo>
                    <a:pt x="4293" y="2646"/>
                    <a:pt x="4230" y="2395"/>
                    <a:pt x="4300" y="2060"/>
                  </a:cubicBezTo>
                  <a:lnTo>
                    <a:pt x="4300" y="2060"/>
                  </a:lnTo>
                  <a:cubicBezTo>
                    <a:pt x="4307" y="2027"/>
                    <a:pt x="4331" y="1998"/>
                    <a:pt x="4364" y="1983"/>
                  </a:cubicBezTo>
                  <a:cubicBezTo>
                    <a:pt x="4830" y="1769"/>
                    <a:pt x="5099" y="1699"/>
                    <a:pt x="5199" y="1699"/>
                  </a:cubicBezTo>
                  <a:cubicBezTo>
                    <a:pt x="5214" y="1699"/>
                    <a:pt x="5225" y="1701"/>
                    <a:pt x="5233" y="1704"/>
                  </a:cubicBezTo>
                  <a:cubicBezTo>
                    <a:pt x="5263" y="1736"/>
                    <a:pt x="5302" y="1918"/>
                    <a:pt x="5266" y="2227"/>
                  </a:cubicBezTo>
                  <a:close/>
                  <a:moveTo>
                    <a:pt x="262" y="3261"/>
                  </a:moveTo>
                  <a:cubicBezTo>
                    <a:pt x="252" y="3241"/>
                    <a:pt x="275" y="3206"/>
                    <a:pt x="289" y="3187"/>
                  </a:cubicBezTo>
                  <a:cubicBezTo>
                    <a:pt x="312" y="3157"/>
                    <a:pt x="333" y="3151"/>
                    <a:pt x="349" y="3151"/>
                  </a:cubicBezTo>
                  <a:cubicBezTo>
                    <a:pt x="352" y="3151"/>
                    <a:pt x="355" y="3151"/>
                    <a:pt x="358" y="3151"/>
                  </a:cubicBezTo>
                  <a:cubicBezTo>
                    <a:pt x="401" y="3157"/>
                    <a:pt x="461" y="3204"/>
                    <a:pt x="493" y="3283"/>
                  </a:cubicBezTo>
                  <a:cubicBezTo>
                    <a:pt x="500" y="3302"/>
                    <a:pt x="510" y="3333"/>
                    <a:pt x="512" y="3371"/>
                  </a:cubicBezTo>
                  <a:cubicBezTo>
                    <a:pt x="383" y="3344"/>
                    <a:pt x="283" y="3306"/>
                    <a:pt x="262" y="326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61"/>
            <p:cNvSpPr>
              <a:spLocks noEditPoints="1"/>
            </p:cNvSpPr>
            <p:nvPr/>
          </p:nvSpPr>
          <p:spPr bwMode="auto">
            <a:xfrm>
              <a:off x="4795" y="2288"/>
              <a:ext cx="39" cy="71"/>
            </a:xfrm>
            <a:custGeom>
              <a:avLst/>
              <a:gdLst>
                <a:gd name="T0" fmla="*/ 438 w 737"/>
                <a:gd name="T1" fmla="*/ 566 h 1346"/>
                <a:gd name="T2" fmla="*/ 438 w 737"/>
                <a:gd name="T3" fmla="*/ 233 h 1346"/>
                <a:gd name="T4" fmla="*/ 635 w 737"/>
                <a:gd name="T5" fmla="*/ 294 h 1346"/>
                <a:gd name="T6" fmla="*/ 707 w 737"/>
                <a:gd name="T7" fmla="*/ 200 h 1346"/>
                <a:gd name="T8" fmla="*/ 438 w 737"/>
                <a:gd name="T9" fmla="*/ 82 h 1346"/>
                <a:gd name="T10" fmla="*/ 438 w 737"/>
                <a:gd name="T11" fmla="*/ 38 h 1346"/>
                <a:gd name="T12" fmla="*/ 389 w 737"/>
                <a:gd name="T13" fmla="*/ 0 h 1346"/>
                <a:gd name="T14" fmla="*/ 341 w 737"/>
                <a:gd name="T15" fmla="*/ 38 h 1346"/>
                <a:gd name="T16" fmla="*/ 341 w 737"/>
                <a:gd name="T17" fmla="*/ 85 h 1346"/>
                <a:gd name="T18" fmla="*/ 29 w 737"/>
                <a:gd name="T19" fmla="*/ 391 h 1346"/>
                <a:gd name="T20" fmla="*/ 341 w 737"/>
                <a:gd name="T21" fmla="*/ 713 h 1346"/>
                <a:gd name="T22" fmla="*/ 341 w 737"/>
                <a:gd name="T23" fmla="*/ 1098 h 1346"/>
                <a:gd name="T24" fmla="*/ 75 w 737"/>
                <a:gd name="T25" fmla="*/ 970 h 1346"/>
                <a:gd name="T26" fmla="*/ 0 w 737"/>
                <a:gd name="T27" fmla="*/ 1064 h 1346"/>
                <a:gd name="T28" fmla="*/ 341 w 737"/>
                <a:gd name="T29" fmla="*/ 1258 h 1346"/>
                <a:gd name="T30" fmla="*/ 341 w 737"/>
                <a:gd name="T31" fmla="*/ 1258 h 1346"/>
                <a:gd name="T32" fmla="*/ 341 w 737"/>
                <a:gd name="T33" fmla="*/ 1309 h 1346"/>
                <a:gd name="T34" fmla="*/ 389 w 737"/>
                <a:gd name="T35" fmla="*/ 1346 h 1346"/>
                <a:gd name="T36" fmla="*/ 438 w 737"/>
                <a:gd name="T37" fmla="*/ 1309 h 1346"/>
                <a:gd name="T38" fmla="*/ 438 w 737"/>
                <a:gd name="T39" fmla="*/ 1253 h 1346"/>
                <a:gd name="T40" fmla="*/ 737 w 737"/>
                <a:gd name="T41" fmla="*/ 915 h 1346"/>
                <a:gd name="T42" fmla="*/ 438 w 737"/>
                <a:gd name="T43" fmla="*/ 566 h 1346"/>
                <a:gd name="T44" fmla="*/ 351 w 737"/>
                <a:gd name="T45" fmla="*/ 535 h 1346"/>
                <a:gd name="T46" fmla="*/ 193 w 737"/>
                <a:gd name="T47" fmla="*/ 374 h 1346"/>
                <a:gd name="T48" fmla="*/ 351 w 737"/>
                <a:gd name="T49" fmla="*/ 236 h 1346"/>
                <a:gd name="T50" fmla="*/ 351 w 737"/>
                <a:gd name="T51" fmla="*/ 535 h 1346"/>
                <a:gd name="T52" fmla="*/ 428 w 737"/>
                <a:gd name="T53" fmla="*/ 1095 h 1346"/>
                <a:gd name="T54" fmla="*/ 428 w 737"/>
                <a:gd name="T55" fmla="*/ 749 h 1346"/>
                <a:gd name="T56" fmla="*/ 573 w 737"/>
                <a:gd name="T57" fmla="*/ 933 h 1346"/>
                <a:gd name="T58" fmla="*/ 428 w 737"/>
                <a:gd name="T59" fmla="*/ 1095 h 1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37" h="1346">
                  <a:moveTo>
                    <a:pt x="438" y="566"/>
                  </a:moveTo>
                  <a:lnTo>
                    <a:pt x="438" y="233"/>
                  </a:lnTo>
                  <a:cubicBezTo>
                    <a:pt x="553" y="241"/>
                    <a:pt x="596" y="294"/>
                    <a:pt x="635" y="294"/>
                  </a:cubicBezTo>
                  <a:cubicBezTo>
                    <a:pt x="684" y="294"/>
                    <a:pt x="707" y="232"/>
                    <a:pt x="707" y="200"/>
                  </a:cubicBezTo>
                  <a:cubicBezTo>
                    <a:pt x="707" y="120"/>
                    <a:pt x="550" y="85"/>
                    <a:pt x="438" y="82"/>
                  </a:cubicBezTo>
                  <a:lnTo>
                    <a:pt x="438" y="38"/>
                  </a:lnTo>
                  <a:cubicBezTo>
                    <a:pt x="438" y="18"/>
                    <a:pt x="413" y="0"/>
                    <a:pt x="389" y="0"/>
                  </a:cubicBezTo>
                  <a:cubicBezTo>
                    <a:pt x="361" y="0"/>
                    <a:pt x="341" y="18"/>
                    <a:pt x="341" y="38"/>
                  </a:cubicBezTo>
                  <a:lnTo>
                    <a:pt x="341" y="85"/>
                  </a:lnTo>
                  <a:cubicBezTo>
                    <a:pt x="185" y="102"/>
                    <a:pt x="29" y="184"/>
                    <a:pt x="29" y="391"/>
                  </a:cubicBezTo>
                  <a:cubicBezTo>
                    <a:pt x="29" y="601"/>
                    <a:pt x="193" y="660"/>
                    <a:pt x="341" y="713"/>
                  </a:cubicBezTo>
                  <a:lnTo>
                    <a:pt x="341" y="1098"/>
                  </a:lnTo>
                  <a:cubicBezTo>
                    <a:pt x="174" y="1085"/>
                    <a:pt x="129" y="970"/>
                    <a:pt x="75" y="970"/>
                  </a:cubicBezTo>
                  <a:cubicBezTo>
                    <a:pt x="34" y="970"/>
                    <a:pt x="0" y="1025"/>
                    <a:pt x="0" y="1064"/>
                  </a:cubicBezTo>
                  <a:cubicBezTo>
                    <a:pt x="0" y="1144"/>
                    <a:pt x="137" y="1254"/>
                    <a:pt x="341" y="1258"/>
                  </a:cubicBezTo>
                  <a:lnTo>
                    <a:pt x="341" y="1258"/>
                  </a:lnTo>
                  <a:lnTo>
                    <a:pt x="341" y="1309"/>
                  </a:lnTo>
                  <a:cubicBezTo>
                    <a:pt x="341" y="1328"/>
                    <a:pt x="361" y="1346"/>
                    <a:pt x="389" y="1346"/>
                  </a:cubicBezTo>
                  <a:cubicBezTo>
                    <a:pt x="413" y="1346"/>
                    <a:pt x="438" y="1328"/>
                    <a:pt x="438" y="1309"/>
                  </a:cubicBezTo>
                  <a:lnTo>
                    <a:pt x="438" y="1253"/>
                  </a:lnTo>
                  <a:cubicBezTo>
                    <a:pt x="615" y="1228"/>
                    <a:pt x="737" y="1117"/>
                    <a:pt x="737" y="915"/>
                  </a:cubicBezTo>
                  <a:cubicBezTo>
                    <a:pt x="737" y="691"/>
                    <a:pt x="581" y="619"/>
                    <a:pt x="438" y="566"/>
                  </a:cubicBezTo>
                  <a:close/>
                  <a:moveTo>
                    <a:pt x="351" y="535"/>
                  </a:moveTo>
                  <a:cubicBezTo>
                    <a:pt x="264" y="502"/>
                    <a:pt x="193" y="468"/>
                    <a:pt x="193" y="374"/>
                  </a:cubicBezTo>
                  <a:cubicBezTo>
                    <a:pt x="193" y="289"/>
                    <a:pt x="259" y="248"/>
                    <a:pt x="351" y="236"/>
                  </a:cubicBezTo>
                  <a:lnTo>
                    <a:pt x="351" y="535"/>
                  </a:lnTo>
                  <a:close/>
                  <a:moveTo>
                    <a:pt x="428" y="1095"/>
                  </a:moveTo>
                  <a:lnTo>
                    <a:pt x="428" y="749"/>
                  </a:lnTo>
                  <a:cubicBezTo>
                    <a:pt x="509" y="783"/>
                    <a:pt x="573" y="829"/>
                    <a:pt x="573" y="933"/>
                  </a:cubicBezTo>
                  <a:cubicBezTo>
                    <a:pt x="573" y="1026"/>
                    <a:pt x="517" y="1079"/>
                    <a:pt x="428" y="109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81578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4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65AFCDB7-D720-4609-8C26-BF24B13C64E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b="19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8020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5247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6" name="Diapositive think-cell" r:id="rId4" imgW="592" imgH="595" progId="TCLayout.ActiveDocument.1">
                  <p:embed/>
                </p:oleObj>
              </mc:Choice>
              <mc:Fallback>
                <p:oleObj name="Diapositive think-cell" r:id="rId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Image 2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56" b="7923"/>
          <a:stretch/>
        </p:blipFill>
        <p:spPr>
          <a:xfrm>
            <a:off x="1" y="0"/>
            <a:ext cx="12191998" cy="6858000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 rot="10800000">
            <a:off x="-18096" y="0"/>
            <a:ext cx="12192000" cy="6858001"/>
          </a:xfrm>
          <a:prstGeom prst="rect">
            <a:avLst/>
          </a:prstGeom>
          <a:solidFill>
            <a:srgbClr val="E57518">
              <a:alpha val="8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2956240" y="206624"/>
            <a:ext cx="62795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A136A0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Problems…</a:t>
            </a:r>
          </a:p>
        </p:txBody>
      </p:sp>
      <p:sp>
        <p:nvSpPr>
          <p:cNvPr id="29" name="Rectangle 28"/>
          <p:cNvSpPr/>
          <p:nvPr/>
        </p:nvSpPr>
        <p:spPr>
          <a:xfrm>
            <a:off x="334963" y="1863055"/>
            <a:ext cx="23711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Compliance in relation to Health and Safety in the workplace and while on site must be achieved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872017" y="3661104"/>
            <a:ext cx="23711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Management of the processes is convoluted and inefficient – and all on paper!</a:t>
            </a:r>
          </a:p>
        </p:txBody>
      </p:sp>
      <p:sp>
        <p:nvSpPr>
          <p:cNvPr id="33" name="Rectangle 32"/>
          <p:cNvSpPr/>
          <p:nvPr/>
        </p:nvSpPr>
        <p:spPr>
          <a:xfrm>
            <a:off x="3409071" y="1863055"/>
            <a:ext cx="237118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Ever changing rules and regulations must be followed - by law</a:t>
            </a:r>
          </a:p>
        </p:txBody>
      </p:sp>
      <p:sp>
        <p:nvSpPr>
          <p:cNvPr id="34" name="Rectangle 33"/>
          <p:cNvSpPr/>
          <p:nvPr/>
        </p:nvSpPr>
        <p:spPr>
          <a:xfrm>
            <a:off x="6483179" y="1863055"/>
            <a:ext cx="237118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The safety of every employee is the responsibility of every company and their Directors</a:t>
            </a:r>
            <a:endParaRPr lang="en-GB" sz="1400" dirty="0">
              <a:solidFill>
                <a:schemeClr val="bg1">
                  <a:lumMod val="95000"/>
                </a:schemeClr>
              </a:solidFill>
              <a:latin typeface="Lato Medium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9557287" y="1863055"/>
            <a:ext cx="237118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There are often multiple different processes and checklists, and assessments and documentation must all align</a:t>
            </a:r>
          </a:p>
        </p:txBody>
      </p:sp>
      <p:sp>
        <p:nvSpPr>
          <p:cNvPr id="36" name="Rectangle 35"/>
          <p:cNvSpPr/>
          <p:nvPr/>
        </p:nvSpPr>
        <p:spPr>
          <a:xfrm>
            <a:off x="4946125" y="3661104"/>
            <a:ext cx="23711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Time consuming paperwork costs money </a:t>
            </a:r>
          </a:p>
        </p:txBody>
      </p:sp>
      <p:sp>
        <p:nvSpPr>
          <p:cNvPr id="37" name="Rectangle 36"/>
          <p:cNvSpPr/>
          <p:nvPr/>
        </p:nvSpPr>
        <p:spPr>
          <a:xfrm>
            <a:off x="8020233" y="3661104"/>
            <a:ext cx="23711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Current technology is varied and unconnected – often </a:t>
            </a:r>
            <a:r>
              <a:rPr lang="en-US" sz="1400" dirty="0" err="1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siloed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solutions to achieve one goal</a:t>
            </a:r>
          </a:p>
        </p:txBody>
      </p:sp>
      <p:sp>
        <p:nvSpPr>
          <p:cNvPr id="38" name="Rectangle 37"/>
          <p:cNvSpPr/>
          <p:nvPr/>
        </p:nvSpPr>
        <p:spPr>
          <a:xfrm>
            <a:off x="6483179" y="5459153"/>
            <a:ext cx="23711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Fines and litigation can be damaging and huge</a:t>
            </a:r>
          </a:p>
        </p:txBody>
      </p:sp>
      <p:sp>
        <p:nvSpPr>
          <p:cNvPr id="39" name="Rectangle 38"/>
          <p:cNvSpPr/>
          <p:nvPr/>
        </p:nvSpPr>
        <p:spPr>
          <a:xfrm>
            <a:off x="3409071" y="5459153"/>
            <a:ext cx="23711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pps do one thing but not another</a:t>
            </a:r>
          </a:p>
        </p:txBody>
      </p:sp>
      <p:sp>
        <p:nvSpPr>
          <p:cNvPr id="17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chemeClr val="bg1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chemeClr val="bg1"/>
                </a:solidFill>
                <a:latin typeface="Lato Medium"/>
                <a:ea typeface="Lato Medium"/>
                <a:cs typeface="Lato Medium"/>
              </a:rPr>
              <a:t>be-safetech</a:t>
            </a:r>
            <a:r>
              <a:rPr lang="en-US" dirty="0">
                <a:solidFill>
                  <a:schemeClr val="bg1"/>
                </a:solidFill>
                <a:latin typeface="Lato Light"/>
                <a:ea typeface="Lato Light"/>
                <a:cs typeface="Lato Light"/>
              </a:rPr>
              <a:t>.c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| </a:t>
            </a:r>
            <a:fld id="{DABD2AA5-CABB-4467-8A69-C511B00C377E}" type="slidenum">
              <a:rPr lang="en-US" b="1" dirty="0" smtClean="0">
                <a:solidFill>
                  <a:schemeClr val="bg1"/>
                </a:solidFill>
                <a:latin typeface="Montserrat"/>
              </a:rPr>
              <a:pPr algn="l" rtl="1"/>
              <a:t>3</a:t>
            </a:fld>
            <a:endParaRPr lang="en-US" b="1" dirty="0">
              <a:solidFill>
                <a:schemeClr val="bg1"/>
              </a:solidFill>
              <a:latin typeface="Montserrat"/>
            </a:endParaRP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982373"/>
            <a:ext cx="1174243" cy="542252"/>
          </a:xfrm>
          <a:prstGeom prst="rect">
            <a:avLst/>
          </a:prstGeom>
        </p:spPr>
      </p:pic>
      <p:sp>
        <p:nvSpPr>
          <p:cNvPr id="21" name="Freeform 16"/>
          <p:cNvSpPr>
            <a:spLocks/>
          </p:cNvSpPr>
          <p:nvPr/>
        </p:nvSpPr>
        <p:spPr bwMode="auto">
          <a:xfrm>
            <a:off x="8820908" y="3027835"/>
            <a:ext cx="663056" cy="633268"/>
          </a:xfrm>
          <a:custGeom>
            <a:avLst/>
            <a:gdLst>
              <a:gd name="T0" fmla="*/ 5175 w 5241"/>
              <a:gd name="T1" fmla="*/ 4160 h 5028"/>
              <a:gd name="T2" fmla="*/ 5241 w 5241"/>
              <a:gd name="T3" fmla="*/ 4449 h 5028"/>
              <a:gd name="T4" fmla="*/ 4741 w 5241"/>
              <a:gd name="T5" fmla="*/ 5028 h 5028"/>
              <a:gd name="T6" fmla="*/ 580 w 5241"/>
              <a:gd name="T7" fmla="*/ 5028 h 5028"/>
              <a:gd name="T8" fmla="*/ 0 w 5241"/>
              <a:gd name="T9" fmla="*/ 4449 h 5028"/>
              <a:gd name="T10" fmla="*/ 78 w 5241"/>
              <a:gd name="T11" fmla="*/ 4160 h 5028"/>
              <a:gd name="T12" fmla="*/ 2312 w 5241"/>
              <a:gd name="T13" fmla="*/ 290 h 5028"/>
              <a:gd name="T14" fmla="*/ 2814 w 5241"/>
              <a:gd name="T15" fmla="*/ 0 h 5028"/>
              <a:gd name="T16" fmla="*/ 2831 w 5241"/>
              <a:gd name="T17" fmla="*/ 0 h 5028"/>
              <a:gd name="T18" fmla="*/ 3247 w 5241"/>
              <a:gd name="T19" fmla="*/ 290 h 5028"/>
              <a:gd name="T20" fmla="*/ 5175 w 5241"/>
              <a:gd name="T21" fmla="*/ 4160 h 50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241" h="5028">
                <a:moveTo>
                  <a:pt x="5175" y="4160"/>
                </a:moveTo>
                <a:cubicBezTo>
                  <a:pt x="5218" y="4248"/>
                  <a:pt x="5241" y="4347"/>
                  <a:pt x="5241" y="4449"/>
                </a:cubicBezTo>
                <a:cubicBezTo>
                  <a:pt x="5241" y="4768"/>
                  <a:pt x="5017" y="5028"/>
                  <a:pt x="4741" y="5028"/>
                </a:cubicBezTo>
                <a:lnTo>
                  <a:pt x="580" y="5028"/>
                </a:lnTo>
                <a:cubicBezTo>
                  <a:pt x="260" y="5028"/>
                  <a:pt x="0" y="4768"/>
                  <a:pt x="0" y="4449"/>
                </a:cubicBezTo>
                <a:cubicBezTo>
                  <a:pt x="0" y="4347"/>
                  <a:pt x="27" y="4248"/>
                  <a:pt x="78" y="4160"/>
                </a:cubicBezTo>
                <a:lnTo>
                  <a:pt x="2312" y="290"/>
                </a:lnTo>
                <a:cubicBezTo>
                  <a:pt x="2415" y="111"/>
                  <a:pt x="2608" y="0"/>
                  <a:pt x="2814" y="0"/>
                </a:cubicBezTo>
                <a:cubicBezTo>
                  <a:pt x="2820" y="0"/>
                  <a:pt x="2825" y="0"/>
                  <a:pt x="2831" y="0"/>
                </a:cubicBezTo>
                <a:cubicBezTo>
                  <a:pt x="3002" y="7"/>
                  <a:pt x="3161" y="117"/>
                  <a:pt x="3247" y="290"/>
                </a:cubicBezTo>
                <a:lnTo>
                  <a:pt x="5175" y="4160"/>
                </a:lnTo>
                <a:close/>
              </a:path>
            </a:pathLst>
          </a:custGeom>
          <a:gradFill>
            <a:gsLst>
              <a:gs pos="0">
                <a:srgbClr val="FFD764"/>
              </a:gs>
              <a:gs pos="100000">
                <a:srgbClr val="EF9F20"/>
              </a:gs>
            </a:gsLst>
            <a:lin ang="54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3" name="Freeform 16"/>
          <p:cNvSpPr>
            <a:spLocks/>
          </p:cNvSpPr>
          <p:nvPr/>
        </p:nvSpPr>
        <p:spPr bwMode="auto">
          <a:xfrm>
            <a:off x="2726083" y="3027835"/>
            <a:ext cx="663056" cy="633268"/>
          </a:xfrm>
          <a:custGeom>
            <a:avLst/>
            <a:gdLst>
              <a:gd name="T0" fmla="*/ 5175 w 5241"/>
              <a:gd name="T1" fmla="*/ 4160 h 5028"/>
              <a:gd name="T2" fmla="*/ 5241 w 5241"/>
              <a:gd name="T3" fmla="*/ 4449 h 5028"/>
              <a:gd name="T4" fmla="*/ 4741 w 5241"/>
              <a:gd name="T5" fmla="*/ 5028 h 5028"/>
              <a:gd name="T6" fmla="*/ 580 w 5241"/>
              <a:gd name="T7" fmla="*/ 5028 h 5028"/>
              <a:gd name="T8" fmla="*/ 0 w 5241"/>
              <a:gd name="T9" fmla="*/ 4449 h 5028"/>
              <a:gd name="T10" fmla="*/ 78 w 5241"/>
              <a:gd name="T11" fmla="*/ 4160 h 5028"/>
              <a:gd name="T12" fmla="*/ 2312 w 5241"/>
              <a:gd name="T13" fmla="*/ 290 h 5028"/>
              <a:gd name="T14" fmla="*/ 2814 w 5241"/>
              <a:gd name="T15" fmla="*/ 0 h 5028"/>
              <a:gd name="T16" fmla="*/ 2831 w 5241"/>
              <a:gd name="T17" fmla="*/ 0 h 5028"/>
              <a:gd name="T18" fmla="*/ 3247 w 5241"/>
              <a:gd name="T19" fmla="*/ 290 h 5028"/>
              <a:gd name="T20" fmla="*/ 5175 w 5241"/>
              <a:gd name="T21" fmla="*/ 4160 h 50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241" h="5028">
                <a:moveTo>
                  <a:pt x="5175" y="4160"/>
                </a:moveTo>
                <a:cubicBezTo>
                  <a:pt x="5218" y="4248"/>
                  <a:pt x="5241" y="4347"/>
                  <a:pt x="5241" y="4449"/>
                </a:cubicBezTo>
                <a:cubicBezTo>
                  <a:pt x="5241" y="4768"/>
                  <a:pt x="5017" y="5028"/>
                  <a:pt x="4741" y="5028"/>
                </a:cubicBezTo>
                <a:lnTo>
                  <a:pt x="580" y="5028"/>
                </a:lnTo>
                <a:cubicBezTo>
                  <a:pt x="260" y="5028"/>
                  <a:pt x="0" y="4768"/>
                  <a:pt x="0" y="4449"/>
                </a:cubicBezTo>
                <a:cubicBezTo>
                  <a:pt x="0" y="4347"/>
                  <a:pt x="27" y="4248"/>
                  <a:pt x="78" y="4160"/>
                </a:cubicBezTo>
                <a:lnTo>
                  <a:pt x="2312" y="290"/>
                </a:lnTo>
                <a:cubicBezTo>
                  <a:pt x="2415" y="111"/>
                  <a:pt x="2608" y="0"/>
                  <a:pt x="2814" y="0"/>
                </a:cubicBezTo>
                <a:cubicBezTo>
                  <a:pt x="2820" y="0"/>
                  <a:pt x="2825" y="0"/>
                  <a:pt x="2831" y="0"/>
                </a:cubicBezTo>
                <a:cubicBezTo>
                  <a:pt x="3002" y="7"/>
                  <a:pt x="3161" y="117"/>
                  <a:pt x="3247" y="290"/>
                </a:cubicBezTo>
                <a:lnTo>
                  <a:pt x="5175" y="4160"/>
                </a:lnTo>
                <a:close/>
              </a:path>
            </a:pathLst>
          </a:custGeom>
          <a:gradFill>
            <a:gsLst>
              <a:gs pos="0">
                <a:srgbClr val="FFD764"/>
              </a:gs>
              <a:gs pos="100000">
                <a:srgbClr val="EF9F20"/>
              </a:gs>
            </a:gsLst>
            <a:lin ang="54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8" name="Freeform 16"/>
          <p:cNvSpPr>
            <a:spLocks/>
          </p:cNvSpPr>
          <p:nvPr/>
        </p:nvSpPr>
        <p:spPr bwMode="auto">
          <a:xfrm>
            <a:off x="5800191" y="3027835"/>
            <a:ext cx="663056" cy="633268"/>
          </a:xfrm>
          <a:custGeom>
            <a:avLst/>
            <a:gdLst>
              <a:gd name="T0" fmla="*/ 5175 w 5241"/>
              <a:gd name="T1" fmla="*/ 4160 h 5028"/>
              <a:gd name="T2" fmla="*/ 5241 w 5241"/>
              <a:gd name="T3" fmla="*/ 4449 h 5028"/>
              <a:gd name="T4" fmla="*/ 4741 w 5241"/>
              <a:gd name="T5" fmla="*/ 5028 h 5028"/>
              <a:gd name="T6" fmla="*/ 580 w 5241"/>
              <a:gd name="T7" fmla="*/ 5028 h 5028"/>
              <a:gd name="T8" fmla="*/ 0 w 5241"/>
              <a:gd name="T9" fmla="*/ 4449 h 5028"/>
              <a:gd name="T10" fmla="*/ 78 w 5241"/>
              <a:gd name="T11" fmla="*/ 4160 h 5028"/>
              <a:gd name="T12" fmla="*/ 2312 w 5241"/>
              <a:gd name="T13" fmla="*/ 290 h 5028"/>
              <a:gd name="T14" fmla="*/ 2814 w 5241"/>
              <a:gd name="T15" fmla="*/ 0 h 5028"/>
              <a:gd name="T16" fmla="*/ 2831 w 5241"/>
              <a:gd name="T17" fmla="*/ 0 h 5028"/>
              <a:gd name="T18" fmla="*/ 3247 w 5241"/>
              <a:gd name="T19" fmla="*/ 290 h 5028"/>
              <a:gd name="T20" fmla="*/ 5175 w 5241"/>
              <a:gd name="T21" fmla="*/ 4160 h 50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241" h="5028">
                <a:moveTo>
                  <a:pt x="5175" y="4160"/>
                </a:moveTo>
                <a:cubicBezTo>
                  <a:pt x="5218" y="4248"/>
                  <a:pt x="5241" y="4347"/>
                  <a:pt x="5241" y="4449"/>
                </a:cubicBezTo>
                <a:cubicBezTo>
                  <a:pt x="5241" y="4768"/>
                  <a:pt x="5017" y="5028"/>
                  <a:pt x="4741" y="5028"/>
                </a:cubicBezTo>
                <a:lnTo>
                  <a:pt x="580" y="5028"/>
                </a:lnTo>
                <a:cubicBezTo>
                  <a:pt x="260" y="5028"/>
                  <a:pt x="0" y="4768"/>
                  <a:pt x="0" y="4449"/>
                </a:cubicBezTo>
                <a:cubicBezTo>
                  <a:pt x="0" y="4347"/>
                  <a:pt x="27" y="4248"/>
                  <a:pt x="78" y="4160"/>
                </a:cubicBezTo>
                <a:lnTo>
                  <a:pt x="2312" y="290"/>
                </a:lnTo>
                <a:cubicBezTo>
                  <a:pt x="2415" y="111"/>
                  <a:pt x="2608" y="0"/>
                  <a:pt x="2814" y="0"/>
                </a:cubicBezTo>
                <a:cubicBezTo>
                  <a:pt x="2820" y="0"/>
                  <a:pt x="2825" y="0"/>
                  <a:pt x="2831" y="0"/>
                </a:cubicBezTo>
                <a:cubicBezTo>
                  <a:pt x="3002" y="7"/>
                  <a:pt x="3161" y="117"/>
                  <a:pt x="3247" y="290"/>
                </a:cubicBezTo>
                <a:lnTo>
                  <a:pt x="5175" y="4160"/>
                </a:lnTo>
                <a:close/>
              </a:path>
            </a:pathLst>
          </a:custGeom>
          <a:gradFill>
            <a:gsLst>
              <a:gs pos="0">
                <a:srgbClr val="FFD764"/>
              </a:gs>
              <a:gs pos="100000">
                <a:srgbClr val="EF9F20"/>
              </a:gs>
            </a:gsLst>
            <a:lin ang="54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0" name="Freeform 16"/>
          <p:cNvSpPr>
            <a:spLocks/>
          </p:cNvSpPr>
          <p:nvPr/>
        </p:nvSpPr>
        <p:spPr bwMode="auto">
          <a:xfrm>
            <a:off x="1201729" y="1229787"/>
            <a:ext cx="663056" cy="633268"/>
          </a:xfrm>
          <a:custGeom>
            <a:avLst/>
            <a:gdLst>
              <a:gd name="T0" fmla="*/ 5175 w 5241"/>
              <a:gd name="T1" fmla="*/ 4160 h 5028"/>
              <a:gd name="T2" fmla="*/ 5241 w 5241"/>
              <a:gd name="T3" fmla="*/ 4449 h 5028"/>
              <a:gd name="T4" fmla="*/ 4741 w 5241"/>
              <a:gd name="T5" fmla="*/ 5028 h 5028"/>
              <a:gd name="T6" fmla="*/ 580 w 5241"/>
              <a:gd name="T7" fmla="*/ 5028 h 5028"/>
              <a:gd name="T8" fmla="*/ 0 w 5241"/>
              <a:gd name="T9" fmla="*/ 4449 h 5028"/>
              <a:gd name="T10" fmla="*/ 78 w 5241"/>
              <a:gd name="T11" fmla="*/ 4160 h 5028"/>
              <a:gd name="T12" fmla="*/ 2312 w 5241"/>
              <a:gd name="T13" fmla="*/ 290 h 5028"/>
              <a:gd name="T14" fmla="*/ 2814 w 5241"/>
              <a:gd name="T15" fmla="*/ 0 h 5028"/>
              <a:gd name="T16" fmla="*/ 2831 w 5241"/>
              <a:gd name="T17" fmla="*/ 0 h 5028"/>
              <a:gd name="T18" fmla="*/ 3247 w 5241"/>
              <a:gd name="T19" fmla="*/ 290 h 5028"/>
              <a:gd name="T20" fmla="*/ 5175 w 5241"/>
              <a:gd name="T21" fmla="*/ 4160 h 50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241" h="5028">
                <a:moveTo>
                  <a:pt x="5175" y="4160"/>
                </a:moveTo>
                <a:cubicBezTo>
                  <a:pt x="5218" y="4248"/>
                  <a:pt x="5241" y="4347"/>
                  <a:pt x="5241" y="4449"/>
                </a:cubicBezTo>
                <a:cubicBezTo>
                  <a:pt x="5241" y="4768"/>
                  <a:pt x="5017" y="5028"/>
                  <a:pt x="4741" y="5028"/>
                </a:cubicBezTo>
                <a:lnTo>
                  <a:pt x="580" y="5028"/>
                </a:lnTo>
                <a:cubicBezTo>
                  <a:pt x="260" y="5028"/>
                  <a:pt x="0" y="4768"/>
                  <a:pt x="0" y="4449"/>
                </a:cubicBezTo>
                <a:cubicBezTo>
                  <a:pt x="0" y="4347"/>
                  <a:pt x="27" y="4248"/>
                  <a:pt x="78" y="4160"/>
                </a:cubicBezTo>
                <a:lnTo>
                  <a:pt x="2312" y="290"/>
                </a:lnTo>
                <a:cubicBezTo>
                  <a:pt x="2415" y="111"/>
                  <a:pt x="2608" y="0"/>
                  <a:pt x="2814" y="0"/>
                </a:cubicBezTo>
                <a:cubicBezTo>
                  <a:pt x="2820" y="0"/>
                  <a:pt x="2825" y="0"/>
                  <a:pt x="2831" y="0"/>
                </a:cubicBezTo>
                <a:cubicBezTo>
                  <a:pt x="3002" y="7"/>
                  <a:pt x="3161" y="117"/>
                  <a:pt x="3247" y="290"/>
                </a:cubicBezTo>
                <a:lnTo>
                  <a:pt x="5175" y="4160"/>
                </a:lnTo>
                <a:close/>
              </a:path>
            </a:pathLst>
          </a:custGeom>
          <a:gradFill>
            <a:gsLst>
              <a:gs pos="0">
                <a:srgbClr val="FFD764"/>
              </a:gs>
              <a:gs pos="100000">
                <a:srgbClr val="EF9F20"/>
              </a:gs>
            </a:gsLst>
            <a:lin ang="54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2" name="Freeform 16"/>
          <p:cNvSpPr>
            <a:spLocks/>
          </p:cNvSpPr>
          <p:nvPr/>
        </p:nvSpPr>
        <p:spPr bwMode="auto">
          <a:xfrm>
            <a:off x="10411353" y="1229787"/>
            <a:ext cx="663056" cy="633268"/>
          </a:xfrm>
          <a:custGeom>
            <a:avLst/>
            <a:gdLst>
              <a:gd name="T0" fmla="*/ 5175 w 5241"/>
              <a:gd name="T1" fmla="*/ 4160 h 5028"/>
              <a:gd name="T2" fmla="*/ 5241 w 5241"/>
              <a:gd name="T3" fmla="*/ 4449 h 5028"/>
              <a:gd name="T4" fmla="*/ 4741 w 5241"/>
              <a:gd name="T5" fmla="*/ 5028 h 5028"/>
              <a:gd name="T6" fmla="*/ 580 w 5241"/>
              <a:gd name="T7" fmla="*/ 5028 h 5028"/>
              <a:gd name="T8" fmla="*/ 0 w 5241"/>
              <a:gd name="T9" fmla="*/ 4449 h 5028"/>
              <a:gd name="T10" fmla="*/ 78 w 5241"/>
              <a:gd name="T11" fmla="*/ 4160 h 5028"/>
              <a:gd name="T12" fmla="*/ 2312 w 5241"/>
              <a:gd name="T13" fmla="*/ 290 h 5028"/>
              <a:gd name="T14" fmla="*/ 2814 w 5241"/>
              <a:gd name="T15" fmla="*/ 0 h 5028"/>
              <a:gd name="T16" fmla="*/ 2831 w 5241"/>
              <a:gd name="T17" fmla="*/ 0 h 5028"/>
              <a:gd name="T18" fmla="*/ 3247 w 5241"/>
              <a:gd name="T19" fmla="*/ 290 h 5028"/>
              <a:gd name="T20" fmla="*/ 5175 w 5241"/>
              <a:gd name="T21" fmla="*/ 4160 h 50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241" h="5028">
                <a:moveTo>
                  <a:pt x="5175" y="4160"/>
                </a:moveTo>
                <a:cubicBezTo>
                  <a:pt x="5218" y="4248"/>
                  <a:pt x="5241" y="4347"/>
                  <a:pt x="5241" y="4449"/>
                </a:cubicBezTo>
                <a:cubicBezTo>
                  <a:pt x="5241" y="4768"/>
                  <a:pt x="5017" y="5028"/>
                  <a:pt x="4741" y="5028"/>
                </a:cubicBezTo>
                <a:lnTo>
                  <a:pt x="580" y="5028"/>
                </a:lnTo>
                <a:cubicBezTo>
                  <a:pt x="260" y="5028"/>
                  <a:pt x="0" y="4768"/>
                  <a:pt x="0" y="4449"/>
                </a:cubicBezTo>
                <a:cubicBezTo>
                  <a:pt x="0" y="4347"/>
                  <a:pt x="27" y="4248"/>
                  <a:pt x="78" y="4160"/>
                </a:cubicBezTo>
                <a:lnTo>
                  <a:pt x="2312" y="290"/>
                </a:lnTo>
                <a:cubicBezTo>
                  <a:pt x="2415" y="111"/>
                  <a:pt x="2608" y="0"/>
                  <a:pt x="2814" y="0"/>
                </a:cubicBezTo>
                <a:cubicBezTo>
                  <a:pt x="2820" y="0"/>
                  <a:pt x="2825" y="0"/>
                  <a:pt x="2831" y="0"/>
                </a:cubicBezTo>
                <a:cubicBezTo>
                  <a:pt x="3002" y="7"/>
                  <a:pt x="3161" y="117"/>
                  <a:pt x="3247" y="290"/>
                </a:cubicBezTo>
                <a:lnTo>
                  <a:pt x="5175" y="4160"/>
                </a:lnTo>
                <a:close/>
              </a:path>
            </a:pathLst>
          </a:custGeom>
          <a:gradFill>
            <a:gsLst>
              <a:gs pos="0">
                <a:srgbClr val="FFD764"/>
              </a:gs>
              <a:gs pos="100000">
                <a:srgbClr val="EF9F20"/>
              </a:gs>
            </a:gsLst>
            <a:lin ang="54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40" name="Freeform 16"/>
          <p:cNvSpPr>
            <a:spLocks/>
          </p:cNvSpPr>
          <p:nvPr/>
        </p:nvSpPr>
        <p:spPr bwMode="auto">
          <a:xfrm>
            <a:off x="7337245" y="1229787"/>
            <a:ext cx="663056" cy="633268"/>
          </a:xfrm>
          <a:custGeom>
            <a:avLst/>
            <a:gdLst>
              <a:gd name="T0" fmla="*/ 5175 w 5241"/>
              <a:gd name="T1" fmla="*/ 4160 h 5028"/>
              <a:gd name="T2" fmla="*/ 5241 w 5241"/>
              <a:gd name="T3" fmla="*/ 4449 h 5028"/>
              <a:gd name="T4" fmla="*/ 4741 w 5241"/>
              <a:gd name="T5" fmla="*/ 5028 h 5028"/>
              <a:gd name="T6" fmla="*/ 580 w 5241"/>
              <a:gd name="T7" fmla="*/ 5028 h 5028"/>
              <a:gd name="T8" fmla="*/ 0 w 5241"/>
              <a:gd name="T9" fmla="*/ 4449 h 5028"/>
              <a:gd name="T10" fmla="*/ 78 w 5241"/>
              <a:gd name="T11" fmla="*/ 4160 h 5028"/>
              <a:gd name="T12" fmla="*/ 2312 w 5241"/>
              <a:gd name="T13" fmla="*/ 290 h 5028"/>
              <a:gd name="T14" fmla="*/ 2814 w 5241"/>
              <a:gd name="T15" fmla="*/ 0 h 5028"/>
              <a:gd name="T16" fmla="*/ 2831 w 5241"/>
              <a:gd name="T17" fmla="*/ 0 h 5028"/>
              <a:gd name="T18" fmla="*/ 3247 w 5241"/>
              <a:gd name="T19" fmla="*/ 290 h 5028"/>
              <a:gd name="T20" fmla="*/ 5175 w 5241"/>
              <a:gd name="T21" fmla="*/ 4160 h 50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241" h="5028">
                <a:moveTo>
                  <a:pt x="5175" y="4160"/>
                </a:moveTo>
                <a:cubicBezTo>
                  <a:pt x="5218" y="4248"/>
                  <a:pt x="5241" y="4347"/>
                  <a:pt x="5241" y="4449"/>
                </a:cubicBezTo>
                <a:cubicBezTo>
                  <a:pt x="5241" y="4768"/>
                  <a:pt x="5017" y="5028"/>
                  <a:pt x="4741" y="5028"/>
                </a:cubicBezTo>
                <a:lnTo>
                  <a:pt x="580" y="5028"/>
                </a:lnTo>
                <a:cubicBezTo>
                  <a:pt x="260" y="5028"/>
                  <a:pt x="0" y="4768"/>
                  <a:pt x="0" y="4449"/>
                </a:cubicBezTo>
                <a:cubicBezTo>
                  <a:pt x="0" y="4347"/>
                  <a:pt x="27" y="4248"/>
                  <a:pt x="78" y="4160"/>
                </a:cubicBezTo>
                <a:lnTo>
                  <a:pt x="2312" y="290"/>
                </a:lnTo>
                <a:cubicBezTo>
                  <a:pt x="2415" y="111"/>
                  <a:pt x="2608" y="0"/>
                  <a:pt x="2814" y="0"/>
                </a:cubicBezTo>
                <a:cubicBezTo>
                  <a:pt x="2820" y="0"/>
                  <a:pt x="2825" y="0"/>
                  <a:pt x="2831" y="0"/>
                </a:cubicBezTo>
                <a:cubicBezTo>
                  <a:pt x="3002" y="7"/>
                  <a:pt x="3161" y="117"/>
                  <a:pt x="3247" y="290"/>
                </a:cubicBezTo>
                <a:lnTo>
                  <a:pt x="5175" y="4160"/>
                </a:lnTo>
                <a:close/>
              </a:path>
            </a:pathLst>
          </a:custGeom>
          <a:gradFill>
            <a:gsLst>
              <a:gs pos="0">
                <a:srgbClr val="FFD764"/>
              </a:gs>
              <a:gs pos="100000">
                <a:srgbClr val="EF9F20"/>
              </a:gs>
            </a:gsLst>
            <a:lin ang="54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41" name="Freeform 16"/>
          <p:cNvSpPr>
            <a:spLocks/>
          </p:cNvSpPr>
          <p:nvPr/>
        </p:nvSpPr>
        <p:spPr bwMode="auto">
          <a:xfrm>
            <a:off x="4263137" y="1229787"/>
            <a:ext cx="663056" cy="633268"/>
          </a:xfrm>
          <a:custGeom>
            <a:avLst/>
            <a:gdLst>
              <a:gd name="T0" fmla="*/ 5175 w 5241"/>
              <a:gd name="T1" fmla="*/ 4160 h 5028"/>
              <a:gd name="T2" fmla="*/ 5241 w 5241"/>
              <a:gd name="T3" fmla="*/ 4449 h 5028"/>
              <a:gd name="T4" fmla="*/ 4741 w 5241"/>
              <a:gd name="T5" fmla="*/ 5028 h 5028"/>
              <a:gd name="T6" fmla="*/ 580 w 5241"/>
              <a:gd name="T7" fmla="*/ 5028 h 5028"/>
              <a:gd name="T8" fmla="*/ 0 w 5241"/>
              <a:gd name="T9" fmla="*/ 4449 h 5028"/>
              <a:gd name="T10" fmla="*/ 78 w 5241"/>
              <a:gd name="T11" fmla="*/ 4160 h 5028"/>
              <a:gd name="T12" fmla="*/ 2312 w 5241"/>
              <a:gd name="T13" fmla="*/ 290 h 5028"/>
              <a:gd name="T14" fmla="*/ 2814 w 5241"/>
              <a:gd name="T15" fmla="*/ 0 h 5028"/>
              <a:gd name="T16" fmla="*/ 2831 w 5241"/>
              <a:gd name="T17" fmla="*/ 0 h 5028"/>
              <a:gd name="T18" fmla="*/ 3247 w 5241"/>
              <a:gd name="T19" fmla="*/ 290 h 5028"/>
              <a:gd name="T20" fmla="*/ 5175 w 5241"/>
              <a:gd name="T21" fmla="*/ 4160 h 50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241" h="5028">
                <a:moveTo>
                  <a:pt x="5175" y="4160"/>
                </a:moveTo>
                <a:cubicBezTo>
                  <a:pt x="5218" y="4248"/>
                  <a:pt x="5241" y="4347"/>
                  <a:pt x="5241" y="4449"/>
                </a:cubicBezTo>
                <a:cubicBezTo>
                  <a:pt x="5241" y="4768"/>
                  <a:pt x="5017" y="5028"/>
                  <a:pt x="4741" y="5028"/>
                </a:cubicBezTo>
                <a:lnTo>
                  <a:pt x="580" y="5028"/>
                </a:lnTo>
                <a:cubicBezTo>
                  <a:pt x="260" y="5028"/>
                  <a:pt x="0" y="4768"/>
                  <a:pt x="0" y="4449"/>
                </a:cubicBezTo>
                <a:cubicBezTo>
                  <a:pt x="0" y="4347"/>
                  <a:pt x="27" y="4248"/>
                  <a:pt x="78" y="4160"/>
                </a:cubicBezTo>
                <a:lnTo>
                  <a:pt x="2312" y="290"/>
                </a:lnTo>
                <a:cubicBezTo>
                  <a:pt x="2415" y="111"/>
                  <a:pt x="2608" y="0"/>
                  <a:pt x="2814" y="0"/>
                </a:cubicBezTo>
                <a:cubicBezTo>
                  <a:pt x="2820" y="0"/>
                  <a:pt x="2825" y="0"/>
                  <a:pt x="2831" y="0"/>
                </a:cubicBezTo>
                <a:cubicBezTo>
                  <a:pt x="3002" y="7"/>
                  <a:pt x="3161" y="117"/>
                  <a:pt x="3247" y="290"/>
                </a:cubicBezTo>
                <a:lnTo>
                  <a:pt x="5175" y="4160"/>
                </a:lnTo>
                <a:close/>
              </a:path>
            </a:pathLst>
          </a:custGeom>
          <a:gradFill>
            <a:gsLst>
              <a:gs pos="0">
                <a:srgbClr val="FFD764"/>
              </a:gs>
              <a:gs pos="100000">
                <a:srgbClr val="EF9F20"/>
              </a:gs>
            </a:gsLst>
            <a:lin ang="54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42" name="Freeform 16"/>
          <p:cNvSpPr>
            <a:spLocks/>
          </p:cNvSpPr>
          <p:nvPr/>
        </p:nvSpPr>
        <p:spPr bwMode="auto">
          <a:xfrm>
            <a:off x="4263137" y="4792224"/>
            <a:ext cx="663056" cy="633268"/>
          </a:xfrm>
          <a:custGeom>
            <a:avLst/>
            <a:gdLst>
              <a:gd name="T0" fmla="*/ 5175 w 5241"/>
              <a:gd name="T1" fmla="*/ 4160 h 5028"/>
              <a:gd name="T2" fmla="*/ 5241 w 5241"/>
              <a:gd name="T3" fmla="*/ 4449 h 5028"/>
              <a:gd name="T4" fmla="*/ 4741 w 5241"/>
              <a:gd name="T5" fmla="*/ 5028 h 5028"/>
              <a:gd name="T6" fmla="*/ 580 w 5241"/>
              <a:gd name="T7" fmla="*/ 5028 h 5028"/>
              <a:gd name="T8" fmla="*/ 0 w 5241"/>
              <a:gd name="T9" fmla="*/ 4449 h 5028"/>
              <a:gd name="T10" fmla="*/ 78 w 5241"/>
              <a:gd name="T11" fmla="*/ 4160 h 5028"/>
              <a:gd name="T12" fmla="*/ 2312 w 5241"/>
              <a:gd name="T13" fmla="*/ 290 h 5028"/>
              <a:gd name="T14" fmla="*/ 2814 w 5241"/>
              <a:gd name="T15" fmla="*/ 0 h 5028"/>
              <a:gd name="T16" fmla="*/ 2831 w 5241"/>
              <a:gd name="T17" fmla="*/ 0 h 5028"/>
              <a:gd name="T18" fmla="*/ 3247 w 5241"/>
              <a:gd name="T19" fmla="*/ 290 h 5028"/>
              <a:gd name="T20" fmla="*/ 5175 w 5241"/>
              <a:gd name="T21" fmla="*/ 4160 h 50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241" h="5028">
                <a:moveTo>
                  <a:pt x="5175" y="4160"/>
                </a:moveTo>
                <a:cubicBezTo>
                  <a:pt x="5218" y="4248"/>
                  <a:pt x="5241" y="4347"/>
                  <a:pt x="5241" y="4449"/>
                </a:cubicBezTo>
                <a:cubicBezTo>
                  <a:pt x="5241" y="4768"/>
                  <a:pt x="5017" y="5028"/>
                  <a:pt x="4741" y="5028"/>
                </a:cubicBezTo>
                <a:lnTo>
                  <a:pt x="580" y="5028"/>
                </a:lnTo>
                <a:cubicBezTo>
                  <a:pt x="260" y="5028"/>
                  <a:pt x="0" y="4768"/>
                  <a:pt x="0" y="4449"/>
                </a:cubicBezTo>
                <a:cubicBezTo>
                  <a:pt x="0" y="4347"/>
                  <a:pt x="27" y="4248"/>
                  <a:pt x="78" y="4160"/>
                </a:cubicBezTo>
                <a:lnTo>
                  <a:pt x="2312" y="290"/>
                </a:lnTo>
                <a:cubicBezTo>
                  <a:pt x="2415" y="111"/>
                  <a:pt x="2608" y="0"/>
                  <a:pt x="2814" y="0"/>
                </a:cubicBezTo>
                <a:cubicBezTo>
                  <a:pt x="2820" y="0"/>
                  <a:pt x="2825" y="0"/>
                  <a:pt x="2831" y="0"/>
                </a:cubicBezTo>
                <a:cubicBezTo>
                  <a:pt x="3002" y="7"/>
                  <a:pt x="3161" y="117"/>
                  <a:pt x="3247" y="290"/>
                </a:cubicBezTo>
                <a:lnTo>
                  <a:pt x="5175" y="4160"/>
                </a:lnTo>
                <a:close/>
              </a:path>
            </a:pathLst>
          </a:custGeom>
          <a:gradFill>
            <a:gsLst>
              <a:gs pos="0">
                <a:srgbClr val="FFD764"/>
              </a:gs>
              <a:gs pos="100000">
                <a:srgbClr val="EF9F20"/>
              </a:gs>
            </a:gsLst>
            <a:lin ang="54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43" name="Freeform 16"/>
          <p:cNvSpPr>
            <a:spLocks/>
          </p:cNvSpPr>
          <p:nvPr/>
        </p:nvSpPr>
        <p:spPr bwMode="auto">
          <a:xfrm>
            <a:off x="7337245" y="4792224"/>
            <a:ext cx="663056" cy="633268"/>
          </a:xfrm>
          <a:custGeom>
            <a:avLst/>
            <a:gdLst>
              <a:gd name="T0" fmla="*/ 5175 w 5241"/>
              <a:gd name="T1" fmla="*/ 4160 h 5028"/>
              <a:gd name="T2" fmla="*/ 5241 w 5241"/>
              <a:gd name="T3" fmla="*/ 4449 h 5028"/>
              <a:gd name="T4" fmla="*/ 4741 w 5241"/>
              <a:gd name="T5" fmla="*/ 5028 h 5028"/>
              <a:gd name="T6" fmla="*/ 580 w 5241"/>
              <a:gd name="T7" fmla="*/ 5028 h 5028"/>
              <a:gd name="T8" fmla="*/ 0 w 5241"/>
              <a:gd name="T9" fmla="*/ 4449 h 5028"/>
              <a:gd name="T10" fmla="*/ 78 w 5241"/>
              <a:gd name="T11" fmla="*/ 4160 h 5028"/>
              <a:gd name="T12" fmla="*/ 2312 w 5241"/>
              <a:gd name="T13" fmla="*/ 290 h 5028"/>
              <a:gd name="T14" fmla="*/ 2814 w 5241"/>
              <a:gd name="T15" fmla="*/ 0 h 5028"/>
              <a:gd name="T16" fmla="*/ 2831 w 5241"/>
              <a:gd name="T17" fmla="*/ 0 h 5028"/>
              <a:gd name="T18" fmla="*/ 3247 w 5241"/>
              <a:gd name="T19" fmla="*/ 290 h 5028"/>
              <a:gd name="T20" fmla="*/ 5175 w 5241"/>
              <a:gd name="T21" fmla="*/ 4160 h 50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241" h="5028">
                <a:moveTo>
                  <a:pt x="5175" y="4160"/>
                </a:moveTo>
                <a:cubicBezTo>
                  <a:pt x="5218" y="4248"/>
                  <a:pt x="5241" y="4347"/>
                  <a:pt x="5241" y="4449"/>
                </a:cubicBezTo>
                <a:cubicBezTo>
                  <a:pt x="5241" y="4768"/>
                  <a:pt x="5017" y="5028"/>
                  <a:pt x="4741" y="5028"/>
                </a:cubicBezTo>
                <a:lnTo>
                  <a:pt x="580" y="5028"/>
                </a:lnTo>
                <a:cubicBezTo>
                  <a:pt x="260" y="5028"/>
                  <a:pt x="0" y="4768"/>
                  <a:pt x="0" y="4449"/>
                </a:cubicBezTo>
                <a:cubicBezTo>
                  <a:pt x="0" y="4347"/>
                  <a:pt x="27" y="4248"/>
                  <a:pt x="78" y="4160"/>
                </a:cubicBezTo>
                <a:lnTo>
                  <a:pt x="2312" y="290"/>
                </a:lnTo>
                <a:cubicBezTo>
                  <a:pt x="2415" y="111"/>
                  <a:pt x="2608" y="0"/>
                  <a:pt x="2814" y="0"/>
                </a:cubicBezTo>
                <a:cubicBezTo>
                  <a:pt x="2820" y="0"/>
                  <a:pt x="2825" y="0"/>
                  <a:pt x="2831" y="0"/>
                </a:cubicBezTo>
                <a:cubicBezTo>
                  <a:pt x="3002" y="7"/>
                  <a:pt x="3161" y="117"/>
                  <a:pt x="3247" y="290"/>
                </a:cubicBezTo>
                <a:lnTo>
                  <a:pt x="5175" y="4160"/>
                </a:lnTo>
                <a:close/>
              </a:path>
            </a:pathLst>
          </a:custGeom>
          <a:gradFill>
            <a:gsLst>
              <a:gs pos="0">
                <a:srgbClr val="FFD764"/>
              </a:gs>
              <a:gs pos="100000">
                <a:srgbClr val="EF9F20"/>
              </a:gs>
            </a:gsLst>
            <a:lin ang="5400000" scaled="1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7" name="Group 46"/>
          <p:cNvGrpSpPr>
            <a:grpSpLocks noChangeAspect="1"/>
          </p:cNvGrpSpPr>
          <p:nvPr/>
        </p:nvGrpSpPr>
        <p:grpSpPr bwMode="auto">
          <a:xfrm>
            <a:off x="10561924" y="1478868"/>
            <a:ext cx="361914" cy="361914"/>
            <a:chOff x="7229" y="-704"/>
            <a:chExt cx="339" cy="339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9" name="Freeform 47"/>
            <p:cNvSpPr>
              <a:spLocks noEditPoints="1"/>
            </p:cNvSpPr>
            <p:nvPr/>
          </p:nvSpPr>
          <p:spPr bwMode="auto">
            <a:xfrm>
              <a:off x="7229" y="-704"/>
              <a:ext cx="258" cy="339"/>
            </a:xfrm>
            <a:custGeom>
              <a:avLst/>
              <a:gdLst>
                <a:gd name="T0" fmla="*/ 4664 w 4876"/>
                <a:gd name="T1" fmla="*/ 255 h 6399"/>
                <a:gd name="T2" fmla="*/ 971 w 4876"/>
                <a:gd name="T3" fmla="*/ 8 h 6399"/>
                <a:gd name="T4" fmla="*/ 738 w 4876"/>
                <a:gd name="T5" fmla="*/ 211 h 6399"/>
                <a:gd name="T6" fmla="*/ 710 w 4876"/>
                <a:gd name="T7" fmla="*/ 643 h 6399"/>
                <a:gd name="T8" fmla="*/ 219 w 4876"/>
                <a:gd name="T9" fmla="*/ 643 h 6399"/>
                <a:gd name="T10" fmla="*/ 0 w 4876"/>
                <a:gd name="T11" fmla="*/ 862 h 6399"/>
                <a:gd name="T12" fmla="*/ 0 w 4876"/>
                <a:gd name="T13" fmla="*/ 6180 h 6399"/>
                <a:gd name="T14" fmla="*/ 219 w 4876"/>
                <a:gd name="T15" fmla="*/ 6399 h 6399"/>
                <a:gd name="T16" fmla="*/ 3046 w 4876"/>
                <a:gd name="T17" fmla="*/ 6399 h 6399"/>
                <a:gd name="T18" fmla="*/ 3112 w 4876"/>
                <a:gd name="T19" fmla="*/ 6372 h 6399"/>
                <a:gd name="T20" fmla="*/ 3538 w 4876"/>
                <a:gd name="T21" fmla="*/ 5947 h 6399"/>
                <a:gd name="T22" fmla="*/ 3552 w 4876"/>
                <a:gd name="T23" fmla="*/ 5949 h 6399"/>
                <a:gd name="T24" fmla="*/ 4280 w 4876"/>
                <a:gd name="T25" fmla="*/ 5998 h 6399"/>
                <a:gd name="T26" fmla="*/ 4513 w 4876"/>
                <a:gd name="T27" fmla="*/ 5794 h 6399"/>
                <a:gd name="T28" fmla="*/ 4868 w 4876"/>
                <a:gd name="T29" fmla="*/ 487 h 6399"/>
                <a:gd name="T30" fmla="*/ 4664 w 4876"/>
                <a:gd name="T31" fmla="*/ 255 h 6399"/>
                <a:gd name="T32" fmla="*/ 3139 w 4876"/>
                <a:gd name="T33" fmla="*/ 6078 h 6399"/>
                <a:gd name="T34" fmla="*/ 3139 w 4876"/>
                <a:gd name="T35" fmla="*/ 5427 h 6399"/>
                <a:gd name="T36" fmla="*/ 3171 w 4876"/>
                <a:gd name="T37" fmla="*/ 5396 h 6399"/>
                <a:gd name="T38" fmla="*/ 3819 w 4876"/>
                <a:gd name="T39" fmla="*/ 5396 h 6399"/>
                <a:gd name="T40" fmla="*/ 3139 w 4876"/>
                <a:gd name="T41" fmla="*/ 6078 h 6399"/>
                <a:gd name="T42" fmla="*/ 4326 w 4876"/>
                <a:gd name="T43" fmla="*/ 5781 h 6399"/>
                <a:gd name="T44" fmla="*/ 4293 w 4876"/>
                <a:gd name="T45" fmla="*/ 5810 h 6399"/>
                <a:gd name="T46" fmla="*/ 3714 w 4876"/>
                <a:gd name="T47" fmla="*/ 5772 h 6399"/>
                <a:gd name="T48" fmla="*/ 4111 w 4876"/>
                <a:gd name="T49" fmla="*/ 5377 h 6399"/>
                <a:gd name="T50" fmla="*/ 4139 w 4876"/>
                <a:gd name="T51" fmla="*/ 5310 h 6399"/>
                <a:gd name="T52" fmla="*/ 4139 w 4876"/>
                <a:gd name="T53" fmla="*/ 862 h 6399"/>
                <a:gd name="T54" fmla="*/ 3920 w 4876"/>
                <a:gd name="T55" fmla="*/ 643 h 6399"/>
                <a:gd name="T56" fmla="*/ 2945 w 4876"/>
                <a:gd name="T57" fmla="*/ 643 h 6399"/>
                <a:gd name="T58" fmla="*/ 2945 w 4876"/>
                <a:gd name="T59" fmla="*/ 831 h 6399"/>
                <a:gd name="T60" fmla="*/ 3920 w 4876"/>
                <a:gd name="T61" fmla="*/ 831 h 6399"/>
                <a:gd name="T62" fmla="*/ 3951 w 4876"/>
                <a:gd name="T63" fmla="*/ 862 h 6399"/>
                <a:gd name="T64" fmla="*/ 3951 w 4876"/>
                <a:gd name="T65" fmla="*/ 5208 h 6399"/>
                <a:gd name="T66" fmla="*/ 3171 w 4876"/>
                <a:gd name="T67" fmla="*/ 5208 h 6399"/>
                <a:gd name="T68" fmla="*/ 2952 w 4876"/>
                <a:gd name="T69" fmla="*/ 5427 h 6399"/>
                <a:gd name="T70" fmla="*/ 2952 w 4876"/>
                <a:gd name="T71" fmla="*/ 6211 h 6399"/>
                <a:gd name="T72" fmla="*/ 219 w 4876"/>
                <a:gd name="T73" fmla="*/ 6211 h 6399"/>
                <a:gd name="T74" fmla="*/ 188 w 4876"/>
                <a:gd name="T75" fmla="*/ 6180 h 6399"/>
                <a:gd name="T76" fmla="*/ 188 w 4876"/>
                <a:gd name="T77" fmla="*/ 862 h 6399"/>
                <a:gd name="T78" fmla="*/ 219 w 4876"/>
                <a:gd name="T79" fmla="*/ 831 h 6399"/>
                <a:gd name="T80" fmla="*/ 2446 w 4876"/>
                <a:gd name="T81" fmla="*/ 831 h 6399"/>
                <a:gd name="T82" fmla="*/ 2446 w 4876"/>
                <a:gd name="T83" fmla="*/ 643 h 6399"/>
                <a:gd name="T84" fmla="*/ 898 w 4876"/>
                <a:gd name="T85" fmla="*/ 643 h 6399"/>
                <a:gd name="T86" fmla="*/ 926 w 4876"/>
                <a:gd name="T87" fmla="*/ 224 h 6399"/>
                <a:gd name="T88" fmla="*/ 959 w 4876"/>
                <a:gd name="T89" fmla="*/ 195 h 6399"/>
                <a:gd name="T90" fmla="*/ 4652 w 4876"/>
                <a:gd name="T91" fmla="*/ 442 h 6399"/>
                <a:gd name="T92" fmla="*/ 4681 w 4876"/>
                <a:gd name="T93" fmla="*/ 475 h 6399"/>
                <a:gd name="T94" fmla="*/ 4326 w 4876"/>
                <a:gd name="T95" fmla="*/ 5781 h 6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876" h="6399">
                  <a:moveTo>
                    <a:pt x="4664" y="255"/>
                  </a:moveTo>
                  <a:lnTo>
                    <a:pt x="971" y="8"/>
                  </a:lnTo>
                  <a:cubicBezTo>
                    <a:pt x="851" y="0"/>
                    <a:pt x="747" y="91"/>
                    <a:pt x="738" y="211"/>
                  </a:cubicBezTo>
                  <a:lnTo>
                    <a:pt x="710" y="643"/>
                  </a:lnTo>
                  <a:lnTo>
                    <a:pt x="219" y="643"/>
                  </a:lnTo>
                  <a:cubicBezTo>
                    <a:pt x="98" y="643"/>
                    <a:pt x="0" y="741"/>
                    <a:pt x="0" y="862"/>
                  </a:cubicBezTo>
                  <a:lnTo>
                    <a:pt x="0" y="6180"/>
                  </a:lnTo>
                  <a:cubicBezTo>
                    <a:pt x="0" y="6301"/>
                    <a:pt x="98" y="6399"/>
                    <a:pt x="219" y="6399"/>
                  </a:cubicBezTo>
                  <a:lnTo>
                    <a:pt x="3046" y="6399"/>
                  </a:lnTo>
                  <a:cubicBezTo>
                    <a:pt x="3070" y="6399"/>
                    <a:pt x="3094" y="6389"/>
                    <a:pt x="3112" y="6372"/>
                  </a:cubicBezTo>
                  <a:lnTo>
                    <a:pt x="3538" y="5947"/>
                  </a:lnTo>
                  <a:cubicBezTo>
                    <a:pt x="3543" y="5948"/>
                    <a:pt x="3547" y="5948"/>
                    <a:pt x="3552" y="5949"/>
                  </a:cubicBezTo>
                  <a:lnTo>
                    <a:pt x="4280" y="5998"/>
                  </a:lnTo>
                  <a:cubicBezTo>
                    <a:pt x="4397" y="6005"/>
                    <a:pt x="4505" y="5911"/>
                    <a:pt x="4513" y="5794"/>
                  </a:cubicBezTo>
                  <a:lnTo>
                    <a:pt x="4868" y="487"/>
                  </a:lnTo>
                  <a:cubicBezTo>
                    <a:pt x="4876" y="368"/>
                    <a:pt x="4783" y="262"/>
                    <a:pt x="4664" y="255"/>
                  </a:cubicBezTo>
                  <a:close/>
                  <a:moveTo>
                    <a:pt x="3139" y="6078"/>
                  </a:moveTo>
                  <a:lnTo>
                    <a:pt x="3139" y="5427"/>
                  </a:lnTo>
                  <a:cubicBezTo>
                    <a:pt x="3139" y="5410"/>
                    <a:pt x="3153" y="5396"/>
                    <a:pt x="3171" y="5396"/>
                  </a:cubicBezTo>
                  <a:lnTo>
                    <a:pt x="3819" y="5396"/>
                  </a:lnTo>
                  <a:lnTo>
                    <a:pt x="3139" y="6078"/>
                  </a:lnTo>
                  <a:close/>
                  <a:moveTo>
                    <a:pt x="4326" y="5781"/>
                  </a:moveTo>
                  <a:cubicBezTo>
                    <a:pt x="4323" y="5800"/>
                    <a:pt x="4312" y="5810"/>
                    <a:pt x="4293" y="5810"/>
                  </a:cubicBezTo>
                  <a:lnTo>
                    <a:pt x="3714" y="5772"/>
                  </a:lnTo>
                  <a:lnTo>
                    <a:pt x="4111" y="5377"/>
                  </a:lnTo>
                  <a:cubicBezTo>
                    <a:pt x="4129" y="5359"/>
                    <a:pt x="4139" y="5335"/>
                    <a:pt x="4139" y="5310"/>
                  </a:cubicBezTo>
                  <a:lnTo>
                    <a:pt x="4139" y="862"/>
                  </a:lnTo>
                  <a:cubicBezTo>
                    <a:pt x="4139" y="741"/>
                    <a:pt x="4041" y="643"/>
                    <a:pt x="3920" y="643"/>
                  </a:cubicBezTo>
                  <a:lnTo>
                    <a:pt x="2945" y="643"/>
                  </a:lnTo>
                  <a:cubicBezTo>
                    <a:pt x="2824" y="643"/>
                    <a:pt x="2824" y="831"/>
                    <a:pt x="2945" y="831"/>
                  </a:cubicBezTo>
                  <a:lnTo>
                    <a:pt x="3920" y="831"/>
                  </a:lnTo>
                  <a:cubicBezTo>
                    <a:pt x="3937" y="831"/>
                    <a:pt x="3951" y="845"/>
                    <a:pt x="3951" y="862"/>
                  </a:cubicBezTo>
                  <a:lnTo>
                    <a:pt x="3951" y="5208"/>
                  </a:lnTo>
                  <a:lnTo>
                    <a:pt x="3171" y="5208"/>
                  </a:lnTo>
                  <a:cubicBezTo>
                    <a:pt x="3050" y="5208"/>
                    <a:pt x="2952" y="5306"/>
                    <a:pt x="2952" y="5427"/>
                  </a:cubicBezTo>
                  <a:lnTo>
                    <a:pt x="2952" y="6211"/>
                  </a:lnTo>
                  <a:lnTo>
                    <a:pt x="219" y="6211"/>
                  </a:lnTo>
                  <a:cubicBezTo>
                    <a:pt x="202" y="6211"/>
                    <a:pt x="188" y="6197"/>
                    <a:pt x="188" y="6180"/>
                  </a:cubicBezTo>
                  <a:lnTo>
                    <a:pt x="188" y="862"/>
                  </a:lnTo>
                  <a:cubicBezTo>
                    <a:pt x="188" y="845"/>
                    <a:pt x="202" y="831"/>
                    <a:pt x="219" y="831"/>
                  </a:cubicBezTo>
                  <a:lnTo>
                    <a:pt x="2446" y="831"/>
                  </a:lnTo>
                  <a:cubicBezTo>
                    <a:pt x="2567" y="831"/>
                    <a:pt x="2567" y="643"/>
                    <a:pt x="2446" y="643"/>
                  </a:cubicBezTo>
                  <a:lnTo>
                    <a:pt x="898" y="643"/>
                  </a:lnTo>
                  <a:lnTo>
                    <a:pt x="926" y="224"/>
                  </a:lnTo>
                  <a:cubicBezTo>
                    <a:pt x="929" y="205"/>
                    <a:pt x="940" y="195"/>
                    <a:pt x="959" y="195"/>
                  </a:cubicBezTo>
                  <a:lnTo>
                    <a:pt x="4652" y="442"/>
                  </a:lnTo>
                  <a:cubicBezTo>
                    <a:pt x="4671" y="445"/>
                    <a:pt x="4680" y="456"/>
                    <a:pt x="4681" y="475"/>
                  </a:cubicBezTo>
                  <a:lnTo>
                    <a:pt x="4326" y="57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48"/>
            <p:cNvSpPr>
              <a:spLocks/>
            </p:cNvSpPr>
            <p:nvPr/>
          </p:nvSpPr>
          <p:spPr bwMode="auto">
            <a:xfrm>
              <a:off x="7266" y="-547"/>
              <a:ext cx="145" cy="10"/>
            </a:xfrm>
            <a:custGeom>
              <a:avLst/>
              <a:gdLst>
                <a:gd name="T0" fmla="*/ 2651 w 2745"/>
                <a:gd name="T1" fmla="*/ 0 h 188"/>
                <a:gd name="T2" fmla="*/ 94 w 2745"/>
                <a:gd name="T3" fmla="*/ 0 h 188"/>
                <a:gd name="T4" fmla="*/ 0 w 2745"/>
                <a:gd name="T5" fmla="*/ 94 h 188"/>
                <a:gd name="T6" fmla="*/ 94 w 2745"/>
                <a:gd name="T7" fmla="*/ 188 h 188"/>
                <a:gd name="T8" fmla="*/ 2651 w 2745"/>
                <a:gd name="T9" fmla="*/ 188 h 188"/>
                <a:gd name="T10" fmla="*/ 2745 w 2745"/>
                <a:gd name="T11" fmla="*/ 94 h 188"/>
                <a:gd name="T12" fmla="*/ 2651 w 2745"/>
                <a:gd name="T13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45" h="188">
                  <a:moveTo>
                    <a:pt x="2651" y="0"/>
                  </a:moveTo>
                  <a:lnTo>
                    <a:pt x="94" y="0"/>
                  </a:ln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lnTo>
                    <a:pt x="2651" y="188"/>
                  </a:lnTo>
                  <a:cubicBezTo>
                    <a:pt x="2703" y="188"/>
                    <a:pt x="2745" y="146"/>
                    <a:pt x="2745" y="94"/>
                  </a:cubicBezTo>
                  <a:cubicBezTo>
                    <a:pt x="2745" y="42"/>
                    <a:pt x="2703" y="0"/>
                    <a:pt x="26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49"/>
            <p:cNvSpPr>
              <a:spLocks/>
            </p:cNvSpPr>
            <p:nvPr/>
          </p:nvSpPr>
          <p:spPr bwMode="auto">
            <a:xfrm>
              <a:off x="7266" y="-513"/>
              <a:ext cx="145" cy="10"/>
            </a:xfrm>
            <a:custGeom>
              <a:avLst/>
              <a:gdLst>
                <a:gd name="T0" fmla="*/ 2651 w 2745"/>
                <a:gd name="T1" fmla="*/ 0 h 187"/>
                <a:gd name="T2" fmla="*/ 94 w 2745"/>
                <a:gd name="T3" fmla="*/ 0 h 187"/>
                <a:gd name="T4" fmla="*/ 0 w 2745"/>
                <a:gd name="T5" fmla="*/ 93 h 187"/>
                <a:gd name="T6" fmla="*/ 94 w 2745"/>
                <a:gd name="T7" fmla="*/ 187 h 187"/>
                <a:gd name="T8" fmla="*/ 2651 w 2745"/>
                <a:gd name="T9" fmla="*/ 187 h 187"/>
                <a:gd name="T10" fmla="*/ 2745 w 2745"/>
                <a:gd name="T11" fmla="*/ 93 h 187"/>
                <a:gd name="T12" fmla="*/ 2651 w 2745"/>
                <a:gd name="T13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45" h="187">
                  <a:moveTo>
                    <a:pt x="2651" y="0"/>
                  </a:moveTo>
                  <a:lnTo>
                    <a:pt x="94" y="0"/>
                  </a:lnTo>
                  <a:cubicBezTo>
                    <a:pt x="42" y="0"/>
                    <a:pt x="0" y="42"/>
                    <a:pt x="0" y="93"/>
                  </a:cubicBezTo>
                  <a:cubicBezTo>
                    <a:pt x="0" y="145"/>
                    <a:pt x="42" y="187"/>
                    <a:pt x="94" y="187"/>
                  </a:cubicBezTo>
                  <a:lnTo>
                    <a:pt x="2651" y="187"/>
                  </a:lnTo>
                  <a:cubicBezTo>
                    <a:pt x="2703" y="187"/>
                    <a:pt x="2745" y="145"/>
                    <a:pt x="2745" y="93"/>
                  </a:cubicBezTo>
                  <a:cubicBezTo>
                    <a:pt x="2745" y="42"/>
                    <a:pt x="2703" y="0"/>
                    <a:pt x="26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0"/>
            <p:cNvSpPr>
              <a:spLocks/>
            </p:cNvSpPr>
            <p:nvPr/>
          </p:nvSpPr>
          <p:spPr bwMode="auto">
            <a:xfrm>
              <a:off x="7266" y="-582"/>
              <a:ext cx="145" cy="10"/>
            </a:xfrm>
            <a:custGeom>
              <a:avLst/>
              <a:gdLst>
                <a:gd name="T0" fmla="*/ 0 w 2745"/>
                <a:gd name="T1" fmla="*/ 93 h 187"/>
                <a:gd name="T2" fmla="*/ 94 w 2745"/>
                <a:gd name="T3" fmla="*/ 187 h 187"/>
                <a:gd name="T4" fmla="*/ 2651 w 2745"/>
                <a:gd name="T5" fmla="*/ 187 h 187"/>
                <a:gd name="T6" fmla="*/ 2745 w 2745"/>
                <a:gd name="T7" fmla="*/ 93 h 187"/>
                <a:gd name="T8" fmla="*/ 2651 w 2745"/>
                <a:gd name="T9" fmla="*/ 0 h 187"/>
                <a:gd name="T10" fmla="*/ 94 w 2745"/>
                <a:gd name="T11" fmla="*/ 0 h 187"/>
                <a:gd name="T12" fmla="*/ 0 w 2745"/>
                <a:gd name="T13" fmla="*/ 9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45" h="187">
                  <a:moveTo>
                    <a:pt x="0" y="93"/>
                  </a:moveTo>
                  <a:cubicBezTo>
                    <a:pt x="0" y="145"/>
                    <a:pt x="42" y="187"/>
                    <a:pt x="94" y="187"/>
                  </a:cubicBezTo>
                  <a:lnTo>
                    <a:pt x="2651" y="187"/>
                  </a:lnTo>
                  <a:cubicBezTo>
                    <a:pt x="2703" y="187"/>
                    <a:pt x="2745" y="145"/>
                    <a:pt x="2745" y="93"/>
                  </a:cubicBezTo>
                  <a:cubicBezTo>
                    <a:pt x="2745" y="42"/>
                    <a:pt x="2703" y="0"/>
                    <a:pt x="2651" y="0"/>
                  </a:cubicBezTo>
                  <a:lnTo>
                    <a:pt x="94" y="0"/>
                  </a:lnTo>
                  <a:cubicBezTo>
                    <a:pt x="42" y="0"/>
                    <a:pt x="0" y="42"/>
                    <a:pt x="0" y="9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51"/>
            <p:cNvSpPr>
              <a:spLocks/>
            </p:cNvSpPr>
            <p:nvPr/>
          </p:nvSpPr>
          <p:spPr bwMode="auto">
            <a:xfrm>
              <a:off x="7290" y="-616"/>
              <a:ext cx="97" cy="10"/>
            </a:xfrm>
            <a:custGeom>
              <a:avLst/>
              <a:gdLst>
                <a:gd name="T0" fmla="*/ 0 w 1843"/>
                <a:gd name="T1" fmla="*/ 94 h 187"/>
                <a:gd name="T2" fmla="*/ 93 w 1843"/>
                <a:gd name="T3" fmla="*/ 187 h 187"/>
                <a:gd name="T4" fmla="*/ 1749 w 1843"/>
                <a:gd name="T5" fmla="*/ 187 h 187"/>
                <a:gd name="T6" fmla="*/ 1843 w 1843"/>
                <a:gd name="T7" fmla="*/ 94 h 187"/>
                <a:gd name="T8" fmla="*/ 1749 w 1843"/>
                <a:gd name="T9" fmla="*/ 0 h 187"/>
                <a:gd name="T10" fmla="*/ 93 w 1843"/>
                <a:gd name="T11" fmla="*/ 0 h 187"/>
                <a:gd name="T12" fmla="*/ 0 w 1843"/>
                <a:gd name="T13" fmla="*/ 94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3" h="187">
                  <a:moveTo>
                    <a:pt x="0" y="94"/>
                  </a:moveTo>
                  <a:cubicBezTo>
                    <a:pt x="0" y="145"/>
                    <a:pt x="42" y="187"/>
                    <a:pt x="93" y="187"/>
                  </a:cubicBezTo>
                  <a:lnTo>
                    <a:pt x="1749" y="187"/>
                  </a:lnTo>
                  <a:cubicBezTo>
                    <a:pt x="1801" y="187"/>
                    <a:pt x="1843" y="145"/>
                    <a:pt x="1843" y="94"/>
                  </a:cubicBezTo>
                  <a:cubicBezTo>
                    <a:pt x="1843" y="42"/>
                    <a:pt x="1801" y="0"/>
                    <a:pt x="1749" y="0"/>
                  </a:cubicBezTo>
                  <a:lnTo>
                    <a:pt x="93" y="0"/>
                  </a:lnTo>
                  <a:cubicBezTo>
                    <a:pt x="42" y="0"/>
                    <a:pt x="0" y="42"/>
                    <a:pt x="0" y="9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52"/>
            <p:cNvSpPr>
              <a:spLocks/>
            </p:cNvSpPr>
            <p:nvPr/>
          </p:nvSpPr>
          <p:spPr bwMode="auto">
            <a:xfrm>
              <a:off x="7262" y="-450"/>
              <a:ext cx="102" cy="57"/>
            </a:xfrm>
            <a:custGeom>
              <a:avLst/>
              <a:gdLst>
                <a:gd name="T0" fmla="*/ 1805 w 1926"/>
                <a:gd name="T1" fmla="*/ 689 h 1082"/>
                <a:gd name="T2" fmla="*/ 1300 w 1926"/>
                <a:gd name="T3" fmla="*/ 690 h 1082"/>
                <a:gd name="T4" fmla="*/ 1130 w 1926"/>
                <a:gd name="T5" fmla="*/ 690 h 1082"/>
                <a:gd name="T6" fmla="*/ 935 w 1926"/>
                <a:gd name="T7" fmla="*/ 557 h 1082"/>
                <a:gd name="T8" fmla="*/ 754 w 1926"/>
                <a:gd name="T9" fmla="*/ 557 h 1082"/>
                <a:gd name="T10" fmla="*/ 522 w 1926"/>
                <a:gd name="T11" fmla="*/ 543 h 1082"/>
                <a:gd name="T12" fmla="*/ 420 w 1926"/>
                <a:gd name="T13" fmla="*/ 107 h 1082"/>
                <a:gd name="T14" fmla="*/ 236 w 1926"/>
                <a:gd name="T15" fmla="*/ 132 h 1082"/>
                <a:gd name="T16" fmla="*/ 186 w 1926"/>
                <a:gd name="T17" fmla="*/ 529 h 1082"/>
                <a:gd name="T18" fmla="*/ 45 w 1926"/>
                <a:gd name="T19" fmla="*/ 921 h 1082"/>
                <a:gd name="T20" fmla="*/ 226 w 1926"/>
                <a:gd name="T21" fmla="*/ 971 h 1082"/>
                <a:gd name="T22" fmla="*/ 354 w 1926"/>
                <a:gd name="T23" fmla="*/ 625 h 1082"/>
                <a:gd name="T24" fmla="*/ 740 w 1926"/>
                <a:gd name="T25" fmla="*/ 851 h 1082"/>
                <a:gd name="T26" fmla="*/ 837 w 1926"/>
                <a:gd name="T27" fmla="*/ 773 h 1082"/>
                <a:gd name="T28" fmla="*/ 1219 w 1926"/>
                <a:gd name="T29" fmla="*/ 878 h 1082"/>
                <a:gd name="T30" fmla="*/ 1805 w 1926"/>
                <a:gd name="T31" fmla="*/ 876 h 1082"/>
                <a:gd name="T32" fmla="*/ 1805 w 1926"/>
                <a:gd name="T33" fmla="*/ 689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26" h="1082">
                  <a:moveTo>
                    <a:pt x="1805" y="689"/>
                  </a:moveTo>
                  <a:cubicBezTo>
                    <a:pt x="1637" y="689"/>
                    <a:pt x="1468" y="690"/>
                    <a:pt x="1300" y="690"/>
                  </a:cubicBezTo>
                  <a:cubicBezTo>
                    <a:pt x="1243" y="690"/>
                    <a:pt x="1186" y="690"/>
                    <a:pt x="1130" y="690"/>
                  </a:cubicBezTo>
                  <a:cubicBezTo>
                    <a:pt x="1027" y="690"/>
                    <a:pt x="958" y="670"/>
                    <a:pt x="935" y="557"/>
                  </a:cubicBezTo>
                  <a:cubicBezTo>
                    <a:pt x="915" y="461"/>
                    <a:pt x="780" y="474"/>
                    <a:pt x="754" y="557"/>
                  </a:cubicBezTo>
                  <a:cubicBezTo>
                    <a:pt x="689" y="761"/>
                    <a:pt x="582" y="681"/>
                    <a:pt x="522" y="543"/>
                  </a:cubicBezTo>
                  <a:cubicBezTo>
                    <a:pt x="462" y="406"/>
                    <a:pt x="446" y="253"/>
                    <a:pt x="420" y="107"/>
                  </a:cubicBezTo>
                  <a:cubicBezTo>
                    <a:pt x="401" y="0"/>
                    <a:pt x="239" y="30"/>
                    <a:pt x="236" y="132"/>
                  </a:cubicBezTo>
                  <a:cubicBezTo>
                    <a:pt x="232" y="267"/>
                    <a:pt x="220" y="399"/>
                    <a:pt x="186" y="529"/>
                  </a:cubicBezTo>
                  <a:cubicBezTo>
                    <a:pt x="150" y="664"/>
                    <a:pt x="98" y="793"/>
                    <a:pt x="45" y="921"/>
                  </a:cubicBezTo>
                  <a:cubicBezTo>
                    <a:pt x="0" y="1033"/>
                    <a:pt x="181" y="1082"/>
                    <a:pt x="226" y="971"/>
                  </a:cubicBezTo>
                  <a:cubicBezTo>
                    <a:pt x="273" y="857"/>
                    <a:pt x="319" y="743"/>
                    <a:pt x="354" y="625"/>
                  </a:cubicBezTo>
                  <a:cubicBezTo>
                    <a:pt x="418" y="779"/>
                    <a:pt x="551" y="954"/>
                    <a:pt x="740" y="851"/>
                  </a:cubicBezTo>
                  <a:cubicBezTo>
                    <a:pt x="775" y="832"/>
                    <a:pt x="808" y="805"/>
                    <a:pt x="837" y="773"/>
                  </a:cubicBezTo>
                  <a:cubicBezTo>
                    <a:pt x="936" y="887"/>
                    <a:pt x="1082" y="878"/>
                    <a:pt x="1219" y="878"/>
                  </a:cubicBezTo>
                  <a:cubicBezTo>
                    <a:pt x="1415" y="877"/>
                    <a:pt x="1610" y="877"/>
                    <a:pt x="1805" y="876"/>
                  </a:cubicBezTo>
                  <a:cubicBezTo>
                    <a:pt x="1926" y="876"/>
                    <a:pt x="1926" y="689"/>
                    <a:pt x="1805" y="68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53"/>
            <p:cNvSpPr>
              <a:spLocks noEditPoints="1"/>
            </p:cNvSpPr>
            <p:nvPr/>
          </p:nvSpPr>
          <p:spPr bwMode="auto">
            <a:xfrm>
              <a:off x="7489" y="-594"/>
              <a:ext cx="79" cy="229"/>
            </a:xfrm>
            <a:custGeom>
              <a:avLst/>
              <a:gdLst>
                <a:gd name="T0" fmla="*/ 1408 w 1484"/>
                <a:gd name="T1" fmla="*/ 996 h 4325"/>
                <a:gd name="T2" fmla="*/ 1224 w 1484"/>
                <a:gd name="T3" fmla="*/ 921 h 4325"/>
                <a:gd name="T4" fmla="*/ 1154 w 1484"/>
                <a:gd name="T5" fmla="*/ 922 h 4325"/>
                <a:gd name="T6" fmla="*/ 1154 w 1484"/>
                <a:gd name="T7" fmla="*/ 788 h 4325"/>
                <a:gd name="T8" fmla="*/ 1036 w 1484"/>
                <a:gd name="T9" fmla="*/ 577 h 4325"/>
                <a:gd name="T10" fmla="*/ 1036 w 1484"/>
                <a:gd name="T11" fmla="*/ 388 h 4325"/>
                <a:gd name="T12" fmla="*/ 431 w 1484"/>
                <a:gd name="T13" fmla="*/ 390 h 4325"/>
                <a:gd name="T14" fmla="*/ 431 w 1484"/>
                <a:gd name="T15" fmla="*/ 579 h 4325"/>
                <a:gd name="T16" fmla="*/ 313 w 1484"/>
                <a:gd name="T17" fmla="*/ 789 h 4325"/>
                <a:gd name="T18" fmla="*/ 313 w 1484"/>
                <a:gd name="T19" fmla="*/ 927 h 4325"/>
                <a:gd name="T20" fmla="*/ 313 w 1484"/>
                <a:gd name="T21" fmla="*/ 1442 h 4325"/>
                <a:gd name="T22" fmla="*/ 313 w 1484"/>
                <a:gd name="T23" fmla="*/ 2701 h 4325"/>
                <a:gd name="T24" fmla="*/ 500 w 1484"/>
                <a:gd name="T25" fmla="*/ 2702 h 4325"/>
                <a:gd name="T26" fmla="*/ 501 w 1484"/>
                <a:gd name="T27" fmla="*/ 1442 h 4325"/>
                <a:gd name="T28" fmla="*/ 966 w 1484"/>
                <a:gd name="T29" fmla="*/ 1440 h 4325"/>
                <a:gd name="T30" fmla="*/ 965 w 1484"/>
                <a:gd name="T31" fmla="*/ 3449 h 4325"/>
                <a:gd name="T32" fmla="*/ 500 w 1484"/>
                <a:gd name="T33" fmla="*/ 3446 h 4325"/>
                <a:gd name="T34" fmla="*/ 500 w 1484"/>
                <a:gd name="T35" fmla="*/ 3275 h 4325"/>
                <a:gd name="T36" fmla="*/ 313 w 1484"/>
                <a:gd name="T37" fmla="*/ 3264 h 4325"/>
                <a:gd name="T38" fmla="*/ 313 w 1484"/>
                <a:gd name="T39" fmla="*/ 3424 h 4325"/>
                <a:gd name="T40" fmla="*/ 438 w 1484"/>
                <a:gd name="T41" fmla="*/ 3760 h 4325"/>
                <a:gd name="T42" fmla="*/ 667 w 1484"/>
                <a:gd name="T43" fmla="*/ 4285 h 4325"/>
                <a:gd name="T44" fmla="*/ 802 w 1484"/>
                <a:gd name="T45" fmla="*/ 4283 h 4325"/>
                <a:gd name="T46" fmla="*/ 1029 w 1484"/>
                <a:gd name="T47" fmla="*/ 3752 h 4325"/>
                <a:gd name="T48" fmla="*/ 1153 w 1484"/>
                <a:gd name="T49" fmla="*/ 3416 h 4325"/>
                <a:gd name="T50" fmla="*/ 1153 w 1484"/>
                <a:gd name="T51" fmla="*/ 2562 h 4325"/>
                <a:gd name="T52" fmla="*/ 1484 w 1484"/>
                <a:gd name="T53" fmla="*/ 2312 h 4325"/>
                <a:gd name="T54" fmla="*/ 1484 w 1484"/>
                <a:gd name="T55" fmla="*/ 1179 h 4325"/>
                <a:gd name="T56" fmla="*/ 1408 w 1484"/>
                <a:gd name="T57" fmla="*/ 996 h 4325"/>
                <a:gd name="T58" fmla="*/ 500 w 1484"/>
                <a:gd name="T59" fmla="*/ 925 h 4325"/>
                <a:gd name="T60" fmla="*/ 500 w 1484"/>
                <a:gd name="T61" fmla="*/ 789 h 4325"/>
                <a:gd name="T62" fmla="*/ 545 w 1484"/>
                <a:gd name="T63" fmla="*/ 731 h 4325"/>
                <a:gd name="T64" fmla="*/ 920 w 1484"/>
                <a:gd name="T65" fmla="*/ 730 h 4325"/>
                <a:gd name="T66" fmla="*/ 948 w 1484"/>
                <a:gd name="T67" fmla="*/ 745 h 4325"/>
                <a:gd name="T68" fmla="*/ 966 w 1484"/>
                <a:gd name="T69" fmla="*/ 788 h 4325"/>
                <a:gd name="T70" fmla="*/ 966 w 1484"/>
                <a:gd name="T71" fmla="*/ 923 h 4325"/>
                <a:gd name="T72" fmla="*/ 500 w 1484"/>
                <a:gd name="T73" fmla="*/ 925 h 4325"/>
                <a:gd name="T74" fmla="*/ 734 w 1484"/>
                <a:gd name="T75" fmla="*/ 275 h 4325"/>
                <a:gd name="T76" fmla="*/ 848 w 1484"/>
                <a:gd name="T77" fmla="*/ 388 h 4325"/>
                <a:gd name="T78" fmla="*/ 848 w 1484"/>
                <a:gd name="T79" fmla="*/ 540 h 4325"/>
                <a:gd name="T80" fmla="*/ 619 w 1484"/>
                <a:gd name="T81" fmla="*/ 541 h 4325"/>
                <a:gd name="T82" fmla="*/ 619 w 1484"/>
                <a:gd name="T83" fmla="*/ 390 h 4325"/>
                <a:gd name="T84" fmla="*/ 734 w 1484"/>
                <a:gd name="T85" fmla="*/ 275 h 4325"/>
                <a:gd name="T86" fmla="*/ 734 w 1484"/>
                <a:gd name="T87" fmla="*/ 4074 h 4325"/>
                <a:gd name="T88" fmla="*/ 641 w 1484"/>
                <a:gd name="T89" fmla="*/ 3869 h 4325"/>
                <a:gd name="T90" fmla="*/ 729 w 1484"/>
                <a:gd name="T91" fmla="*/ 3878 h 4325"/>
                <a:gd name="T92" fmla="*/ 827 w 1484"/>
                <a:gd name="T93" fmla="*/ 3866 h 4325"/>
                <a:gd name="T94" fmla="*/ 734 w 1484"/>
                <a:gd name="T95" fmla="*/ 4074 h 4325"/>
                <a:gd name="T96" fmla="*/ 1297 w 1484"/>
                <a:gd name="T97" fmla="*/ 2312 h 4325"/>
                <a:gd name="T98" fmla="*/ 1153 w 1484"/>
                <a:gd name="T99" fmla="*/ 2314 h 4325"/>
                <a:gd name="T100" fmla="*/ 1154 w 1484"/>
                <a:gd name="T101" fmla="*/ 1346 h 4325"/>
                <a:gd name="T102" fmla="*/ 1059 w 1484"/>
                <a:gd name="T103" fmla="*/ 1252 h 4325"/>
                <a:gd name="T104" fmla="*/ 329 w 1484"/>
                <a:gd name="T105" fmla="*/ 1255 h 4325"/>
                <a:gd name="T106" fmla="*/ 330 w 1484"/>
                <a:gd name="T107" fmla="*/ 1113 h 4325"/>
                <a:gd name="T108" fmla="*/ 1225 w 1484"/>
                <a:gd name="T109" fmla="*/ 1109 h 4325"/>
                <a:gd name="T110" fmla="*/ 1296 w 1484"/>
                <a:gd name="T111" fmla="*/ 1179 h 4325"/>
                <a:gd name="T112" fmla="*/ 1296 w 1484"/>
                <a:gd name="T113" fmla="*/ 2312 h 4325"/>
                <a:gd name="T114" fmla="*/ 1297 w 1484"/>
                <a:gd name="T115" fmla="*/ 2312 h 4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84" h="4325">
                  <a:moveTo>
                    <a:pt x="1408" y="996"/>
                  </a:moveTo>
                  <a:cubicBezTo>
                    <a:pt x="1359" y="948"/>
                    <a:pt x="1292" y="923"/>
                    <a:pt x="1224" y="921"/>
                  </a:cubicBezTo>
                  <a:lnTo>
                    <a:pt x="1154" y="922"/>
                  </a:lnTo>
                  <a:lnTo>
                    <a:pt x="1154" y="788"/>
                  </a:lnTo>
                  <a:cubicBezTo>
                    <a:pt x="1154" y="706"/>
                    <a:pt x="1105" y="620"/>
                    <a:pt x="1036" y="577"/>
                  </a:cubicBezTo>
                  <a:lnTo>
                    <a:pt x="1036" y="388"/>
                  </a:lnTo>
                  <a:cubicBezTo>
                    <a:pt x="1036" y="0"/>
                    <a:pt x="431" y="1"/>
                    <a:pt x="431" y="390"/>
                  </a:cubicBezTo>
                  <a:lnTo>
                    <a:pt x="431" y="579"/>
                  </a:lnTo>
                  <a:cubicBezTo>
                    <a:pt x="360" y="622"/>
                    <a:pt x="313" y="701"/>
                    <a:pt x="313" y="789"/>
                  </a:cubicBezTo>
                  <a:lnTo>
                    <a:pt x="313" y="927"/>
                  </a:lnTo>
                  <a:cubicBezTo>
                    <a:pt x="1" y="948"/>
                    <a:pt x="0" y="1423"/>
                    <a:pt x="313" y="1442"/>
                  </a:cubicBezTo>
                  <a:cubicBezTo>
                    <a:pt x="315" y="1862"/>
                    <a:pt x="315" y="2275"/>
                    <a:pt x="313" y="2701"/>
                  </a:cubicBezTo>
                  <a:cubicBezTo>
                    <a:pt x="312" y="2819"/>
                    <a:pt x="500" y="2826"/>
                    <a:pt x="500" y="2702"/>
                  </a:cubicBezTo>
                  <a:cubicBezTo>
                    <a:pt x="503" y="2275"/>
                    <a:pt x="503" y="1862"/>
                    <a:pt x="501" y="1442"/>
                  </a:cubicBezTo>
                  <a:lnTo>
                    <a:pt x="966" y="1440"/>
                  </a:lnTo>
                  <a:cubicBezTo>
                    <a:pt x="966" y="1440"/>
                    <a:pt x="965" y="2825"/>
                    <a:pt x="965" y="3449"/>
                  </a:cubicBezTo>
                  <a:cubicBezTo>
                    <a:pt x="965" y="3754"/>
                    <a:pt x="500" y="3756"/>
                    <a:pt x="500" y="3446"/>
                  </a:cubicBezTo>
                  <a:lnTo>
                    <a:pt x="500" y="3275"/>
                  </a:lnTo>
                  <a:cubicBezTo>
                    <a:pt x="508" y="3154"/>
                    <a:pt x="320" y="3143"/>
                    <a:pt x="313" y="3264"/>
                  </a:cubicBezTo>
                  <a:lnTo>
                    <a:pt x="313" y="3424"/>
                  </a:lnTo>
                  <a:cubicBezTo>
                    <a:pt x="313" y="3562"/>
                    <a:pt x="356" y="3678"/>
                    <a:pt x="438" y="3760"/>
                  </a:cubicBezTo>
                  <a:cubicBezTo>
                    <a:pt x="445" y="3957"/>
                    <a:pt x="528" y="4146"/>
                    <a:pt x="667" y="4285"/>
                  </a:cubicBezTo>
                  <a:cubicBezTo>
                    <a:pt x="708" y="4325"/>
                    <a:pt x="763" y="4312"/>
                    <a:pt x="802" y="4283"/>
                  </a:cubicBezTo>
                  <a:cubicBezTo>
                    <a:pt x="944" y="4140"/>
                    <a:pt x="1024" y="3953"/>
                    <a:pt x="1029" y="3752"/>
                  </a:cubicBezTo>
                  <a:cubicBezTo>
                    <a:pt x="1091" y="3691"/>
                    <a:pt x="1153" y="3629"/>
                    <a:pt x="1153" y="3416"/>
                  </a:cubicBezTo>
                  <a:lnTo>
                    <a:pt x="1153" y="2562"/>
                  </a:lnTo>
                  <a:cubicBezTo>
                    <a:pt x="1315" y="2608"/>
                    <a:pt x="1484" y="2482"/>
                    <a:pt x="1484" y="2312"/>
                  </a:cubicBezTo>
                  <a:lnTo>
                    <a:pt x="1484" y="1179"/>
                  </a:lnTo>
                  <a:cubicBezTo>
                    <a:pt x="1484" y="1110"/>
                    <a:pt x="1457" y="1045"/>
                    <a:pt x="1408" y="996"/>
                  </a:cubicBezTo>
                  <a:close/>
                  <a:moveTo>
                    <a:pt x="500" y="925"/>
                  </a:moveTo>
                  <a:lnTo>
                    <a:pt x="500" y="789"/>
                  </a:lnTo>
                  <a:cubicBezTo>
                    <a:pt x="500" y="762"/>
                    <a:pt x="519" y="738"/>
                    <a:pt x="545" y="731"/>
                  </a:cubicBezTo>
                  <a:lnTo>
                    <a:pt x="920" y="730"/>
                  </a:lnTo>
                  <a:cubicBezTo>
                    <a:pt x="931" y="732"/>
                    <a:pt x="941" y="737"/>
                    <a:pt x="948" y="745"/>
                  </a:cubicBezTo>
                  <a:cubicBezTo>
                    <a:pt x="960" y="756"/>
                    <a:pt x="966" y="772"/>
                    <a:pt x="966" y="788"/>
                  </a:cubicBezTo>
                  <a:lnTo>
                    <a:pt x="966" y="923"/>
                  </a:lnTo>
                  <a:lnTo>
                    <a:pt x="500" y="925"/>
                  </a:lnTo>
                  <a:close/>
                  <a:moveTo>
                    <a:pt x="734" y="275"/>
                  </a:moveTo>
                  <a:cubicBezTo>
                    <a:pt x="791" y="275"/>
                    <a:pt x="848" y="331"/>
                    <a:pt x="848" y="388"/>
                  </a:cubicBezTo>
                  <a:lnTo>
                    <a:pt x="848" y="540"/>
                  </a:lnTo>
                  <a:lnTo>
                    <a:pt x="619" y="541"/>
                  </a:lnTo>
                  <a:lnTo>
                    <a:pt x="619" y="390"/>
                  </a:lnTo>
                  <a:cubicBezTo>
                    <a:pt x="619" y="327"/>
                    <a:pt x="670" y="275"/>
                    <a:pt x="734" y="275"/>
                  </a:cubicBezTo>
                  <a:close/>
                  <a:moveTo>
                    <a:pt x="734" y="4074"/>
                  </a:moveTo>
                  <a:cubicBezTo>
                    <a:pt x="690" y="4012"/>
                    <a:pt x="659" y="3942"/>
                    <a:pt x="641" y="3869"/>
                  </a:cubicBezTo>
                  <a:cubicBezTo>
                    <a:pt x="670" y="3875"/>
                    <a:pt x="699" y="3878"/>
                    <a:pt x="729" y="3878"/>
                  </a:cubicBezTo>
                  <a:cubicBezTo>
                    <a:pt x="762" y="3878"/>
                    <a:pt x="794" y="3874"/>
                    <a:pt x="827" y="3866"/>
                  </a:cubicBezTo>
                  <a:cubicBezTo>
                    <a:pt x="810" y="3941"/>
                    <a:pt x="778" y="4011"/>
                    <a:pt x="734" y="4074"/>
                  </a:cubicBezTo>
                  <a:close/>
                  <a:moveTo>
                    <a:pt x="1297" y="2312"/>
                  </a:moveTo>
                  <a:cubicBezTo>
                    <a:pt x="1297" y="2401"/>
                    <a:pt x="1153" y="2408"/>
                    <a:pt x="1153" y="2314"/>
                  </a:cubicBezTo>
                  <a:cubicBezTo>
                    <a:pt x="1153" y="2314"/>
                    <a:pt x="1154" y="1427"/>
                    <a:pt x="1154" y="1346"/>
                  </a:cubicBezTo>
                  <a:cubicBezTo>
                    <a:pt x="1154" y="1293"/>
                    <a:pt x="1110" y="1252"/>
                    <a:pt x="1059" y="1252"/>
                  </a:cubicBezTo>
                  <a:lnTo>
                    <a:pt x="329" y="1255"/>
                  </a:lnTo>
                  <a:cubicBezTo>
                    <a:pt x="239" y="1255"/>
                    <a:pt x="241" y="1114"/>
                    <a:pt x="330" y="1113"/>
                  </a:cubicBezTo>
                  <a:lnTo>
                    <a:pt x="1225" y="1109"/>
                  </a:lnTo>
                  <a:cubicBezTo>
                    <a:pt x="1269" y="1112"/>
                    <a:pt x="1292" y="1136"/>
                    <a:pt x="1296" y="1179"/>
                  </a:cubicBezTo>
                  <a:lnTo>
                    <a:pt x="1296" y="2312"/>
                  </a:lnTo>
                  <a:lnTo>
                    <a:pt x="1297" y="23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" name="Group 56"/>
          <p:cNvGrpSpPr>
            <a:grpSpLocks noChangeAspect="1"/>
          </p:cNvGrpSpPr>
          <p:nvPr/>
        </p:nvGrpSpPr>
        <p:grpSpPr bwMode="auto">
          <a:xfrm>
            <a:off x="7470169" y="1441731"/>
            <a:ext cx="397208" cy="396000"/>
            <a:chOff x="6173" y="-732"/>
            <a:chExt cx="329" cy="328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45" name="Freeform 57"/>
            <p:cNvSpPr>
              <a:spLocks noEditPoints="1"/>
            </p:cNvSpPr>
            <p:nvPr/>
          </p:nvSpPr>
          <p:spPr bwMode="auto">
            <a:xfrm>
              <a:off x="6210" y="-689"/>
              <a:ext cx="255" cy="148"/>
            </a:xfrm>
            <a:custGeom>
              <a:avLst/>
              <a:gdLst>
                <a:gd name="T0" fmla="*/ 400 w 4800"/>
                <a:gd name="T1" fmla="*/ 1100 h 2800"/>
                <a:gd name="T2" fmla="*/ 476 w 4800"/>
                <a:gd name="T3" fmla="*/ 1700 h 2800"/>
                <a:gd name="T4" fmla="*/ 0 w 4800"/>
                <a:gd name="T5" fmla="*/ 2162 h 2800"/>
                <a:gd name="T6" fmla="*/ 100 w 4800"/>
                <a:gd name="T7" fmla="*/ 2800 h 2800"/>
                <a:gd name="T8" fmla="*/ 2000 w 4800"/>
                <a:gd name="T9" fmla="*/ 2700 h 2800"/>
                <a:gd name="T10" fmla="*/ 2800 w 4800"/>
                <a:gd name="T11" fmla="*/ 2400 h 2800"/>
                <a:gd name="T12" fmla="*/ 2900 w 4800"/>
                <a:gd name="T13" fmla="*/ 2800 h 2800"/>
                <a:gd name="T14" fmla="*/ 4800 w 4800"/>
                <a:gd name="T15" fmla="*/ 2700 h 2800"/>
                <a:gd name="T16" fmla="*/ 4338 w 4800"/>
                <a:gd name="T17" fmla="*/ 1700 h 2800"/>
                <a:gd name="T18" fmla="*/ 4123 w 4800"/>
                <a:gd name="T19" fmla="*/ 1605 h 2800"/>
                <a:gd name="T20" fmla="*/ 4400 w 4800"/>
                <a:gd name="T21" fmla="*/ 900 h 2800"/>
                <a:gd name="T22" fmla="*/ 3200 w 4800"/>
                <a:gd name="T23" fmla="*/ 900 h 2800"/>
                <a:gd name="T24" fmla="*/ 3477 w 4800"/>
                <a:gd name="T25" fmla="*/ 1605 h 2800"/>
                <a:gd name="T26" fmla="*/ 2938 w 4800"/>
                <a:gd name="T27" fmla="*/ 1400 h 2800"/>
                <a:gd name="T28" fmla="*/ 2723 w 4800"/>
                <a:gd name="T29" fmla="*/ 1305 h 2800"/>
                <a:gd name="T30" fmla="*/ 3000 w 4800"/>
                <a:gd name="T31" fmla="*/ 600 h 2800"/>
                <a:gd name="T32" fmla="*/ 1800 w 4800"/>
                <a:gd name="T33" fmla="*/ 600 h 2800"/>
                <a:gd name="T34" fmla="*/ 2077 w 4800"/>
                <a:gd name="T35" fmla="*/ 1305 h 2800"/>
                <a:gd name="T36" fmla="*/ 1862 w 4800"/>
                <a:gd name="T37" fmla="*/ 1400 h 2800"/>
                <a:gd name="T38" fmla="*/ 1323 w 4800"/>
                <a:gd name="T39" fmla="*/ 1605 h 2800"/>
                <a:gd name="T40" fmla="*/ 1600 w 4800"/>
                <a:gd name="T41" fmla="*/ 900 h 2800"/>
                <a:gd name="T42" fmla="*/ 400 w 4800"/>
                <a:gd name="T43" fmla="*/ 900 h 2800"/>
                <a:gd name="T44" fmla="*/ 200 w 4800"/>
                <a:gd name="T45" fmla="*/ 2600 h 2800"/>
                <a:gd name="T46" fmla="*/ 462 w 4800"/>
                <a:gd name="T47" fmla="*/ 1900 h 2800"/>
                <a:gd name="T48" fmla="*/ 552 w 4800"/>
                <a:gd name="T49" fmla="*/ 1893 h 2800"/>
                <a:gd name="T50" fmla="*/ 1000 w 4800"/>
                <a:gd name="T51" fmla="*/ 2100 h 2800"/>
                <a:gd name="T52" fmla="*/ 1400 w 4800"/>
                <a:gd name="T53" fmla="*/ 2300 h 2800"/>
                <a:gd name="T54" fmla="*/ 1800 w 4800"/>
                <a:gd name="T55" fmla="*/ 2400 h 2800"/>
                <a:gd name="T56" fmla="*/ 4338 w 4800"/>
                <a:gd name="T57" fmla="*/ 1900 h 2800"/>
                <a:gd name="T58" fmla="*/ 4600 w 4800"/>
                <a:gd name="T59" fmla="*/ 2600 h 2800"/>
                <a:gd name="T60" fmla="*/ 3000 w 4800"/>
                <a:gd name="T61" fmla="*/ 2400 h 2800"/>
                <a:gd name="T62" fmla="*/ 3400 w 4800"/>
                <a:gd name="T63" fmla="*/ 2300 h 2800"/>
                <a:gd name="T64" fmla="*/ 3800 w 4800"/>
                <a:gd name="T65" fmla="*/ 2100 h 2800"/>
                <a:gd name="T66" fmla="*/ 4248 w 4800"/>
                <a:gd name="T67" fmla="*/ 1893 h 2800"/>
                <a:gd name="T68" fmla="*/ 4338 w 4800"/>
                <a:gd name="T69" fmla="*/ 1900 h 2800"/>
                <a:gd name="T70" fmla="*/ 3800 w 4800"/>
                <a:gd name="T71" fmla="*/ 500 h 2800"/>
                <a:gd name="T72" fmla="*/ 4200 w 4800"/>
                <a:gd name="T73" fmla="*/ 1100 h 2800"/>
                <a:gd name="T74" fmla="*/ 3400 w 4800"/>
                <a:gd name="T75" fmla="*/ 1100 h 2800"/>
                <a:gd name="T76" fmla="*/ 3800 w 4800"/>
                <a:gd name="T77" fmla="*/ 1700 h 2800"/>
                <a:gd name="T78" fmla="*/ 4047 w 4800"/>
                <a:gd name="T79" fmla="*/ 1807 h 2800"/>
                <a:gd name="T80" fmla="*/ 3666 w 4800"/>
                <a:gd name="T81" fmla="*/ 1684 h 2800"/>
                <a:gd name="T82" fmla="*/ 2000 w 4800"/>
                <a:gd name="T83" fmla="*/ 600 h 2800"/>
                <a:gd name="T84" fmla="*/ 2800 w 4800"/>
                <a:gd name="T85" fmla="*/ 600 h 2800"/>
                <a:gd name="T86" fmla="*/ 2400 w 4800"/>
                <a:gd name="T87" fmla="*/ 1200 h 2800"/>
                <a:gd name="T88" fmla="*/ 2000 w 4800"/>
                <a:gd name="T89" fmla="*/ 600 h 2800"/>
                <a:gd name="T90" fmla="*/ 2534 w 4800"/>
                <a:gd name="T91" fmla="*/ 1384 h 2800"/>
                <a:gd name="T92" fmla="*/ 2153 w 4800"/>
                <a:gd name="T93" fmla="*/ 1507 h 2800"/>
                <a:gd name="T94" fmla="*/ 2400 w 4800"/>
                <a:gd name="T95" fmla="*/ 1400 h 2800"/>
                <a:gd name="T96" fmla="*/ 1862 w 4800"/>
                <a:gd name="T97" fmla="*/ 1600 h 2800"/>
                <a:gd name="T98" fmla="*/ 1952 w 4800"/>
                <a:gd name="T99" fmla="*/ 1593 h 2800"/>
                <a:gd name="T100" fmla="*/ 2400 w 4800"/>
                <a:gd name="T101" fmla="*/ 1800 h 2800"/>
                <a:gd name="T102" fmla="*/ 2848 w 4800"/>
                <a:gd name="T103" fmla="*/ 1593 h 2800"/>
                <a:gd name="T104" fmla="*/ 2938 w 4800"/>
                <a:gd name="T105" fmla="*/ 1600 h 2800"/>
                <a:gd name="T106" fmla="*/ 3200 w 4800"/>
                <a:gd name="T107" fmla="*/ 2200 h 2800"/>
                <a:gd name="T108" fmla="*/ 1600 w 4800"/>
                <a:gd name="T109" fmla="*/ 1862 h 2800"/>
                <a:gd name="T110" fmla="*/ 753 w 4800"/>
                <a:gd name="T111" fmla="*/ 1807 h 2800"/>
                <a:gd name="T112" fmla="*/ 1000 w 4800"/>
                <a:gd name="T113" fmla="*/ 1700 h 2800"/>
                <a:gd name="T114" fmla="*/ 1247 w 4800"/>
                <a:gd name="T115" fmla="*/ 1807 h 2800"/>
                <a:gd name="T116" fmla="*/ 1400 w 4800"/>
                <a:gd name="T117" fmla="*/ 1100 h 2800"/>
                <a:gd name="T118" fmla="*/ 600 w 4800"/>
                <a:gd name="T119" fmla="*/ 1100 h 2800"/>
                <a:gd name="T120" fmla="*/ 1000 w 4800"/>
                <a:gd name="T121" fmla="*/ 500 h 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800" h="2800">
                  <a:moveTo>
                    <a:pt x="400" y="900"/>
                  </a:moveTo>
                  <a:lnTo>
                    <a:pt x="400" y="1100"/>
                  </a:lnTo>
                  <a:cubicBezTo>
                    <a:pt x="400" y="1312"/>
                    <a:pt x="511" y="1498"/>
                    <a:pt x="677" y="1605"/>
                  </a:cubicBezTo>
                  <a:cubicBezTo>
                    <a:pt x="628" y="1664"/>
                    <a:pt x="556" y="1700"/>
                    <a:pt x="476" y="1700"/>
                  </a:cubicBezTo>
                  <a:lnTo>
                    <a:pt x="462" y="1700"/>
                  </a:lnTo>
                  <a:cubicBezTo>
                    <a:pt x="207" y="1700"/>
                    <a:pt x="0" y="1907"/>
                    <a:pt x="0" y="2162"/>
                  </a:cubicBezTo>
                  <a:lnTo>
                    <a:pt x="0" y="2700"/>
                  </a:lnTo>
                  <a:cubicBezTo>
                    <a:pt x="0" y="2755"/>
                    <a:pt x="45" y="2800"/>
                    <a:pt x="100" y="2800"/>
                  </a:cubicBezTo>
                  <a:lnTo>
                    <a:pt x="1900" y="2800"/>
                  </a:lnTo>
                  <a:cubicBezTo>
                    <a:pt x="1955" y="2800"/>
                    <a:pt x="2000" y="2755"/>
                    <a:pt x="2000" y="2700"/>
                  </a:cubicBezTo>
                  <a:lnTo>
                    <a:pt x="2000" y="2400"/>
                  </a:lnTo>
                  <a:lnTo>
                    <a:pt x="2800" y="2400"/>
                  </a:lnTo>
                  <a:lnTo>
                    <a:pt x="2800" y="2700"/>
                  </a:lnTo>
                  <a:cubicBezTo>
                    <a:pt x="2800" y="2755"/>
                    <a:pt x="2845" y="2800"/>
                    <a:pt x="2900" y="2800"/>
                  </a:cubicBezTo>
                  <a:lnTo>
                    <a:pt x="4700" y="2800"/>
                  </a:lnTo>
                  <a:cubicBezTo>
                    <a:pt x="4755" y="2800"/>
                    <a:pt x="4800" y="2755"/>
                    <a:pt x="4800" y="2700"/>
                  </a:cubicBezTo>
                  <a:lnTo>
                    <a:pt x="4800" y="2162"/>
                  </a:lnTo>
                  <a:cubicBezTo>
                    <a:pt x="4800" y="1907"/>
                    <a:pt x="4593" y="1700"/>
                    <a:pt x="4338" y="1700"/>
                  </a:cubicBezTo>
                  <a:lnTo>
                    <a:pt x="4324" y="1700"/>
                  </a:lnTo>
                  <a:cubicBezTo>
                    <a:pt x="4244" y="1700"/>
                    <a:pt x="4172" y="1664"/>
                    <a:pt x="4123" y="1605"/>
                  </a:cubicBezTo>
                  <a:cubicBezTo>
                    <a:pt x="4290" y="1498"/>
                    <a:pt x="4400" y="1312"/>
                    <a:pt x="4400" y="1100"/>
                  </a:cubicBezTo>
                  <a:lnTo>
                    <a:pt x="4400" y="900"/>
                  </a:lnTo>
                  <a:cubicBezTo>
                    <a:pt x="4400" y="569"/>
                    <a:pt x="4131" y="300"/>
                    <a:pt x="3800" y="300"/>
                  </a:cubicBezTo>
                  <a:cubicBezTo>
                    <a:pt x="3469" y="300"/>
                    <a:pt x="3200" y="569"/>
                    <a:pt x="3200" y="900"/>
                  </a:cubicBezTo>
                  <a:lnTo>
                    <a:pt x="3200" y="1100"/>
                  </a:lnTo>
                  <a:cubicBezTo>
                    <a:pt x="3200" y="1312"/>
                    <a:pt x="3310" y="1498"/>
                    <a:pt x="3477" y="1605"/>
                  </a:cubicBezTo>
                  <a:cubicBezTo>
                    <a:pt x="3447" y="1641"/>
                    <a:pt x="3408" y="1668"/>
                    <a:pt x="3364" y="1683"/>
                  </a:cubicBezTo>
                  <a:cubicBezTo>
                    <a:pt x="3294" y="1517"/>
                    <a:pt x="3129" y="1400"/>
                    <a:pt x="2938" y="1400"/>
                  </a:cubicBezTo>
                  <a:lnTo>
                    <a:pt x="2924" y="1400"/>
                  </a:lnTo>
                  <a:cubicBezTo>
                    <a:pt x="2844" y="1400"/>
                    <a:pt x="2772" y="1364"/>
                    <a:pt x="2723" y="1305"/>
                  </a:cubicBezTo>
                  <a:cubicBezTo>
                    <a:pt x="2889" y="1198"/>
                    <a:pt x="3000" y="1012"/>
                    <a:pt x="3000" y="800"/>
                  </a:cubicBezTo>
                  <a:lnTo>
                    <a:pt x="3000" y="600"/>
                  </a:lnTo>
                  <a:cubicBezTo>
                    <a:pt x="3000" y="269"/>
                    <a:pt x="2731" y="0"/>
                    <a:pt x="2400" y="0"/>
                  </a:cubicBezTo>
                  <a:cubicBezTo>
                    <a:pt x="2069" y="0"/>
                    <a:pt x="1800" y="269"/>
                    <a:pt x="1800" y="600"/>
                  </a:cubicBezTo>
                  <a:lnTo>
                    <a:pt x="1800" y="800"/>
                  </a:lnTo>
                  <a:cubicBezTo>
                    <a:pt x="1800" y="1012"/>
                    <a:pt x="1910" y="1198"/>
                    <a:pt x="2077" y="1305"/>
                  </a:cubicBezTo>
                  <a:cubicBezTo>
                    <a:pt x="2028" y="1364"/>
                    <a:pt x="1956" y="1400"/>
                    <a:pt x="1876" y="1400"/>
                  </a:cubicBezTo>
                  <a:lnTo>
                    <a:pt x="1862" y="1400"/>
                  </a:lnTo>
                  <a:cubicBezTo>
                    <a:pt x="1670" y="1400"/>
                    <a:pt x="1506" y="1517"/>
                    <a:pt x="1436" y="1683"/>
                  </a:cubicBezTo>
                  <a:cubicBezTo>
                    <a:pt x="1392" y="1668"/>
                    <a:pt x="1353" y="1641"/>
                    <a:pt x="1323" y="1605"/>
                  </a:cubicBezTo>
                  <a:cubicBezTo>
                    <a:pt x="1489" y="1498"/>
                    <a:pt x="1600" y="1312"/>
                    <a:pt x="1600" y="1100"/>
                  </a:cubicBezTo>
                  <a:lnTo>
                    <a:pt x="1600" y="900"/>
                  </a:lnTo>
                  <a:cubicBezTo>
                    <a:pt x="1600" y="569"/>
                    <a:pt x="1331" y="300"/>
                    <a:pt x="1000" y="300"/>
                  </a:cubicBezTo>
                  <a:cubicBezTo>
                    <a:pt x="669" y="300"/>
                    <a:pt x="400" y="569"/>
                    <a:pt x="400" y="900"/>
                  </a:cubicBezTo>
                  <a:close/>
                  <a:moveTo>
                    <a:pt x="1800" y="2600"/>
                  </a:moveTo>
                  <a:lnTo>
                    <a:pt x="200" y="2600"/>
                  </a:lnTo>
                  <a:lnTo>
                    <a:pt x="200" y="2162"/>
                  </a:lnTo>
                  <a:cubicBezTo>
                    <a:pt x="200" y="2018"/>
                    <a:pt x="317" y="1900"/>
                    <a:pt x="462" y="1900"/>
                  </a:cubicBezTo>
                  <a:lnTo>
                    <a:pt x="476" y="1900"/>
                  </a:lnTo>
                  <a:cubicBezTo>
                    <a:pt x="502" y="1900"/>
                    <a:pt x="527" y="1897"/>
                    <a:pt x="552" y="1893"/>
                  </a:cubicBezTo>
                  <a:lnTo>
                    <a:pt x="588" y="1929"/>
                  </a:lnTo>
                  <a:cubicBezTo>
                    <a:pt x="698" y="2039"/>
                    <a:pt x="844" y="2100"/>
                    <a:pt x="1000" y="2100"/>
                  </a:cubicBezTo>
                  <a:cubicBezTo>
                    <a:pt x="1150" y="2100"/>
                    <a:pt x="1291" y="2043"/>
                    <a:pt x="1400" y="1940"/>
                  </a:cubicBezTo>
                  <a:lnTo>
                    <a:pt x="1400" y="2300"/>
                  </a:lnTo>
                  <a:cubicBezTo>
                    <a:pt x="1400" y="2355"/>
                    <a:pt x="1445" y="2400"/>
                    <a:pt x="1500" y="2400"/>
                  </a:cubicBezTo>
                  <a:lnTo>
                    <a:pt x="1800" y="2400"/>
                  </a:lnTo>
                  <a:lnTo>
                    <a:pt x="1800" y="2600"/>
                  </a:lnTo>
                  <a:close/>
                  <a:moveTo>
                    <a:pt x="4338" y="1900"/>
                  </a:moveTo>
                  <a:cubicBezTo>
                    <a:pt x="4483" y="1900"/>
                    <a:pt x="4600" y="2018"/>
                    <a:pt x="4600" y="2162"/>
                  </a:cubicBezTo>
                  <a:lnTo>
                    <a:pt x="4600" y="2600"/>
                  </a:lnTo>
                  <a:lnTo>
                    <a:pt x="3000" y="2600"/>
                  </a:lnTo>
                  <a:lnTo>
                    <a:pt x="3000" y="2400"/>
                  </a:lnTo>
                  <a:lnTo>
                    <a:pt x="3300" y="2400"/>
                  </a:lnTo>
                  <a:cubicBezTo>
                    <a:pt x="3355" y="2400"/>
                    <a:pt x="3400" y="2355"/>
                    <a:pt x="3400" y="2300"/>
                  </a:cubicBezTo>
                  <a:lnTo>
                    <a:pt x="3400" y="1940"/>
                  </a:lnTo>
                  <a:cubicBezTo>
                    <a:pt x="3509" y="2043"/>
                    <a:pt x="3650" y="2100"/>
                    <a:pt x="3800" y="2100"/>
                  </a:cubicBezTo>
                  <a:cubicBezTo>
                    <a:pt x="3956" y="2100"/>
                    <a:pt x="4102" y="2039"/>
                    <a:pt x="4212" y="1929"/>
                  </a:cubicBezTo>
                  <a:lnTo>
                    <a:pt x="4248" y="1893"/>
                  </a:lnTo>
                  <a:cubicBezTo>
                    <a:pt x="4273" y="1897"/>
                    <a:pt x="4298" y="1900"/>
                    <a:pt x="4324" y="1900"/>
                  </a:cubicBezTo>
                  <a:lnTo>
                    <a:pt x="4338" y="1900"/>
                  </a:lnTo>
                  <a:close/>
                  <a:moveTo>
                    <a:pt x="3400" y="900"/>
                  </a:moveTo>
                  <a:cubicBezTo>
                    <a:pt x="3400" y="679"/>
                    <a:pt x="3579" y="500"/>
                    <a:pt x="3800" y="500"/>
                  </a:cubicBezTo>
                  <a:cubicBezTo>
                    <a:pt x="4021" y="500"/>
                    <a:pt x="4200" y="679"/>
                    <a:pt x="4200" y="900"/>
                  </a:cubicBezTo>
                  <a:lnTo>
                    <a:pt x="4200" y="1100"/>
                  </a:lnTo>
                  <a:cubicBezTo>
                    <a:pt x="4200" y="1321"/>
                    <a:pt x="4021" y="1500"/>
                    <a:pt x="3800" y="1500"/>
                  </a:cubicBezTo>
                  <a:cubicBezTo>
                    <a:pt x="3579" y="1500"/>
                    <a:pt x="3400" y="1321"/>
                    <a:pt x="3400" y="1100"/>
                  </a:cubicBezTo>
                  <a:lnTo>
                    <a:pt x="3400" y="900"/>
                  </a:lnTo>
                  <a:close/>
                  <a:moveTo>
                    <a:pt x="3800" y="1700"/>
                  </a:moveTo>
                  <a:cubicBezTo>
                    <a:pt x="3846" y="1700"/>
                    <a:pt x="3891" y="1694"/>
                    <a:pt x="3934" y="1684"/>
                  </a:cubicBezTo>
                  <a:cubicBezTo>
                    <a:pt x="3964" y="1733"/>
                    <a:pt x="4003" y="1774"/>
                    <a:pt x="4047" y="1807"/>
                  </a:cubicBezTo>
                  <a:cubicBezTo>
                    <a:pt x="3908" y="1924"/>
                    <a:pt x="3692" y="1924"/>
                    <a:pt x="3553" y="1807"/>
                  </a:cubicBezTo>
                  <a:cubicBezTo>
                    <a:pt x="3597" y="1774"/>
                    <a:pt x="3636" y="1733"/>
                    <a:pt x="3666" y="1684"/>
                  </a:cubicBezTo>
                  <a:cubicBezTo>
                    <a:pt x="3709" y="1694"/>
                    <a:pt x="3754" y="1700"/>
                    <a:pt x="3800" y="1700"/>
                  </a:cubicBezTo>
                  <a:close/>
                  <a:moveTo>
                    <a:pt x="2000" y="600"/>
                  </a:moveTo>
                  <a:cubicBezTo>
                    <a:pt x="2000" y="379"/>
                    <a:pt x="2179" y="200"/>
                    <a:pt x="2400" y="200"/>
                  </a:cubicBezTo>
                  <a:cubicBezTo>
                    <a:pt x="2621" y="200"/>
                    <a:pt x="2800" y="379"/>
                    <a:pt x="2800" y="600"/>
                  </a:cubicBezTo>
                  <a:lnTo>
                    <a:pt x="2800" y="800"/>
                  </a:lnTo>
                  <a:cubicBezTo>
                    <a:pt x="2800" y="1021"/>
                    <a:pt x="2621" y="1200"/>
                    <a:pt x="2400" y="1200"/>
                  </a:cubicBezTo>
                  <a:cubicBezTo>
                    <a:pt x="2179" y="1200"/>
                    <a:pt x="2000" y="1021"/>
                    <a:pt x="2000" y="800"/>
                  </a:cubicBezTo>
                  <a:lnTo>
                    <a:pt x="2000" y="600"/>
                  </a:lnTo>
                  <a:close/>
                  <a:moveTo>
                    <a:pt x="2400" y="1400"/>
                  </a:moveTo>
                  <a:cubicBezTo>
                    <a:pt x="2446" y="1400"/>
                    <a:pt x="2491" y="1394"/>
                    <a:pt x="2534" y="1384"/>
                  </a:cubicBezTo>
                  <a:cubicBezTo>
                    <a:pt x="2564" y="1433"/>
                    <a:pt x="2603" y="1474"/>
                    <a:pt x="2647" y="1507"/>
                  </a:cubicBezTo>
                  <a:cubicBezTo>
                    <a:pt x="2508" y="1624"/>
                    <a:pt x="2292" y="1624"/>
                    <a:pt x="2153" y="1507"/>
                  </a:cubicBezTo>
                  <a:cubicBezTo>
                    <a:pt x="2197" y="1474"/>
                    <a:pt x="2236" y="1433"/>
                    <a:pt x="2266" y="1384"/>
                  </a:cubicBezTo>
                  <a:cubicBezTo>
                    <a:pt x="2309" y="1394"/>
                    <a:pt x="2354" y="1400"/>
                    <a:pt x="2400" y="1400"/>
                  </a:cubicBezTo>
                  <a:close/>
                  <a:moveTo>
                    <a:pt x="1600" y="1862"/>
                  </a:moveTo>
                  <a:cubicBezTo>
                    <a:pt x="1600" y="1718"/>
                    <a:pt x="1717" y="1600"/>
                    <a:pt x="1862" y="1600"/>
                  </a:cubicBezTo>
                  <a:lnTo>
                    <a:pt x="1876" y="1600"/>
                  </a:lnTo>
                  <a:cubicBezTo>
                    <a:pt x="1902" y="1600"/>
                    <a:pt x="1927" y="1597"/>
                    <a:pt x="1952" y="1593"/>
                  </a:cubicBezTo>
                  <a:lnTo>
                    <a:pt x="1988" y="1629"/>
                  </a:lnTo>
                  <a:cubicBezTo>
                    <a:pt x="2098" y="1739"/>
                    <a:pt x="2244" y="1800"/>
                    <a:pt x="2400" y="1800"/>
                  </a:cubicBezTo>
                  <a:cubicBezTo>
                    <a:pt x="2556" y="1800"/>
                    <a:pt x="2702" y="1739"/>
                    <a:pt x="2812" y="1629"/>
                  </a:cubicBezTo>
                  <a:lnTo>
                    <a:pt x="2848" y="1593"/>
                  </a:lnTo>
                  <a:cubicBezTo>
                    <a:pt x="2873" y="1597"/>
                    <a:pt x="2898" y="1600"/>
                    <a:pt x="2924" y="1600"/>
                  </a:cubicBezTo>
                  <a:lnTo>
                    <a:pt x="2938" y="1600"/>
                  </a:lnTo>
                  <a:cubicBezTo>
                    <a:pt x="3083" y="1600"/>
                    <a:pt x="3200" y="1718"/>
                    <a:pt x="3200" y="1862"/>
                  </a:cubicBezTo>
                  <a:lnTo>
                    <a:pt x="3200" y="2200"/>
                  </a:lnTo>
                  <a:lnTo>
                    <a:pt x="1600" y="2200"/>
                  </a:lnTo>
                  <a:lnTo>
                    <a:pt x="1600" y="1862"/>
                  </a:lnTo>
                  <a:close/>
                  <a:moveTo>
                    <a:pt x="1247" y="1807"/>
                  </a:moveTo>
                  <a:cubicBezTo>
                    <a:pt x="1108" y="1924"/>
                    <a:pt x="892" y="1924"/>
                    <a:pt x="753" y="1807"/>
                  </a:cubicBezTo>
                  <a:cubicBezTo>
                    <a:pt x="797" y="1774"/>
                    <a:pt x="836" y="1733"/>
                    <a:pt x="866" y="1684"/>
                  </a:cubicBezTo>
                  <a:cubicBezTo>
                    <a:pt x="909" y="1694"/>
                    <a:pt x="954" y="1700"/>
                    <a:pt x="1000" y="1700"/>
                  </a:cubicBezTo>
                  <a:cubicBezTo>
                    <a:pt x="1046" y="1700"/>
                    <a:pt x="1091" y="1694"/>
                    <a:pt x="1134" y="1684"/>
                  </a:cubicBezTo>
                  <a:cubicBezTo>
                    <a:pt x="1164" y="1733"/>
                    <a:pt x="1203" y="1774"/>
                    <a:pt x="1247" y="1807"/>
                  </a:cubicBezTo>
                  <a:close/>
                  <a:moveTo>
                    <a:pt x="1400" y="900"/>
                  </a:moveTo>
                  <a:lnTo>
                    <a:pt x="1400" y="1100"/>
                  </a:lnTo>
                  <a:cubicBezTo>
                    <a:pt x="1400" y="1321"/>
                    <a:pt x="1221" y="1500"/>
                    <a:pt x="1000" y="1500"/>
                  </a:cubicBezTo>
                  <a:cubicBezTo>
                    <a:pt x="779" y="1500"/>
                    <a:pt x="600" y="1321"/>
                    <a:pt x="600" y="1100"/>
                  </a:cubicBezTo>
                  <a:lnTo>
                    <a:pt x="600" y="900"/>
                  </a:lnTo>
                  <a:cubicBezTo>
                    <a:pt x="600" y="679"/>
                    <a:pt x="779" y="500"/>
                    <a:pt x="1000" y="500"/>
                  </a:cubicBezTo>
                  <a:cubicBezTo>
                    <a:pt x="1221" y="500"/>
                    <a:pt x="1400" y="679"/>
                    <a:pt x="1400" y="9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58"/>
            <p:cNvSpPr>
              <a:spLocks noEditPoints="1"/>
            </p:cNvSpPr>
            <p:nvPr/>
          </p:nvSpPr>
          <p:spPr bwMode="auto">
            <a:xfrm>
              <a:off x="6173" y="-531"/>
              <a:ext cx="329" cy="127"/>
            </a:xfrm>
            <a:custGeom>
              <a:avLst/>
              <a:gdLst>
                <a:gd name="T0" fmla="*/ 5569 w 6200"/>
                <a:gd name="T1" fmla="*/ 432 h 2400"/>
                <a:gd name="T2" fmla="*/ 3521 w 6200"/>
                <a:gd name="T3" fmla="*/ 991 h 2400"/>
                <a:gd name="T4" fmla="*/ 3471 w 6200"/>
                <a:gd name="T5" fmla="*/ 929 h 2400"/>
                <a:gd name="T6" fmla="*/ 2771 w 6200"/>
                <a:gd name="T7" fmla="*/ 229 h 2400"/>
                <a:gd name="T8" fmla="*/ 2700 w 6200"/>
                <a:gd name="T9" fmla="*/ 200 h 2400"/>
                <a:gd name="T10" fmla="*/ 1600 w 6200"/>
                <a:gd name="T11" fmla="*/ 200 h 2400"/>
                <a:gd name="T12" fmla="*/ 1600 w 6200"/>
                <a:gd name="T13" fmla="*/ 100 h 2400"/>
                <a:gd name="T14" fmla="*/ 1500 w 6200"/>
                <a:gd name="T15" fmla="*/ 0 h 2400"/>
                <a:gd name="T16" fmla="*/ 900 w 6200"/>
                <a:gd name="T17" fmla="*/ 0 h 2400"/>
                <a:gd name="T18" fmla="*/ 100 w 6200"/>
                <a:gd name="T19" fmla="*/ 0 h 2400"/>
                <a:gd name="T20" fmla="*/ 0 w 6200"/>
                <a:gd name="T21" fmla="*/ 100 h 2400"/>
                <a:gd name="T22" fmla="*/ 0 w 6200"/>
                <a:gd name="T23" fmla="*/ 2300 h 2400"/>
                <a:gd name="T24" fmla="*/ 100 w 6200"/>
                <a:gd name="T25" fmla="*/ 2400 h 2400"/>
                <a:gd name="T26" fmla="*/ 900 w 6200"/>
                <a:gd name="T27" fmla="*/ 2400 h 2400"/>
                <a:gd name="T28" fmla="*/ 1000 w 6200"/>
                <a:gd name="T29" fmla="*/ 2300 h 2400"/>
                <a:gd name="T30" fmla="*/ 1000 w 6200"/>
                <a:gd name="T31" fmla="*/ 2200 h 2400"/>
                <a:gd name="T32" fmla="*/ 1500 w 6200"/>
                <a:gd name="T33" fmla="*/ 2200 h 2400"/>
                <a:gd name="T34" fmla="*/ 1600 w 6200"/>
                <a:gd name="T35" fmla="*/ 2100 h 2400"/>
                <a:gd name="T36" fmla="*/ 1600 w 6200"/>
                <a:gd name="T37" fmla="*/ 2000 h 2400"/>
                <a:gd name="T38" fmla="*/ 2284 w 6200"/>
                <a:gd name="T39" fmla="*/ 2000 h 2400"/>
                <a:gd name="T40" fmla="*/ 2868 w 6200"/>
                <a:gd name="T41" fmla="*/ 2195 h 2400"/>
                <a:gd name="T42" fmla="*/ 2900 w 6200"/>
                <a:gd name="T43" fmla="*/ 2200 h 2400"/>
                <a:gd name="T44" fmla="*/ 2933 w 6200"/>
                <a:gd name="T45" fmla="*/ 2195 h 2400"/>
                <a:gd name="T46" fmla="*/ 6133 w 6200"/>
                <a:gd name="T47" fmla="*/ 1095 h 2400"/>
                <a:gd name="T48" fmla="*/ 6200 w 6200"/>
                <a:gd name="T49" fmla="*/ 1000 h 2400"/>
                <a:gd name="T50" fmla="*/ 6200 w 6200"/>
                <a:gd name="T51" fmla="*/ 900 h 2400"/>
                <a:gd name="T52" fmla="*/ 6122 w 6200"/>
                <a:gd name="T53" fmla="*/ 632 h 2400"/>
                <a:gd name="T54" fmla="*/ 5569 w 6200"/>
                <a:gd name="T55" fmla="*/ 432 h 2400"/>
                <a:gd name="T56" fmla="*/ 800 w 6200"/>
                <a:gd name="T57" fmla="*/ 2200 h 2400"/>
                <a:gd name="T58" fmla="*/ 200 w 6200"/>
                <a:gd name="T59" fmla="*/ 2200 h 2400"/>
                <a:gd name="T60" fmla="*/ 200 w 6200"/>
                <a:gd name="T61" fmla="*/ 200 h 2400"/>
                <a:gd name="T62" fmla="*/ 800 w 6200"/>
                <a:gd name="T63" fmla="*/ 200 h 2400"/>
                <a:gd name="T64" fmla="*/ 800 w 6200"/>
                <a:gd name="T65" fmla="*/ 2200 h 2400"/>
                <a:gd name="T66" fmla="*/ 1400 w 6200"/>
                <a:gd name="T67" fmla="*/ 2000 h 2400"/>
                <a:gd name="T68" fmla="*/ 1000 w 6200"/>
                <a:gd name="T69" fmla="*/ 2000 h 2400"/>
                <a:gd name="T70" fmla="*/ 1000 w 6200"/>
                <a:gd name="T71" fmla="*/ 200 h 2400"/>
                <a:gd name="T72" fmla="*/ 1400 w 6200"/>
                <a:gd name="T73" fmla="*/ 200 h 2400"/>
                <a:gd name="T74" fmla="*/ 1400 w 6200"/>
                <a:gd name="T75" fmla="*/ 2000 h 2400"/>
                <a:gd name="T76" fmla="*/ 6000 w 6200"/>
                <a:gd name="T77" fmla="*/ 929 h 2400"/>
                <a:gd name="T78" fmla="*/ 2900 w 6200"/>
                <a:gd name="T79" fmla="*/ 1994 h 2400"/>
                <a:gd name="T80" fmla="*/ 2332 w 6200"/>
                <a:gd name="T81" fmla="*/ 1805 h 2400"/>
                <a:gd name="T82" fmla="*/ 2300 w 6200"/>
                <a:gd name="T83" fmla="*/ 1800 h 2400"/>
                <a:gd name="T84" fmla="*/ 1600 w 6200"/>
                <a:gd name="T85" fmla="*/ 1800 h 2400"/>
                <a:gd name="T86" fmla="*/ 1600 w 6200"/>
                <a:gd name="T87" fmla="*/ 400 h 2400"/>
                <a:gd name="T88" fmla="*/ 2659 w 6200"/>
                <a:gd name="T89" fmla="*/ 400 h 2400"/>
                <a:gd name="T90" fmla="*/ 3329 w 6200"/>
                <a:gd name="T91" fmla="*/ 1071 h 2400"/>
                <a:gd name="T92" fmla="*/ 3329 w 6200"/>
                <a:gd name="T93" fmla="*/ 1329 h 2400"/>
                <a:gd name="T94" fmla="*/ 3071 w 6200"/>
                <a:gd name="T95" fmla="*/ 1329 h 2400"/>
                <a:gd name="T96" fmla="*/ 2571 w 6200"/>
                <a:gd name="T97" fmla="*/ 829 h 2400"/>
                <a:gd name="T98" fmla="*/ 2429 w 6200"/>
                <a:gd name="T99" fmla="*/ 971 h 2400"/>
                <a:gd name="T100" fmla="*/ 2929 w 6200"/>
                <a:gd name="T101" fmla="*/ 1471 h 2400"/>
                <a:gd name="T102" fmla="*/ 3200 w 6200"/>
                <a:gd name="T103" fmla="*/ 1583 h 2400"/>
                <a:gd name="T104" fmla="*/ 3471 w 6200"/>
                <a:gd name="T105" fmla="*/ 1471 h 2400"/>
                <a:gd name="T106" fmla="*/ 3581 w 6200"/>
                <a:gd name="T107" fmla="*/ 1182 h 2400"/>
                <a:gd name="T108" fmla="*/ 5622 w 6200"/>
                <a:gd name="T109" fmla="*/ 625 h 2400"/>
                <a:gd name="T110" fmla="*/ 5953 w 6200"/>
                <a:gd name="T111" fmla="*/ 739 h 2400"/>
                <a:gd name="T112" fmla="*/ 6000 w 6200"/>
                <a:gd name="T113" fmla="*/ 900 h 2400"/>
                <a:gd name="T114" fmla="*/ 6000 w 6200"/>
                <a:gd name="T115" fmla="*/ 929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00" h="2400">
                  <a:moveTo>
                    <a:pt x="5569" y="432"/>
                  </a:moveTo>
                  <a:lnTo>
                    <a:pt x="3521" y="991"/>
                  </a:lnTo>
                  <a:cubicBezTo>
                    <a:pt x="3506" y="969"/>
                    <a:pt x="3490" y="948"/>
                    <a:pt x="3471" y="929"/>
                  </a:cubicBezTo>
                  <a:lnTo>
                    <a:pt x="2771" y="229"/>
                  </a:lnTo>
                  <a:cubicBezTo>
                    <a:pt x="2752" y="211"/>
                    <a:pt x="2727" y="200"/>
                    <a:pt x="2700" y="200"/>
                  </a:cubicBezTo>
                  <a:lnTo>
                    <a:pt x="1600" y="200"/>
                  </a:lnTo>
                  <a:lnTo>
                    <a:pt x="1600" y="100"/>
                  </a:lnTo>
                  <a:cubicBezTo>
                    <a:pt x="1600" y="45"/>
                    <a:pt x="1555" y="0"/>
                    <a:pt x="1500" y="0"/>
                  </a:cubicBezTo>
                  <a:lnTo>
                    <a:pt x="900" y="0"/>
                  </a:ln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lnTo>
                    <a:pt x="0" y="2300"/>
                  </a:lnTo>
                  <a:cubicBezTo>
                    <a:pt x="0" y="2355"/>
                    <a:pt x="45" y="2400"/>
                    <a:pt x="100" y="2400"/>
                  </a:cubicBezTo>
                  <a:lnTo>
                    <a:pt x="900" y="2400"/>
                  </a:lnTo>
                  <a:cubicBezTo>
                    <a:pt x="955" y="2400"/>
                    <a:pt x="1000" y="2355"/>
                    <a:pt x="1000" y="2300"/>
                  </a:cubicBezTo>
                  <a:lnTo>
                    <a:pt x="1000" y="2200"/>
                  </a:lnTo>
                  <a:lnTo>
                    <a:pt x="1500" y="2200"/>
                  </a:lnTo>
                  <a:cubicBezTo>
                    <a:pt x="1555" y="2200"/>
                    <a:pt x="1600" y="2155"/>
                    <a:pt x="1600" y="2100"/>
                  </a:cubicBezTo>
                  <a:lnTo>
                    <a:pt x="1600" y="2000"/>
                  </a:lnTo>
                  <a:lnTo>
                    <a:pt x="2284" y="2000"/>
                  </a:lnTo>
                  <a:lnTo>
                    <a:pt x="2868" y="2195"/>
                  </a:lnTo>
                  <a:cubicBezTo>
                    <a:pt x="2879" y="2198"/>
                    <a:pt x="2889" y="2200"/>
                    <a:pt x="2900" y="2200"/>
                  </a:cubicBezTo>
                  <a:cubicBezTo>
                    <a:pt x="2911" y="2200"/>
                    <a:pt x="2922" y="2198"/>
                    <a:pt x="2933" y="2195"/>
                  </a:cubicBezTo>
                  <a:lnTo>
                    <a:pt x="6133" y="1095"/>
                  </a:lnTo>
                  <a:cubicBezTo>
                    <a:pt x="6173" y="1081"/>
                    <a:pt x="6200" y="1043"/>
                    <a:pt x="6200" y="1000"/>
                  </a:cubicBezTo>
                  <a:lnTo>
                    <a:pt x="6200" y="900"/>
                  </a:lnTo>
                  <a:cubicBezTo>
                    <a:pt x="6200" y="805"/>
                    <a:pt x="6173" y="712"/>
                    <a:pt x="6122" y="632"/>
                  </a:cubicBezTo>
                  <a:cubicBezTo>
                    <a:pt x="6010" y="456"/>
                    <a:pt x="5783" y="374"/>
                    <a:pt x="5569" y="432"/>
                  </a:cubicBezTo>
                  <a:close/>
                  <a:moveTo>
                    <a:pt x="800" y="2200"/>
                  </a:moveTo>
                  <a:lnTo>
                    <a:pt x="200" y="2200"/>
                  </a:lnTo>
                  <a:lnTo>
                    <a:pt x="200" y="200"/>
                  </a:lnTo>
                  <a:lnTo>
                    <a:pt x="800" y="200"/>
                  </a:lnTo>
                  <a:lnTo>
                    <a:pt x="800" y="2200"/>
                  </a:lnTo>
                  <a:close/>
                  <a:moveTo>
                    <a:pt x="1400" y="2000"/>
                  </a:moveTo>
                  <a:lnTo>
                    <a:pt x="1000" y="2000"/>
                  </a:lnTo>
                  <a:lnTo>
                    <a:pt x="1000" y="200"/>
                  </a:lnTo>
                  <a:lnTo>
                    <a:pt x="1400" y="200"/>
                  </a:lnTo>
                  <a:lnTo>
                    <a:pt x="1400" y="2000"/>
                  </a:lnTo>
                  <a:close/>
                  <a:moveTo>
                    <a:pt x="6000" y="929"/>
                  </a:moveTo>
                  <a:lnTo>
                    <a:pt x="2900" y="1994"/>
                  </a:lnTo>
                  <a:lnTo>
                    <a:pt x="2332" y="1805"/>
                  </a:lnTo>
                  <a:cubicBezTo>
                    <a:pt x="2321" y="1802"/>
                    <a:pt x="2311" y="1800"/>
                    <a:pt x="2300" y="1800"/>
                  </a:cubicBezTo>
                  <a:lnTo>
                    <a:pt x="1600" y="1800"/>
                  </a:lnTo>
                  <a:lnTo>
                    <a:pt x="1600" y="400"/>
                  </a:lnTo>
                  <a:lnTo>
                    <a:pt x="2659" y="400"/>
                  </a:lnTo>
                  <a:lnTo>
                    <a:pt x="3329" y="1071"/>
                  </a:lnTo>
                  <a:cubicBezTo>
                    <a:pt x="3401" y="1142"/>
                    <a:pt x="3401" y="1258"/>
                    <a:pt x="3329" y="1329"/>
                  </a:cubicBezTo>
                  <a:cubicBezTo>
                    <a:pt x="3258" y="1401"/>
                    <a:pt x="3142" y="1401"/>
                    <a:pt x="3071" y="1329"/>
                  </a:cubicBezTo>
                  <a:lnTo>
                    <a:pt x="2571" y="829"/>
                  </a:lnTo>
                  <a:lnTo>
                    <a:pt x="2429" y="971"/>
                  </a:lnTo>
                  <a:lnTo>
                    <a:pt x="2929" y="1471"/>
                  </a:lnTo>
                  <a:cubicBezTo>
                    <a:pt x="3004" y="1545"/>
                    <a:pt x="3102" y="1583"/>
                    <a:pt x="3200" y="1583"/>
                  </a:cubicBezTo>
                  <a:cubicBezTo>
                    <a:pt x="3298" y="1583"/>
                    <a:pt x="3396" y="1545"/>
                    <a:pt x="3471" y="1471"/>
                  </a:cubicBezTo>
                  <a:cubicBezTo>
                    <a:pt x="3550" y="1391"/>
                    <a:pt x="3586" y="1286"/>
                    <a:pt x="3581" y="1182"/>
                  </a:cubicBezTo>
                  <a:lnTo>
                    <a:pt x="5622" y="625"/>
                  </a:lnTo>
                  <a:cubicBezTo>
                    <a:pt x="5752" y="589"/>
                    <a:pt x="5888" y="636"/>
                    <a:pt x="5953" y="739"/>
                  </a:cubicBezTo>
                  <a:cubicBezTo>
                    <a:pt x="5984" y="787"/>
                    <a:pt x="6000" y="843"/>
                    <a:pt x="6000" y="900"/>
                  </a:cubicBezTo>
                  <a:lnTo>
                    <a:pt x="6000" y="92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59"/>
            <p:cNvSpPr>
              <a:spLocks/>
            </p:cNvSpPr>
            <p:nvPr/>
          </p:nvSpPr>
          <p:spPr bwMode="auto">
            <a:xfrm>
              <a:off x="6374" y="-727"/>
              <a:ext cx="12" cy="13"/>
            </a:xfrm>
            <a:custGeom>
              <a:avLst/>
              <a:gdLst>
                <a:gd name="T0" fmla="*/ 243 w 243"/>
                <a:gd name="T1" fmla="*/ 54 h 245"/>
                <a:gd name="T2" fmla="*/ 46 w 243"/>
                <a:gd name="T3" fmla="*/ 0 h 245"/>
                <a:gd name="T4" fmla="*/ 0 w 243"/>
                <a:gd name="T5" fmla="*/ 194 h 245"/>
                <a:gd name="T6" fmla="*/ 184 w 243"/>
                <a:gd name="T7" fmla="*/ 245 h 245"/>
                <a:gd name="T8" fmla="*/ 243 w 243"/>
                <a:gd name="T9" fmla="*/ 54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245">
                  <a:moveTo>
                    <a:pt x="243" y="54"/>
                  </a:moveTo>
                  <a:cubicBezTo>
                    <a:pt x="178" y="34"/>
                    <a:pt x="113" y="16"/>
                    <a:pt x="46" y="0"/>
                  </a:cubicBezTo>
                  <a:lnTo>
                    <a:pt x="0" y="194"/>
                  </a:lnTo>
                  <a:cubicBezTo>
                    <a:pt x="62" y="209"/>
                    <a:pt x="124" y="226"/>
                    <a:pt x="184" y="245"/>
                  </a:cubicBezTo>
                  <a:lnTo>
                    <a:pt x="243" y="5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60"/>
            <p:cNvSpPr>
              <a:spLocks/>
            </p:cNvSpPr>
            <p:nvPr/>
          </p:nvSpPr>
          <p:spPr bwMode="auto">
            <a:xfrm>
              <a:off x="6492" y="-571"/>
              <a:ext cx="10" cy="11"/>
            </a:xfrm>
            <a:custGeom>
              <a:avLst/>
              <a:gdLst>
                <a:gd name="T0" fmla="*/ 3 w 203"/>
                <a:gd name="T1" fmla="*/ 60 h 204"/>
                <a:gd name="T2" fmla="*/ 0 w 203"/>
                <a:gd name="T3" fmla="*/ 194 h 204"/>
                <a:gd name="T4" fmla="*/ 200 w 203"/>
                <a:gd name="T5" fmla="*/ 204 h 204"/>
                <a:gd name="T6" fmla="*/ 203 w 203"/>
                <a:gd name="T7" fmla="*/ 60 h 204"/>
                <a:gd name="T8" fmla="*/ 202 w 203"/>
                <a:gd name="T9" fmla="*/ 0 h 204"/>
                <a:gd name="T10" fmla="*/ 2 w 203"/>
                <a:gd name="T11" fmla="*/ 3 h 204"/>
                <a:gd name="T12" fmla="*/ 3 w 203"/>
                <a:gd name="T13" fmla="*/ 6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3" h="204">
                  <a:moveTo>
                    <a:pt x="3" y="60"/>
                  </a:moveTo>
                  <a:cubicBezTo>
                    <a:pt x="3" y="105"/>
                    <a:pt x="2" y="150"/>
                    <a:pt x="0" y="194"/>
                  </a:cubicBezTo>
                  <a:lnTo>
                    <a:pt x="200" y="204"/>
                  </a:lnTo>
                  <a:cubicBezTo>
                    <a:pt x="202" y="156"/>
                    <a:pt x="203" y="108"/>
                    <a:pt x="203" y="60"/>
                  </a:cubicBezTo>
                  <a:cubicBezTo>
                    <a:pt x="203" y="40"/>
                    <a:pt x="203" y="20"/>
                    <a:pt x="202" y="0"/>
                  </a:cubicBezTo>
                  <a:lnTo>
                    <a:pt x="2" y="3"/>
                  </a:lnTo>
                  <a:cubicBezTo>
                    <a:pt x="3" y="22"/>
                    <a:pt x="3" y="41"/>
                    <a:pt x="3" y="6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61"/>
            <p:cNvSpPr>
              <a:spLocks/>
            </p:cNvSpPr>
            <p:nvPr/>
          </p:nvSpPr>
          <p:spPr bwMode="auto">
            <a:xfrm>
              <a:off x="6354" y="-731"/>
              <a:ext cx="11" cy="12"/>
            </a:xfrm>
            <a:custGeom>
              <a:avLst/>
              <a:gdLst>
                <a:gd name="T0" fmla="*/ 222 w 222"/>
                <a:gd name="T1" fmla="*/ 27 h 225"/>
                <a:gd name="T2" fmla="*/ 20 w 222"/>
                <a:gd name="T3" fmla="*/ 0 h 225"/>
                <a:gd name="T4" fmla="*/ 0 w 222"/>
                <a:gd name="T5" fmla="*/ 199 h 225"/>
                <a:gd name="T6" fmla="*/ 189 w 222"/>
                <a:gd name="T7" fmla="*/ 225 h 225"/>
                <a:gd name="T8" fmla="*/ 222 w 222"/>
                <a:gd name="T9" fmla="*/ 27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225">
                  <a:moveTo>
                    <a:pt x="222" y="27"/>
                  </a:moveTo>
                  <a:cubicBezTo>
                    <a:pt x="156" y="16"/>
                    <a:pt x="88" y="7"/>
                    <a:pt x="20" y="0"/>
                  </a:cubicBezTo>
                  <a:lnTo>
                    <a:pt x="0" y="199"/>
                  </a:lnTo>
                  <a:cubicBezTo>
                    <a:pt x="63" y="205"/>
                    <a:pt x="126" y="214"/>
                    <a:pt x="189" y="225"/>
                  </a:cubicBezTo>
                  <a:lnTo>
                    <a:pt x="222" y="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62"/>
            <p:cNvSpPr>
              <a:spLocks/>
            </p:cNvSpPr>
            <p:nvPr/>
          </p:nvSpPr>
          <p:spPr bwMode="auto">
            <a:xfrm>
              <a:off x="6486" y="-613"/>
              <a:ext cx="13" cy="12"/>
            </a:xfrm>
            <a:custGeom>
              <a:avLst/>
              <a:gdLst>
                <a:gd name="T0" fmla="*/ 47 w 242"/>
                <a:gd name="T1" fmla="*/ 241 h 241"/>
                <a:gd name="T2" fmla="*/ 242 w 242"/>
                <a:gd name="T3" fmla="*/ 198 h 241"/>
                <a:gd name="T4" fmla="*/ 192 w 242"/>
                <a:gd name="T5" fmla="*/ 0 h 241"/>
                <a:gd name="T6" fmla="*/ 0 w 242"/>
                <a:gd name="T7" fmla="*/ 56 h 241"/>
                <a:gd name="T8" fmla="*/ 47 w 242"/>
                <a:gd name="T9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2" h="241">
                  <a:moveTo>
                    <a:pt x="47" y="241"/>
                  </a:moveTo>
                  <a:lnTo>
                    <a:pt x="242" y="198"/>
                  </a:lnTo>
                  <a:cubicBezTo>
                    <a:pt x="227" y="132"/>
                    <a:pt x="210" y="65"/>
                    <a:pt x="192" y="0"/>
                  </a:cubicBezTo>
                  <a:lnTo>
                    <a:pt x="0" y="56"/>
                  </a:lnTo>
                  <a:cubicBezTo>
                    <a:pt x="17" y="117"/>
                    <a:pt x="33" y="179"/>
                    <a:pt x="47" y="2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63"/>
            <p:cNvSpPr>
              <a:spLocks/>
            </p:cNvSpPr>
            <p:nvPr/>
          </p:nvSpPr>
          <p:spPr bwMode="auto">
            <a:xfrm>
              <a:off x="6393" y="-721"/>
              <a:ext cx="14" cy="14"/>
            </a:xfrm>
            <a:custGeom>
              <a:avLst/>
              <a:gdLst>
                <a:gd name="T0" fmla="*/ 260 w 260"/>
                <a:gd name="T1" fmla="*/ 79 h 261"/>
                <a:gd name="T2" fmla="*/ 72 w 260"/>
                <a:gd name="T3" fmla="*/ 0 h 261"/>
                <a:gd name="T4" fmla="*/ 0 w 260"/>
                <a:gd name="T5" fmla="*/ 186 h 261"/>
                <a:gd name="T6" fmla="*/ 176 w 260"/>
                <a:gd name="T7" fmla="*/ 261 h 261"/>
                <a:gd name="T8" fmla="*/ 260 w 260"/>
                <a:gd name="T9" fmla="*/ 79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261">
                  <a:moveTo>
                    <a:pt x="260" y="79"/>
                  </a:moveTo>
                  <a:cubicBezTo>
                    <a:pt x="198" y="50"/>
                    <a:pt x="135" y="24"/>
                    <a:pt x="72" y="0"/>
                  </a:cubicBezTo>
                  <a:lnTo>
                    <a:pt x="0" y="186"/>
                  </a:lnTo>
                  <a:cubicBezTo>
                    <a:pt x="60" y="209"/>
                    <a:pt x="118" y="234"/>
                    <a:pt x="176" y="261"/>
                  </a:cubicBezTo>
                  <a:lnTo>
                    <a:pt x="260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64"/>
            <p:cNvSpPr>
              <a:spLocks/>
            </p:cNvSpPr>
            <p:nvPr/>
          </p:nvSpPr>
          <p:spPr bwMode="auto">
            <a:xfrm>
              <a:off x="6490" y="-592"/>
              <a:ext cx="12" cy="11"/>
            </a:xfrm>
            <a:custGeom>
              <a:avLst/>
              <a:gdLst>
                <a:gd name="T0" fmla="*/ 23 w 222"/>
                <a:gd name="T1" fmla="*/ 220 h 220"/>
                <a:gd name="T2" fmla="*/ 222 w 222"/>
                <a:gd name="T3" fmla="*/ 203 h 220"/>
                <a:gd name="T4" fmla="*/ 198 w 222"/>
                <a:gd name="T5" fmla="*/ 0 h 220"/>
                <a:gd name="T6" fmla="*/ 0 w 222"/>
                <a:gd name="T7" fmla="*/ 30 h 220"/>
                <a:gd name="T8" fmla="*/ 23 w 222"/>
                <a:gd name="T9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220">
                  <a:moveTo>
                    <a:pt x="23" y="220"/>
                  </a:moveTo>
                  <a:lnTo>
                    <a:pt x="222" y="203"/>
                  </a:lnTo>
                  <a:cubicBezTo>
                    <a:pt x="216" y="134"/>
                    <a:pt x="208" y="67"/>
                    <a:pt x="198" y="0"/>
                  </a:cubicBezTo>
                  <a:lnTo>
                    <a:pt x="0" y="30"/>
                  </a:lnTo>
                  <a:cubicBezTo>
                    <a:pt x="10" y="93"/>
                    <a:pt x="17" y="156"/>
                    <a:pt x="23" y="2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65"/>
            <p:cNvSpPr>
              <a:spLocks/>
            </p:cNvSpPr>
            <p:nvPr/>
          </p:nvSpPr>
          <p:spPr bwMode="auto">
            <a:xfrm>
              <a:off x="6458" y="-671"/>
              <a:ext cx="15" cy="15"/>
            </a:xfrm>
            <a:custGeom>
              <a:avLst/>
              <a:gdLst>
                <a:gd name="T0" fmla="*/ 115 w 279"/>
                <a:gd name="T1" fmla="*/ 278 h 278"/>
                <a:gd name="T2" fmla="*/ 279 w 279"/>
                <a:gd name="T3" fmla="*/ 163 h 278"/>
                <a:gd name="T4" fmla="*/ 156 w 279"/>
                <a:gd name="T5" fmla="*/ 0 h 278"/>
                <a:gd name="T6" fmla="*/ 0 w 279"/>
                <a:gd name="T7" fmla="*/ 126 h 278"/>
                <a:gd name="T8" fmla="*/ 115 w 279"/>
                <a:gd name="T9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" h="278">
                  <a:moveTo>
                    <a:pt x="115" y="278"/>
                  </a:moveTo>
                  <a:lnTo>
                    <a:pt x="279" y="163"/>
                  </a:lnTo>
                  <a:cubicBezTo>
                    <a:pt x="240" y="108"/>
                    <a:pt x="199" y="53"/>
                    <a:pt x="156" y="0"/>
                  </a:cubicBezTo>
                  <a:lnTo>
                    <a:pt x="0" y="126"/>
                  </a:lnTo>
                  <a:cubicBezTo>
                    <a:pt x="40" y="175"/>
                    <a:pt x="78" y="226"/>
                    <a:pt x="115" y="27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66"/>
            <p:cNvSpPr>
              <a:spLocks/>
            </p:cNvSpPr>
            <p:nvPr/>
          </p:nvSpPr>
          <p:spPr bwMode="auto">
            <a:xfrm>
              <a:off x="6479" y="-634"/>
              <a:ext cx="13" cy="14"/>
            </a:xfrm>
            <a:custGeom>
              <a:avLst/>
              <a:gdLst>
                <a:gd name="T0" fmla="*/ 71 w 259"/>
                <a:gd name="T1" fmla="*/ 258 h 258"/>
                <a:gd name="T2" fmla="*/ 259 w 259"/>
                <a:gd name="T3" fmla="*/ 189 h 258"/>
                <a:gd name="T4" fmla="*/ 183 w 259"/>
                <a:gd name="T5" fmla="*/ 0 h 258"/>
                <a:gd name="T6" fmla="*/ 0 w 259"/>
                <a:gd name="T7" fmla="*/ 81 h 258"/>
                <a:gd name="T8" fmla="*/ 71 w 259"/>
                <a:gd name="T9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9" h="258">
                  <a:moveTo>
                    <a:pt x="71" y="258"/>
                  </a:moveTo>
                  <a:lnTo>
                    <a:pt x="259" y="189"/>
                  </a:lnTo>
                  <a:cubicBezTo>
                    <a:pt x="236" y="125"/>
                    <a:pt x="210" y="62"/>
                    <a:pt x="183" y="0"/>
                  </a:cubicBezTo>
                  <a:lnTo>
                    <a:pt x="0" y="81"/>
                  </a:lnTo>
                  <a:cubicBezTo>
                    <a:pt x="26" y="139"/>
                    <a:pt x="49" y="198"/>
                    <a:pt x="71" y="25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67"/>
            <p:cNvSpPr>
              <a:spLocks/>
            </p:cNvSpPr>
            <p:nvPr/>
          </p:nvSpPr>
          <p:spPr bwMode="auto">
            <a:xfrm>
              <a:off x="6444" y="-686"/>
              <a:ext cx="15" cy="14"/>
            </a:xfrm>
            <a:custGeom>
              <a:avLst/>
              <a:gdLst>
                <a:gd name="T0" fmla="*/ 281 w 281"/>
                <a:gd name="T1" fmla="*/ 146 h 281"/>
                <a:gd name="T2" fmla="*/ 138 w 281"/>
                <a:gd name="T3" fmla="*/ 0 h 281"/>
                <a:gd name="T4" fmla="*/ 0 w 281"/>
                <a:gd name="T5" fmla="*/ 145 h 281"/>
                <a:gd name="T6" fmla="*/ 133 w 281"/>
                <a:gd name="T7" fmla="*/ 281 h 281"/>
                <a:gd name="T8" fmla="*/ 281 w 281"/>
                <a:gd name="T9" fmla="*/ 14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1" h="281">
                  <a:moveTo>
                    <a:pt x="281" y="146"/>
                  </a:moveTo>
                  <a:cubicBezTo>
                    <a:pt x="235" y="96"/>
                    <a:pt x="187" y="47"/>
                    <a:pt x="138" y="0"/>
                  </a:cubicBezTo>
                  <a:lnTo>
                    <a:pt x="0" y="145"/>
                  </a:lnTo>
                  <a:cubicBezTo>
                    <a:pt x="46" y="189"/>
                    <a:pt x="90" y="234"/>
                    <a:pt x="133" y="281"/>
                  </a:cubicBezTo>
                  <a:lnTo>
                    <a:pt x="281" y="14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68"/>
            <p:cNvSpPr>
              <a:spLocks/>
            </p:cNvSpPr>
            <p:nvPr/>
          </p:nvSpPr>
          <p:spPr bwMode="auto">
            <a:xfrm>
              <a:off x="6411" y="-712"/>
              <a:ext cx="15" cy="15"/>
            </a:xfrm>
            <a:custGeom>
              <a:avLst/>
              <a:gdLst>
                <a:gd name="T0" fmla="*/ 272 w 272"/>
                <a:gd name="T1" fmla="*/ 103 h 272"/>
                <a:gd name="T2" fmla="*/ 95 w 272"/>
                <a:gd name="T3" fmla="*/ 0 h 272"/>
                <a:gd name="T4" fmla="*/ 0 w 272"/>
                <a:gd name="T5" fmla="*/ 176 h 272"/>
                <a:gd name="T6" fmla="*/ 165 w 272"/>
                <a:gd name="T7" fmla="*/ 272 h 272"/>
                <a:gd name="T8" fmla="*/ 272 w 272"/>
                <a:gd name="T9" fmla="*/ 10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2" h="272">
                  <a:moveTo>
                    <a:pt x="272" y="103"/>
                  </a:moveTo>
                  <a:cubicBezTo>
                    <a:pt x="215" y="67"/>
                    <a:pt x="155" y="32"/>
                    <a:pt x="95" y="0"/>
                  </a:cubicBezTo>
                  <a:lnTo>
                    <a:pt x="0" y="176"/>
                  </a:lnTo>
                  <a:cubicBezTo>
                    <a:pt x="56" y="206"/>
                    <a:pt x="111" y="238"/>
                    <a:pt x="165" y="272"/>
                  </a:cubicBezTo>
                  <a:lnTo>
                    <a:pt x="272" y="10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69"/>
            <p:cNvSpPr>
              <a:spLocks/>
            </p:cNvSpPr>
            <p:nvPr/>
          </p:nvSpPr>
          <p:spPr bwMode="auto">
            <a:xfrm>
              <a:off x="6484" y="-531"/>
              <a:ext cx="14" cy="13"/>
            </a:xfrm>
            <a:custGeom>
              <a:avLst/>
              <a:gdLst>
                <a:gd name="T0" fmla="*/ 0 w 246"/>
                <a:gd name="T1" fmla="*/ 184 h 244"/>
                <a:gd name="T2" fmla="*/ 190 w 246"/>
                <a:gd name="T3" fmla="*/ 244 h 244"/>
                <a:gd name="T4" fmla="*/ 246 w 246"/>
                <a:gd name="T5" fmla="*/ 48 h 244"/>
                <a:gd name="T6" fmla="*/ 52 w 246"/>
                <a:gd name="T7" fmla="*/ 0 h 244"/>
                <a:gd name="T8" fmla="*/ 0 w 246"/>
                <a:gd name="T9" fmla="*/ 18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244">
                  <a:moveTo>
                    <a:pt x="0" y="184"/>
                  </a:moveTo>
                  <a:lnTo>
                    <a:pt x="190" y="244"/>
                  </a:lnTo>
                  <a:cubicBezTo>
                    <a:pt x="211" y="179"/>
                    <a:pt x="230" y="113"/>
                    <a:pt x="246" y="48"/>
                  </a:cubicBezTo>
                  <a:lnTo>
                    <a:pt x="52" y="0"/>
                  </a:lnTo>
                  <a:cubicBezTo>
                    <a:pt x="36" y="62"/>
                    <a:pt x="19" y="123"/>
                    <a:pt x="0" y="18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70"/>
            <p:cNvSpPr>
              <a:spLocks/>
            </p:cNvSpPr>
            <p:nvPr/>
          </p:nvSpPr>
          <p:spPr bwMode="auto">
            <a:xfrm>
              <a:off x="6489" y="-550"/>
              <a:ext cx="12" cy="11"/>
            </a:xfrm>
            <a:custGeom>
              <a:avLst/>
              <a:gdLst>
                <a:gd name="T0" fmla="*/ 226 w 226"/>
                <a:gd name="T1" fmla="*/ 22 h 224"/>
                <a:gd name="T2" fmla="*/ 27 w 226"/>
                <a:gd name="T3" fmla="*/ 0 h 224"/>
                <a:gd name="T4" fmla="*/ 0 w 226"/>
                <a:gd name="T5" fmla="*/ 189 h 224"/>
                <a:gd name="T6" fmla="*/ 197 w 226"/>
                <a:gd name="T7" fmla="*/ 224 h 224"/>
                <a:gd name="T8" fmla="*/ 226 w 226"/>
                <a:gd name="T9" fmla="*/ 2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6" h="224">
                  <a:moveTo>
                    <a:pt x="226" y="22"/>
                  </a:moveTo>
                  <a:lnTo>
                    <a:pt x="27" y="0"/>
                  </a:lnTo>
                  <a:cubicBezTo>
                    <a:pt x="20" y="64"/>
                    <a:pt x="11" y="127"/>
                    <a:pt x="0" y="189"/>
                  </a:cubicBezTo>
                  <a:lnTo>
                    <a:pt x="197" y="224"/>
                  </a:lnTo>
                  <a:cubicBezTo>
                    <a:pt x="208" y="158"/>
                    <a:pt x="218" y="90"/>
                    <a:pt x="226" y="2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71"/>
            <p:cNvSpPr>
              <a:spLocks/>
            </p:cNvSpPr>
            <p:nvPr/>
          </p:nvSpPr>
          <p:spPr bwMode="auto">
            <a:xfrm>
              <a:off x="6428" y="-700"/>
              <a:ext cx="15" cy="14"/>
            </a:xfrm>
            <a:custGeom>
              <a:avLst/>
              <a:gdLst>
                <a:gd name="T0" fmla="*/ 278 w 278"/>
                <a:gd name="T1" fmla="*/ 126 h 279"/>
                <a:gd name="T2" fmla="*/ 118 w 278"/>
                <a:gd name="T3" fmla="*/ 0 h 279"/>
                <a:gd name="T4" fmla="*/ 0 w 278"/>
                <a:gd name="T5" fmla="*/ 162 h 279"/>
                <a:gd name="T6" fmla="*/ 150 w 278"/>
                <a:gd name="T7" fmla="*/ 279 h 279"/>
                <a:gd name="T8" fmla="*/ 278 w 278"/>
                <a:gd name="T9" fmla="*/ 126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" h="279">
                  <a:moveTo>
                    <a:pt x="278" y="126"/>
                  </a:moveTo>
                  <a:cubicBezTo>
                    <a:pt x="226" y="82"/>
                    <a:pt x="172" y="40"/>
                    <a:pt x="118" y="0"/>
                  </a:cubicBezTo>
                  <a:lnTo>
                    <a:pt x="0" y="162"/>
                  </a:lnTo>
                  <a:cubicBezTo>
                    <a:pt x="51" y="199"/>
                    <a:pt x="101" y="239"/>
                    <a:pt x="150" y="279"/>
                  </a:cubicBezTo>
                  <a:lnTo>
                    <a:pt x="278" y="12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72"/>
            <p:cNvSpPr>
              <a:spLocks/>
            </p:cNvSpPr>
            <p:nvPr/>
          </p:nvSpPr>
          <p:spPr bwMode="auto">
            <a:xfrm>
              <a:off x="6469" y="-653"/>
              <a:ext cx="15" cy="14"/>
            </a:xfrm>
            <a:custGeom>
              <a:avLst/>
              <a:gdLst>
                <a:gd name="T0" fmla="*/ 93 w 271"/>
                <a:gd name="T1" fmla="*/ 270 h 270"/>
                <a:gd name="T2" fmla="*/ 271 w 271"/>
                <a:gd name="T3" fmla="*/ 177 h 270"/>
                <a:gd name="T4" fmla="*/ 170 w 271"/>
                <a:gd name="T5" fmla="*/ 0 h 270"/>
                <a:gd name="T6" fmla="*/ 0 w 271"/>
                <a:gd name="T7" fmla="*/ 104 h 270"/>
                <a:gd name="T8" fmla="*/ 93 w 271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1" h="270">
                  <a:moveTo>
                    <a:pt x="93" y="270"/>
                  </a:moveTo>
                  <a:lnTo>
                    <a:pt x="271" y="177"/>
                  </a:lnTo>
                  <a:cubicBezTo>
                    <a:pt x="239" y="118"/>
                    <a:pt x="206" y="58"/>
                    <a:pt x="170" y="0"/>
                  </a:cubicBezTo>
                  <a:lnTo>
                    <a:pt x="0" y="104"/>
                  </a:lnTo>
                  <a:cubicBezTo>
                    <a:pt x="33" y="158"/>
                    <a:pt x="64" y="214"/>
                    <a:pt x="93" y="27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73"/>
            <p:cNvSpPr>
              <a:spLocks/>
            </p:cNvSpPr>
            <p:nvPr/>
          </p:nvSpPr>
          <p:spPr bwMode="auto">
            <a:xfrm>
              <a:off x="6177" y="-615"/>
              <a:ext cx="13" cy="13"/>
            </a:xfrm>
            <a:custGeom>
              <a:avLst/>
              <a:gdLst>
                <a:gd name="T0" fmla="*/ 244 w 244"/>
                <a:gd name="T1" fmla="*/ 58 h 242"/>
                <a:gd name="T2" fmla="*/ 52 w 244"/>
                <a:gd name="T3" fmla="*/ 0 h 242"/>
                <a:gd name="T4" fmla="*/ 0 w 244"/>
                <a:gd name="T5" fmla="*/ 198 h 242"/>
                <a:gd name="T6" fmla="*/ 195 w 244"/>
                <a:gd name="T7" fmla="*/ 242 h 242"/>
                <a:gd name="T8" fmla="*/ 244 w 244"/>
                <a:gd name="T9" fmla="*/ 58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4" h="242">
                  <a:moveTo>
                    <a:pt x="244" y="58"/>
                  </a:moveTo>
                  <a:lnTo>
                    <a:pt x="52" y="0"/>
                  </a:lnTo>
                  <a:cubicBezTo>
                    <a:pt x="33" y="66"/>
                    <a:pt x="15" y="132"/>
                    <a:pt x="0" y="198"/>
                  </a:cubicBezTo>
                  <a:lnTo>
                    <a:pt x="195" y="242"/>
                  </a:lnTo>
                  <a:cubicBezTo>
                    <a:pt x="209" y="180"/>
                    <a:pt x="226" y="118"/>
                    <a:pt x="244" y="5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74"/>
            <p:cNvSpPr>
              <a:spLocks/>
            </p:cNvSpPr>
            <p:nvPr/>
          </p:nvSpPr>
          <p:spPr bwMode="auto">
            <a:xfrm>
              <a:off x="6184" y="-635"/>
              <a:ext cx="13" cy="14"/>
            </a:xfrm>
            <a:custGeom>
              <a:avLst/>
              <a:gdLst>
                <a:gd name="T0" fmla="*/ 260 w 260"/>
                <a:gd name="T1" fmla="*/ 82 h 259"/>
                <a:gd name="T2" fmla="*/ 78 w 260"/>
                <a:gd name="T3" fmla="*/ 0 h 259"/>
                <a:gd name="T4" fmla="*/ 0 w 260"/>
                <a:gd name="T5" fmla="*/ 189 h 259"/>
                <a:gd name="T6" fmla="*/ 187 w 260"/>
                <a:gd name="T7" fmla="*/ 259 h 259"/>
                <a:gd name="T8" fmla="*/ 260 w 260"/>
                <a:gd name="T9" fmla="*/ 82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259">
                  <a:moveTo>
                    <a:pt x="260" y="82"/>
                  </a:moveTo>
                  <a:lnTo>
                    <a:pt x="78" y="0"/>
                  </a:lnTo>
                  <a:cubicBezTo>
                    <a:pt x="50" y="61"/>
                    <a:pt x="24" y="125"/>
                    <a:pt x="0" y="189"/>
                  </a:cubicBezTo>
                  <a:lnTo>
                    <a:pt x="187" y="259"/>
                  </a:lnTo>
                  <a:cubicBezTo>
                    <a:pt x="210" y="199"/>
                    <a:pt x="234" y="140"/>
                    <a:pt x="260" y="8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75"/>
            <p:cNvSpPr>
              <a:spLocks/>
            </p:cNvSpPr>
            <p:nvPr/>
          </p:nvSpPr>
          <p:spPr bwMode="auto">
            <a:xfrm>
              <a:off x="6193" y="-654"/>
              <a:ext cx="14" cy="14"/>
            </a:xfrm>
            <a:custGeom>
              <a:avLst/>
              <a:gdLst>
                <a:gd name="T0" fmla="*/ 271 w 271"/>
                <a:gd name="T1" fmla="*/ 105 h 271"/>
                <a:gd name="T2" fmla="*/ 101 w 271"/>
                <a:gd name="T3" fmla="*/ 0 h 271"/>
                <a:gd name="T4" fmla="*/ 0 w 271"/>
                <a:gd name="T5" fmla="*/ 177 h 271"/>
                <a:gd name="T6" fmla="*/ 176 w 271"/>
                <a:gd name="T7" fmla="*/ 271 h 271"/>
                <a:gd name="T8" fmla="*/ 271 w 271"/>
                <a:gd name="T9" fmla="*/ 10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1" h="271">
                  <a:moveTo>
                    <a:pt x="271" y="105"/>
                  </a:moveTo>
                  <a:lnTo>
                    <a:pt x="101" y="0"/>
                  </a:lnTo>
                  <a:cubicBezTo>
                    <a:pt x="66" y="58"/>
                    <a:pt x="31" y="117"/>
                    <a:pt x="0" y="177"/>
                  </a:cubicBezTo>
                  <a:lnTo>
                    <a:pt x="176" y="271"/>
                  </a:lnTo>
                  <a:cubicBezTo>
                    <a:pt x="206" y="215"/>
                    <a:pt x="238" y="160"/>
                    <a:pt x="271" y="10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76"/>
            <p:cNvSpPr>
              <a:spLocks/>
            </p:cNvSpPr>
            <p:nvPr/>
          </p:nvSpPr>
          <p:spPr bwMode="auto">
            <a:xfrm>
              <a:off x="6204" y="-672"/>
              <a:ext cx="15" cy="15"/>
            </a:xfrm>
            <a:custGeom>
              <a:avLst/>
              <a:gdLst>
                <a:gd name="T0" fmla="*/ 278 w 278"/>
                <a:gd name="T1" fmla="*/ 127 h 278"/>
                <a:gd name="T2" fmla="*/ 124 w 278"/>
                <a:gd name="T3" fmla="*/ 0 h 278"/>
                <a:gd name="T4" fmla="*/ 0 w 278"/>
                <a:gd name="T5" fmla="*/ 162 h 278"/>
                <a:gd name="T6" fmla="*/ 162 w 278"/>
                <a:gd name="T7" fmla="*/ 278 h 278"/>
                <a:gd name="T8" fmla="*/ 278 w 278"/>
                <a:gd name="T9" fmla="*/ 127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" h="278">
                  <a:moveTo>
                    <a:pt x="278" y="127"/>
                  </a:moveTo>
                  <a:lnTo>
                    <a:pt x="124" y="0"/>
                  </a:lnTo>
                  <a:cubicBezTo>
                    <a:pt x="81" y="53"/>
                    <a:pt x="39" y="107"/>
                    <a:pt x="0" y="162"/>
                  </a:cubicBezTo>
                  <a:lnTo>
                    <a:pt x="162" y="278"/>
                  </a:lnTo>
                  <a:cubicBezTo>
                    <a:pt x="199" y="227"/>
                    <a:pt x="238" y="176"/>
                    <a:pt x="278" y="12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77"/>
            <p:cNvSpPr>
              <a:spLocks/>
            </p:cNvSpPr>
            <p:nvPr/>
          </p:nvSpPr>
          <p:spPr bwMode="auto">
            <a:xfrm>
              <a:off x="6173" y="-572"/>
              <a:ext cx="11" cy="11"/>
            </a:xfrm>
            <a:custGeom>
              <a:avLst/>
              <a:gdLst>
                <a:gd name="T0" fmla="*/ 202 w 202"/>
                <a:gd name="T1" fmla="*/ 196 h 204"/>
                <a:gd name="T2" fmla="*/ 200 w 202"/>
                <a:gd name="T3" fmla="*/ 83 h 204"/>
                <a:gd name="T4" fmla="*/ 201 w 202"/>
                <a:gd name="T5" fmla="*/ 5 h 204"/>
                <a:gd name="T6" fmla="*/ 1 w 202"/>
                <a:gd name="T7" fmla="*/ 0 h 204"/>
                <a:gd name="T8" fmla="*/ 0 w 202"/>
                <a:gd name="T9" fmla="*/ 83 h 204"/>
                <a:gd name="T10" fmla="*/ 2 w 202"/>
                <a:gd name="T11" fmla="*/ 204 h 204"/>
                <a:gd name="T12" fmla="*/ 202 w 202"/>
                <a:gd name="T13" fmla="*/ 19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04">
                  <a:moveTo>
                    <a:pt x="202" y="196"/>
                  </a:moveTo>
                  <a:cubicBezTo>
                    <a:pt x="201" y="159"/>
                    <a:pt x="200" y="121"/>
                    <a:pt x="200" y="83"/>
                  </a:cubicBezTo>
                  <a:cubicBezTo>
                    <a:pt x="200" y="57"/>
                    <a:pt x="200" y="31"/>
                    <a:pt x="201" y="5"/>
                  </a:cubicBezTo>
                  <a:lnTo>
                    <a:pt x="1" y="0"/>
                  </a:lnTo>
                  <a:cubicBezTo>
                    <a:pt x="0" y="27"/>
                    <a:pt x="0" y="55"/>
                    <a:pt x="0" y="83"/>
                  </a:cubicBezTo>
                  <a:cubicBezTo>
                    <a:pt x="0" y="123"/>
                    <a:pt x="1" y="164"/>
                    <a:pt x="2" y="204"/>
                  </a:cubicBezTo>
                  <a:lnTo>
                    <a:pt x="202" y="19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8"/>
            <p:cNvSpPr>
              <a:spLocks/>
            </p:cNvSpPr>
            <p:nvPr/>
          </p:nvSpPr>
          <p:spPr bwMode="auto">
            <a:xfrm>
              <a:off x="6174" y="-594"/>
              <a:ext cx="12" cy="12"/>
            </a:xfrm>
            <a:custGeom>
              <a:avLst/>
              <a:gdLst>
                <a:gd name="T0" fmla="*/ 223 w 223"/>
                <a:gd name="T1" fmla="*/ 31 h 220"/>
                <a:gd name="T2" fmla="*/ 25 w 223"/>
                <a:gd name="T3" fmla="*/ 0 h 220"/>
                <a:gd name="T4" fmla="*/ 0 w 223"/>
                <a:gd name="T5" fmla="*/ 202 h 220"/>
                <a:gd name="T6" fmla="*/ 199 w 223"/>
                <a:gd name="T7" fmla="*/ 220 h 220"/>
                <a:gd name="T8" fmla="*/ 223 w 223"/>
                <a:gd name="T9" fmla="*/ 31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3" h="220">
                  <a:moveTo>
                    <a:pt x="223" y="31"/>
                  </a:moveTo>
                  <a:lnTo>
                    <a:pt x="25" y="0"/>
                  </a:lnTo>
                  <a:cubicBezTo>
                    <a:pt x="15" y="67"/>
                    <a:pt x="6" y="135"/>
                    <a:pt x="0" y="202"/>
                  </a:cubicBezTo>
                  <a:lnTo>
                    <a:pt x="199" y="220"/>
                  </a:lnTo>
                  <a:cubicBezTo>
                    <a:pt x="205" y="156"/>
                    <a:pt x="213" y="93"/>
                    <a:pt x="223" y="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79"/>
            <p:cNvSpPr>
              <a:spLocks/>
            </p:cNvSpPr>
            <p:nvPr/>
          </p:nvSpPr>
          <p:spPr bwMode="auto">
            <a:xfrm>
              <a:off x="6174" y="-552"/>
              <a:ext cx="12" cy="12"/>
            </a:xfrm>
            <a:custGeom>
              <a:avLst/>
              <a:gdLst>
                <a:gd name="T0" fmla="*/ 0 w 225"/>
                <a:gd name="T1" fmla="*/ 21 h 224"/>
                <a:gd name="T2" fmla="*/ 28 w 225"/>
                <a:gd name="T3" fmla="*/ 224 h 224"/>
                <a:gd name="T4" fmla="*/ 225 w 225"/>
                <a:gd name="T5" fmla="*/ 190 h 224"/>
                <a:gd name="T6" fmla="*/ 199 w 225"/>
                <a:gd name="T7" fmla="*/ 0 h 224"/>
                <a:gd name="T8" fmla="*/ 0 w 225"/>
                <a:gd name="T9" fmla="*/ 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224">
                  <a:moveTo>
                    <a:pt x="0" y="21"/>
                  </a:moveTo>
                  <a:cubicBezTo>
                    <a:pt x="7" y="90"/>
                    <a:pt x="16" y="157"/>
                    <a:pt x="28" y="224"/>
                  </a:cubicBezTo>
                  <a:lnTo>
                    <a:pt x="225" y="190"/>
                  </a:lnTo>
                  <a:cubicBezTo>
                    <a:pt x="214" y="127"/>
                    <a:pt x="205" y="64"/>
                    <a:pt x="199" y="0"/>
                  </a:cubicBezTo>
                  <a:lnTo>
                    <a:pt x="0" y="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80"/>
            <p:cNvSpPr>
              <a:spLocks/>
            </p:cNvSpPr>
            <p:nvPr/>
          </p:nvSpPr>
          <p:spPr bwMode="auto">
            <a:xfrm>
              <a:off x="6233" y="-701"/>
              <a:ext cx="15" cy="15"/>
            </a:xfrm>
            <a:custGeom>
              <a:avLst/>
              <a:gdLst>
                <a:gd name="T0" fmla="*/ 278 w 278"/>
                <a:gd name="T1" fmla="*/ 162 h 279"/>
                <a:gd name="T2" fmla="*/ 161 w 278"/>
                <a:gd name="T3" fmla="*/ 0 h 279"/>
                <a:gd name="T4" fmla="*/ 0 w 278"/>
                <a:gd name="T5" fmla="*/ 124 h 279"/>
                <a:gd name="T6" fmla="*/ 127 w 278"/>
                <a:gd name="T7" fmla="*/ 279 h 279"/>
                <a:gd name="T8" fmla="*/ 278 w 278"/>
                <a:gd name="T9" fmla="*/ 162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" h="279">
                  <a:moveTo>
                    <a:pt x="278" y="162"/>
                  </a:moveTo>
                  <a:lnTo>
                    <a:pt x="161" y="0"/>
                  </a:lnTo>
                  <a:cubicBezTo>
                    <a:pt x="106" y="39"/>
                    <a:pt x="52" y="81"/>
                    <a:pt x="0" y="124"/>
                  </a:cubicBezTo>
                  <a:lnTo>
                    <a:pt x="127" y="279"/>
                  </a:lnTo>
                  <a:cubicBezTo>
                    <a:pt x="176" y="238"/>
                    <a:pt x="226" y="199"/>
                    <a:pt x="278" y="16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81"/>
            <p:cNvSpPr>
              <a:spLocks/>
            </p:cNvSpPr>
            <p:nvPr/>
          </p:nvSpPr>
          <p:spPr bwMode="auto">
            <a:xfrm>
              <a:off x="6270" y="-721"/>
              <a:ext cx="14" cy="13"/>
            </a:xfrm>
            <a:custGeom>
              <a:avLst/>
              <a:gdLst>
                <a:gd name="T0" fmla="*/ 258 w 258"/>
                <a:gd name="T1" fmla="*/ 188 h 260"/>
                <a:gd name="T2" fmla="*/ 188 w 258"/>
                <a:gd name="T3" fmla="*/ 0 h 260"/>
                <a:gd name="T4" fmla="*/ 0 w 258"/>
                <a:gd name="T5" fmla="*/ 78 h 260"/>
                <a:gd name="T6" fmla="*/ 82 w 258"/>
                <a:gd name="T7" fmla="*/ 260 h 260"/>
                <a:gd name="T8" fmla="*/ 258 w 258"/>
                <a:gd name="T9" fmla="*/ 188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8" h="260">
                  <a:moveTo>
                    <a:pt x="258" y="188"/>
                  </a:moveTo>
                  <a:lnTo>
                    <a:pt x="188" y="0"/>
                  </a:lnTo>
                  <a:cubicBezTo>
                    <a:pt x="124" y="24"/>
                    <a:pt x="61" y="50"/>
                    <a:pt x="0" y="78"/>
                  </a:cubicBezTo>
                  <a:lnTo>
                    <a:pt x="82" y="260"/>
                  </a:lnTo>
                  <a:cubicBezTo>
                    <a:pt x="140" y="234"/>
                    <a:pt x="199" y="210"/>
                    <a:pt x="258" y="18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82"/>
            <p:cNvSpPr>
              <a:spLocks/>
            </p:cNvSpPr>
            <p:nvPr/>
          </p:nvSpPr>
          <p:spPr bwMode="auto">
            <a:xfrm>
              <a:off x="6290" y="-728"/>
              <a:ext cx="13" cy="13"/>
            </a:xfrm>
            <a:custGeom>
              <a:avLst/>
              <a:gdLst>
                <a:gd name="T0" fmla="*/ 243 w 243"/>
                <a:gd name="T1" fmla="*/ 195 h 243"/>
                <a:gd name="T2" fmla="*/ 198 w 243"/>
                <a:gd name="T3" fmla="*/ 0 h 243"/>
                <a:gd name="T4" fmla="*/ 0 w 243"/>
                <a:gd name="T5" fmla="*/ 52 h 243"/>
                <a:gd name="T6" fmla="*/ 58 w 243"/>
                <a:gd name="T7" fmla="*/ 243 h 243"/>
                <a:gd name="T8" fmla="*/ 243 w 243"/>
                <a:gd name="T9" fmla="*/ 19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243">
                  <a:moveTo>
                    <a:pt x="243" y="195"/>
                  </a:moveTo>
                  <a:lnTo>
                    <a:pt x="198" y="0"/>
                  </a:lnTo>
                  <a:cubicBezTo>
                    <a:pt x="132" y="15"/>
                    <a:pt x="65" y="32"/>
                    <a:pt x="0" y="52"/>
                  </a:cubicBezTo>
                  <a:lnTo>
                    <a:pt x="58" y="243"/>
                  </a:lnTo>
                  <a:cubicBezTo>
                    <a:pt x="119" y="225"/>
                    <a:pt x="181" y="209"/>
                    <a:pt x="243" y="19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83"/>
            <p:cNvSpPr>
              <a:spLocks/>
            </p:cNvSpPr>
            <p:nvPr/>
          </p:nvSpPr>
          <p:spPr bwMode="auto">
            <a:xfrm>
              <a:off x="6311" y="-731"/>
              <a:ext cx="12" cy="12"/>
            </a:xfrm>
            <a:custGeom>
              <a:avLst/>
              <a:gdLst>
                <a:gd name="T0" fmla="*/ 221 w 221"/>
                <a:gd name="T1" fmla="*/ 199 h 223"/>
                <a:gd name="T2" fmla="*/ 203 w 221"/>
                <a:gd name="T3" fmla="*/ 0 h 223"/>
                <a:gd name="T4" fmla="*/ 0 w 221"/>
                <a:gd name="T5" fmla="*/ 26 h 223"/>
                <a:gd name="T6" fmla="*/ 32 w 221"/>
                <a:gd name="T7" fmla="*/ 223 h 223"/>
                <a:gd name="T8" fmla="*/ 221 w 221"/>
                <a:gd name="T9" fmla="*/ 19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1" h="223">
                  <a:moveTo>
                    <a:pt x="221" y="199"/>
                  </a:moveTo>
                  <a:lnTo>
                    <a:pt x="203" y="0"/>
                  </a:lnTo>
                  <a:cubicBezTo>
                    <a:pt x="136" y="6"/>
                    <a:pt x="68" y="15"/>
                    <a:pt x="0" y="26"/>
                  </a:cubicBezTo>
                  <a:lnTo>
                    <a:pt x="32" y="223"/>
                  </a:lnTo>
                  <a:cubicBezTo>
                    <a:pt x="95" y="213"/>
                    <a:pt x="158" y="205"/>
                    <a:pt x="221" y="1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84"/>
            <p:cNvSpPr>
              <a:spLocks/>
            </p:cNvSpPr>
            <p:nvPr/>
          </p:nvSpPr>
          <p:spPr bwMode="auto">
            <a:xfrm>
              <a:off x="6251" y="-712"/>
              <a:ext cx="14" cy="14"/>
            </a:xfrm>
            <a:custGeom>
              <a:avLst/>
              <a:gdLst>
                <a:gd name="T0" fmla="*/ 271 w 271"/>
                <a:gd name="T1" fmla="*/ 177 h 272"/>
                <a:gd name="T2" fmla="*/ 177 w 271"/>
                <a:gd name="T3" fmla="*/ 0 h 272"/>
                <a:gd name="T4" fmla="*/ 0 w 271"/>
                <a:gd name="T5" fmla="*/ 102 h 272"/>
                <a:gd name="T6" fmla="*/ 106 w 271"/>
                <a:gd name="T7" fmla="*/ 272 h 272"/>
                <a:gd name="T8" fmla="*/ 271 w 271"/>
                <a:gd name="T9" fmla="*/ 177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1" h="272">
                  <a:moveTo>
                    <a:pt x="271" y="177"/>
                  </a:moveTo>
                  <a:lnTo>
                    <a:pt x="177" y="0"/>
                  </a:lnTo>
                  <a:cubicBezTo>
                    <a:pt x="117" y="32"/>
                    <a:pt x="57" y="67"/>
                    <a:pt x="0" y="102"/>
                  </a:cubicBezTo>
                  <a:lnTo>
                    <a:pt x="106" y="272"/>
                  </a:lnTo>
                  <a:cubicBezTo>
                    <a:pt x="160" y="239"/>
                    <a:pt x="215" y="207"/>
                    <a:pt x="271" y="17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85"/>
            <p:cNvSpPr>
              <a:spLocks/>
            </p:cNvSpPr>
            <p:nvPr/>
          </p:nvSpPr>
          <p:spPr bwMode="auto">
            <a:xfrm>
              <a:off x="6333" y="-732"/>
              <a:ext cx="11" cy="11"/>
            </a:xfrm>
            <a:custGeom>
              <a:avLst/>
              <a:gdLst>
                <a:gd name="T0" fmla="*/ 82 w 204"/>
                <a:gd name="T1" fmla="*/ 200 h 202"/>
                <a:gd name="T2" fmla="*/ 197 w 204"/>
                <a:gd name="T3" fmla="*/ 202 h 202"/>
                <a:gd name="T4" fmla="*/ 204 w 204"/>
                <a:gd name="T5" fmla="*/ 2 h 202"/>
                <a:gd name="T6" fmla="*/ 91 w 204"/>
                <a:gd name="T7" fmla="*/ 0 h 202"/>
                <a:gd name="T8" fmla="*/ 0 w 204"/>
                <a:gd name="T9" fmla="*/ 1 h 202"/>
                <a:gd name="T10" fmla="*/ 6 w 204"/>
                <a:gd name="T11" fmla="*/ 201 h 202"/>
                <a:gd name="T12" fmla="*/ 82 w 204"/>
                <a:gd name="T13" fmla="*/ 20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202">
                  <a:moveTo>
                    <a:pt x="82" y="200"/>
                  </a:moveTo>
                  <a:cubicBezTo>
                    <a:pt x="120" y="200"/>
                    <a:pt x="159" y="201"/>
                    <a:pt x="197" y="202"/>
                  </a:cubicBezTo>
                  <a:lnTo>
                    <a:pt x="204" y="2"/>
                  </a:lnTo>
                  <a:cubicBezTo>
                    <a:pt x="167" y="1"/>
                    <a:pt x="129" y="0"/>
                    <a:pt x="91" y="0"/>
                  </a:cubicBezTo>
                  <a:cubicBezTo>
                    <a:pt x="61" y="0"/>
                    <a:pt x="30" y="0"/>
                    <a:pt x="0" y="1"/>
                  </a:cubicBezTo>
                  <a:lnTo>
                    <a:pt x="6" y="201"/>
                  </a:lnTo>
                  <a:cubicBezTo>
                    <a:pt x="31" y="200"/>
                    <a:pt x="57" y="200"/>
                    <a:pt x="82" y="2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86"/>
            <p:cNvSpPr>
              <a:spLocks/>
            </p:cNvSpPr>
            <p:nvPr/>
          </p:nvSpPr>
          <p:spPr bwMode="auto">
            <a:xfrm>
              <a:off x="6218" y="-687"/>
              <a:ext cx="15" cy="15"/>
            </a:xfrm>
            <a:custGeom>
              <a:avLst/>
              <a:gdLst>
                <a:gd name="T0" fmla="*/ 281 w 281"/>
                <a:gd name="T1" fmla="*/ 146 h 281"/>
                <a:gd name="T2" fmla="*/ 145 w 281"/>
                <a:gd name="T3" fmla="*/ 0 h 281"/>
                <a:gd name="T4" fmla="*/ 0 w 281"/>
                <a:gd name="T5" fmla="*/ 144 h 281"/>
                <a:gd name="T6" fmla="*/ 146 w 281"/>
                <a:gd name="T7" fmla="*/ 281 h 281"/>
                <a:gd name="T8" fmla="*/ 281 w 281"/>
                <a:gd name="T9" fmla="*/ 14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1" h="281">
                  <a:moveTo>
                    <a:pt x="281" y="146"/>
                  </a:moveTo>
                  <a:lnTo>
                    <a:pt x="145" y="0"/>
                  </a:lnTo>
                  <a:cubicBezTo>
                    <a:pt x="96" y="46"/>
                    <a:pt x="47" y="94"/>
                    <a:pt x="0" y="144"/>
                  </a:cubicBezTo>
                  <a:lnTo>
                    <a:pt x="146" y="281"/>
                  </a:lnTo>
                  <a:cubicBezTo>
                    <a:pt x="190" y="234"/>
                    <a:pt x="236" y="189"/>
                    <a:pt x="281" y="14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5" name="Group 89"/>
          <p:cNvGrpSpPr>
            <a:grpSpLocks noChangeAspect="1"/>
          </p:cNvGrpSpPr>
          <p:nvPr/>
        </p:nvGrpSpPr>
        <p:grpSpPr bwMode="auto">
          <a:xfrm>
            <a:off x="4395816" y="1447131"/>
            <a:ext cx="397699" cy="385200"/>
            <a:chOff x="5242" y="-778"/>
            <a:chExt cx="350" cy="339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77" name="Freeform 90"/>
            <p:cNvSpPr>
              <a:spLocks noEditPoints="1"/>
            </p:cNvSpPr>
            <p:nvPr/>
          </p:nvSpPr>
          <p:spPr bwMode="auto">
            <a:xfrm>
              <a:off x="5242" y="-778"/>
              <a:ext cx="350" cy="339"/>
            </a:xfrm>
            <a:custGeom>
              <a:avLst/>
              <a:gdLst>
                <a:gd name="T0" fmla="*/ 4308 w 6620"/>
                <a:gd name="T1" fmla="*/ 2 h 6402"/>
                <a:gd name="T2" fmla="*/ 2454 w 6620"/>
                <a:gd name="T3" fmla="*/ 1076 h 6402"/>
                <a:gd name="T4" fmla="*/ 2472 w 6620"/>
                <a:gd name="T5" fmla="*/ 3217 h 6402"/>
                <a:gd name="T6" fmla="*/ 197 w 6620"/>
                <a:gd name="T7" fmla="*/ 5493 h 6402"/>
                <a:gd name="T8" fmla="*/ 82 w 6620"/>
                <a:gd name="T9" fmla="*/ 6073 h 6402"/>
                <a:gd name="T10" fmla="*/ 574 w 6620"/>
                <a:gd name="T11" fmla="*/ 6402 h 6402"/>
                <a:gd name="T12" fmla="*/ 951 w 6620"/>
                <a:gd name="T13" fmla="*/ 6246 h 6402"/>
                <a:gd name="T14" fmla="*/ 1216 w 6620"/>
                <a:gd name="T15" fmla="*/ 5981 h 6402"/>
                <a:gd name="T16" fmla="*/ 1219 w 6620"/>
                <a:gd name="T17" fmla="*/ 5979 h 6402"/>
                <a:gd name="T18" fmla="*/ 1221 w 6620"/>
                <a:gd name="T19" fmla="*/ 5976 h 6402"/>
                <a:gd name="T20" fmla="*/ 1536 w 6620"/>
                <a:gd name="T21" fmla="*/ 5661 h 6402"/>
                <a:gd name="T22" fmla="*/ 1539 w 6620"/>
                <a:gd name="T23" fmla="*/ 5659 h 6402"/>
                <a:gd name="T24" fmla="*/ 1541 w 6620"/>
                <a:gd name="T25" fmla="*/ 5656 h 6402"/>
                <a:gd name="T26" fmla="*/ 3226 w 6620"/>
                <a:gd name="T27" fmla="*/ 3971 h 6402"/>
                <a:gd name="T28" fmla="*/ 5670 w 6620"/>
                <a:gd name="T29" fmla="*/ 3776 h 6402"/>
                <a:gd name="T30" fmla="*/ 6315 w 6620"/>
                <a:gd name="T31" fmla="*/ 1410 h 6402"/>
                <a:gd name="T32" fmla="*/ 4308 w 6620"/>
                <a:gd name="T33" fmla="*/ 2 h 6402"/>
                <a:gd name="T34" fmla="*/ 1462 w 6620"/>
                <a:gd name="T35" fmla="*/ 5433 h 6402"/>
                <a:gd name="T36" fmla="*/ 1290 w 6620"/>
                <a:gd name="T37" fmla="*/ 5260 h 6402"/>
                <a:gd name="T38" fmla="*/ 1140 w 6620"/>
                <a:gd name="T39" fmla="*/ 5261 h 6402"/>
                <a:gd name="T40" fmla="*/ 1139 w 6620"/>
                <a:gd name="T41" fmla="*/ 5411 h 6402"/>
                <a:gd name="T42" fmla="*/ 1312 w 6620"/>
                <a:gd name="T43" fmla="*/ 5583 h 6402"/>
                <a:gd name="T44" fmla="*/ 1142 w 6620"/>
                <a:gd name="T45" fmla="*/ 5753 h 6402"/>
                <a:gd name="T46" fmla="*/ 970 w 6620"/>
                <a:gd name="T47" fmla="*/ 5580 h 6402"/>
                <a:gd name="T48" fmla="*/ 866 w 6620"/>
                <a:gd name="T49" fmla="*/ 5551 h 6402"/>
                <a:gd name="T50" fmla="*/ 790 w 6620"/>
                <a:gd name="T51" fmla="*/ 5627 h 6402"/>
                <a:gd name="T52" fmla="*/ 819 w 6620"/>
                <a:gd name="T53" fmla="*/ 5731 h 6402"/>
                <a:gd name="T54" fmla="*/ 992 w 6620"/>
                <a:gd name="T55" fmla="*/ 5903 h 6402"/>
                <a:gd name="T56" fmla="*/ 800 w 6620"/>
                <a:gd name="T57" fmla="*/ 6095 h 6402"/>
                <a:gd name="T58" fmla="*/ 574 w 6620"/>
                <a:gd name="T59" fmla="*/ 6189 h 6402"/>
                <a:gd name="T60" fmla="*/ 280 w 6620"/>
                <a:gd name="T61" fmla="*/ 5991 h 6402"/>
                <a:gd name="T62" fmla="*/ 348 w 6620"/>
                <a:gd name="T63" fmla="*/ 5643 h 6402"/>
                <a:gd name="T64" fmla="*/ 2593 w 6620"/>
                <a:gd name="T65" fmla="*/ 3399 h 6402"/>
                <a:gd name="T66" fmla="*/ 3044 w 6620"/>
                <a:gd name="T67" fmla="*/ 3850 h 6402"/>
                <a:gd name="T68" fmla="*/ 1462 w 6620"/>
                <a:gd name="T69" fmla="*/ 5433 h 6402"/>
                <a:gd name="T70" fmla="*/ 4308 w 6620"/>
                <a:gd name="T71" fmla="*/ 4055 h 6402"/>
                <a:gd name="T72" fmla="*/ 2388 w 6620"/>
                <a:gd name="T73" fmla="*/ 2135 h 6402"/>
                <a:gd name="T74" fmla="*/ 4308 w 6620"/>
                <a:gd name="T75" fmla="*/ 215 h 6402"/>
                <a:gd name="T76" fmla="*/ 6228 w 6620"/>
                <a:gd name="T77" fmla="*/ 2135 h 6402"/>
                <a:gd name="T78" fmla="*/ 4308 w 6620"/>
                <a:gd name="T79" fmla="*/ 4055 h 6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620" h="6402">
                  <a:moveTo>
                    <a:pt x="4308" y="2"/>
                  </a:moveTo>
                  <a:cubicBezTo>
                    <a:pt x="3542" y="0"/>
                    <a:pt x="2834" y="410"/>
                    <a:pt x="2454" y="1076"/>
                  </a:cubicBezTo>
                  <a:cubicBezTo>
                    <a:pt x="2075" y="1741"/>
                    <a:pt x="2082" y="2559"/>
                    <a:pt x="2472" y="3217"/>
                  </a:cubicBezTo>
                  <a:lnTo>
                    <a:pt x="197" y="5493"/>
                  </a:lnTo>
                  <a:cubicBezTo>
                    <a:pt x="45" y="5645"/>
                    <a:pt x="0" y="5874"/>
                    <a:pt x="82" y="6073"/>
                  </a:cubicBezTo>
                  <a:cubicBezTo>
                    <a:pt x="165" y="6272"/>
                    <a:pt x="359" y="6402"/>
                    <a:pt x="574" y="6402"/>
                  </a:cubicBezTo>
                  <a:cubicBezTo>
                    <a:pt x="716" y="6402"/>
                    <a:pt x="851" y="6346"/>
                    <a:pt x="951" y="6246"/>
                  </a:cubicBezTo>
                  <a:lnTo>
                    <a:pt x="1216" y="5981"/>
                  </a:lnTo>
                  <a:cubicBezTo>
                    <a:pt x="1216" y="5981"/>
                    <a:pt x="1218" y="5980"/>
                    <a:pt x="1219" y="5979"/>
                  </a:cubicBezTo>
                  <a:cubicBezTo>
                    <a:pt x="1220" y="5978"/>
                    <a:pt x="1220" y="5977"/>
                    <a:pt x="1221" y="5976"/>
                  </a:cubicBezTo>
                  <a:lnTo>
                    <a:pt x="1536" y="5661"/>
                  </a:lnTo>
                  <a:cubicBezTo>
                    <a:pt x="1536" y="5661"/>
                    <a:pt x="1538" y="5660"/>
                    <a:pt x="1539" y="5659"/>
                  </a:cubicBezTo>
                  <a:cubicBezTo>
                    <a:pt x="1540" y="5658"/>
                    <a:pt x="1540" y="5657"/>
                    <a:pt x="1541" y="5656"/>
                  </a:cubicBezTo>
                  <a:lnTo>
                    <a:pt x="3226" y="3971"/>
                  </a:lnTo>
                  <a:cubicBezTo>
                    <a:pt x="4001" y="4427"/>
                    <a:pt x="4978" y="4349"/>
                    <a:pt x="5670" y="3776"/>
                  </a:cubicBezTo>
                  <a:cubicBezTo>
                    <a:pt x="6362" y="3202"/>
                    <a:pt x="6620" y="2256"/>
                    <a:pt x="6315" y="1410"/>
                  </a:cubicBezTo>
                  <a:cubicBezTo>
                    <a:pt x="6009" y="565"/>
                    <a:pt x="5207" y="1"/>
                    <a:pt x="4308" y="2"/>
                  </a:cubicBezTo>
                  <a:close/>
                  <a:moveTo>
                    <a:pt x="1462" y="5433"/>
                  </a:moveTo>
                  <a:lnTo>
                    <a:pt x="1290" y="5260"/>
                  </a:lnTo>
                  <a:cubicBezTo>
                    <a:pt x="1248" y="5219"/>
                    <a:pt x="1181" y="5220"/>
                    <a:pt x="1140" y="5261"/>
                  </a:cubicBezTo>
                  <a:cubicBezTo>
                    <a:pt x="1099" y="5302"/>
                    <a:pt x="1098" y="5369"/>
                    <a:pt x="1139" y="5411"/>
                  </a:cubicBezTo>
                  <a:lnTo>
                    <a:pt x="1312" y="5583"/>
                  </a:lnTo>
                  <a:lnTo>
                    <a:pt x="1142" y="5753"/>
                  </a:lnTo>
                  <a:lnTo>
                    <a:pt x="970" y="5580"/>
                  </a:lnTo>
                  <a:cubicBezTo>
                    <a:pt x="943" y="5552"/>
                    <a:pt x="903" y="5541"/>
                    <a:pt x="866" y="5551"/>
                  </a:cubicBezTo>
                  <a:cubicBezTo>
                    <a:pt x="829" y="5561"/>
                    <a:pt x="800" y="5590"/>
                    <a:pt x="790" y="5627"/>
                  </a:cubicBezTo>
                  <a:cubicBezTo>
                    <a:pt x="780" y="5664"/>
                    <a:pt x="791" y="5704"/>
                    <a:pt x="819" y="5731"/>
                  </a:cubicBezTo>
                  <a:lnTo>
                    <a:pt x="992" y="5903"/>
                  </a:lnTo>
                  <a:lnTo>
                    <a:pt x="800" y="6095"/>
                  </a:lnTo>
                  <a:cubicBezTo>
                    <a:pt x="740" y="6155"/>
                    <a:pt x="659" y="6189"/>
                    <a:pt x="574" y="6189"/>
                  </a:cubicBezTo>
                  <a:cubicBezTo>
                    <a:pt x="445" y="6188"/>
                    <a:pt x="329" y="6110"/>
                    <a:pt x="280" y="5991"/>
                  </a:cubicBezTo>
                  <a:cubicBezTo>
                    <a:pt x="231" y="5872"/>
                    <a:pt x="258" y="5735"/>
                    <a:pt x="348" y="5643"/>
                  </a:cubicBezTo>
                  <a:lnTo>
                    <a:pt x="2593" y="3399"/>
                  </a:lnTo>
                  <a:cubicBezTo>
                    <a:pt x="2720" y="3571"/>
                    <a:pt x="2872" y="3723"/>
                    <a:pt x="3044" y="3850"/>
                  </a:cubicBezTo>
                  <a:lnTo>
                    <a:pt x="1462" y="5433"/>
                  </a:lnTo>
                  <a:close/>
                  <a:moveTo>
                    <a:pt x="4308" y="4055"/>
                  </a:moveTo>
                  <a:cubicBezTo>
                    <a:pt x="3247" y="4055"/>
                    <a:pt x="2388" y="3196"/>
                    <a:pt x="2388" y="2135"/>
                  </a:cubicBezTo>
                  <a:cubicBezTo>
                    <a:pt x="2388" y="1075"/>
                    <a:pt x="3247" y="215"/>
                    <a:pt x="4308" y="215"/>
                  </a:cubicBezTo>
                  <a:cubicBezTo>
                    <a:pt x="5368" y="215"/>
                    <a:pt x="6228" y="1075"/>
                    <a:pt x="6228" y="2135"/>
                  </a:cubicBezTo>
                  <a:cubicBezTo>
                    <a:pt x="6226" y="3195"/>
                    <a:pt x="5368" y="4054"/>
                    <a:pt x="4308" y="40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91"/>
            <p:cNvSpPr>
              <a:spLocks/>
            </p:cNvSpPr>
            <p:nvPr/>
          </p:nvSpPr>
          <p:spPr bwMode="auto">
            <a:xfrm>
              <a:off x="5377" y="-758"/>
              <a:ext cx="142" cy="141"/>
            </a:xfrm>
            <a:custGeom>
              <a:avLst/>
              <a:gdLst>
                <a:gd name="T0" fmla="*/ 772 w 2679"/>
                <a:gd name="T1" fmla="*/ 772 h 2666"/>
                <a:gd name="T2" fmla="*/ 2500 w 2679"/>
                <a:gd name="T3" fmla="*/ 584 h 2666"/>
                <a:gd name="T4" fmla="*/ 2648 w 2679"/>
                <a:gd name="T5" fmla="*/ 552 h 2666"/>
                <a:gd name="T6" fmla="*/ 2615 w 2679"/>
                <a:gd name="T7" fmla="*/ 404 h 2666"/>
                <a:gd name="T8" fmla="*/ 621 w 2679"/>
                <a:gd name="T9" fmla="*/ 622 h 2666"/>
                <a:gd name="T10" fmla="*/ 405 w 2679"/>
                <a:gd name="T11" fmla="*/ 2615 h 2666"/>
                <a:gd name="T12" fmla="*/ 499 w 2679"/>
                <a:gd name="T13" fmla="*/ 2664 h 2666"/>
                <a:gd name="T14" fmla="*/ 589 w 2679"/>
                <a:gd name="T15" fmla="*/ 2607 h 2666"/>
                <a:gd name="T16" fmla="*/ 584 w 2679"/>
                <a:gd name="T17" fmla="*/ 2500 h 2666"/>
                <a:gd name="T18" fmla="*/ 772 w 2679"/>
                <a:gd name="T19" fmla="*/ 772 h 2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79" h="2666">
                  <a:moveTo>
                    <a:pt x="772" y="772"/>
                  </a:moveTo>
                  <a:cubicBezTo>
                    <a:pt x="1234" y="314"/>
                    <a:pt x="1951" y="237"/>
                    <a:pt x="2500" y="584"/>
                  </a:cubicBezTo>
                  <a:cubicBezTo>
                    <a:pt x="2550" y="616"/>
                    <a:pt x="2616" y="601"/>
                    <a:pt x="2648" y="552"/>
                  </a:cubicBezTo>
                  <a:cubicBezTo>
                    <a:pt x="2679" y="502"/>
                    <a:pt x="2665" y="436"/>
                    <a:pt x="2615" y="404"/>
                  </a:cubicBezTo>
                  <a:cubicBezTo>
                    <a:pt x="1982" y="0"/>
                    <a:pt x="1153" y="90"/>
                    <a:pt x="621" y="622"/>
                  </a:cubicBezTo>
                  <a:cubicBezTo>
                    <a:pt x="90" y="1153"/>
                    <a:pt x="0" y="1982"/>
                    <a:pt x="405" y="2615"/>
                  </a:cubicBezTo>
                  <a:cubicBezTo>
                    <a:pt x="425" y="2647"/>
                    <a:pt x="461" y="2666"/>
                    <a:pt x="499" y="2664"/>
                  </a:cubicBezTo>
                  <a:cubicBezTo>
                    <a:pt x="538" y="2663"/>
                    <a:pt x="572" y="2641"/>
                    <a:pt x="589" y="2607"/>
                  </a:cubicBezTo>
                  <a:cubicBezTo>
                    <a:pt x="607" y="2573"/>
                    <a:pt x="605" y="2532"/>
                    <a:pt x="584" y="2500"/>
                  </a:cubicBezTo>
                  <a:cubicBezTo>
                    <a:pt x="237" y="1951"/>
                    <a:pt x="314" y="1234"/>
                    <a:pt x="772" y="7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92"/>
            <p:cNvSpPr>
              <a:spLocks/>
            </p:cNvSpPr>
            <p:nvPr/>
          </p:nvSpPr>
          <p:spPr bwMode="auto">
            <a:xfrm>
              <a:off x="5421" y="-714"/>
              <a:ext cx="141" cy="141"/>
            </a:xfrm>
            <a:custGeom>
              <a:avLst/>
              <a:gdLst>
                <a:gd name="T0" fmla="*/ 2128 w 2677"/>
                <a:gd name="T1" fmla="*/ 21 h 2666"/>
                <a:gd name="T2" fmla="*/ 2096 w 2677"/>
                <a:gd name="T3" fmla="*/ 168 h 2666"/>
                <a:gd name="T4" fmla="*/ 1909 w 2677"/>
                <a:gd name="T5" fmla="*/ 1897 h 2666"/>
                <a:gd name="T6" fmla="*/ 180 w 2677"/>
                <a:gd name="T7" fmla="*/ 2085 h 2666"/>
                <a:gd name="T8" fmla="*/ 32 w 2677"/>
                <a:gd name="T9" fmla="*/ 2117 h 2666"/>
                <a:gd name="T10" fmla="*/ 65 w 2677"/>
                <a:gd name="T11" fmla="*/ 2264 h 2666"/>
                <a:gd name="T12" fmla="*/ 2059 w 2677"/>
                <a:gd name="T13" fmla="*/ 2048 h 2666"/>
                <a:gd name="T14" fmla="*/ 2276 w 2677"/>
                <a:gd name="T15" fmla="*/ 53 h 2666"/>
                <a:gd name="T16" fmla="*/ 2209 w 2677"/>
                <a:gd name="T17" fmla="*/ 6 h 2666"/>
                <a:gd name="T18" fmla="*/ 2128 w 2677"/>
                <a:gd name="T19" fmla="*/ 21 h 2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77" h="2666">
                  <a:moveTo>
                    <a:pt x="2128" y="21"/>
                  </a:moveTo>
                  <a:cubicBezTo>
                    <a:pt x="2079" y="53"/>
                    <a:pt x="2064" y="119"/>
                    <a:pt x="2096" y="168"/>
                  </a:cubicBezTo>
                  <a:cubicBezTo>
                    <a:pt x="2448" y="717"/>
                    <a:pt x="2370" y="1437"/>
                    <a:pt x="1909" y="1897"/>
                  </a:cubicBezTo>
                  <a:cubicBezTo>
                    <a:pt x="1448" y="2358"/>
                    <a:pt x="728" y="2436"/>
                    <a:pt x="180" y="2085"/>
                  </a:cubicBezTo>
                  <a:cubicBezTo>
                    <a:pt x="130" y="2053"/>
                    <a:pt x="64" y="2067"/>
                    <a:pt x="32" y="2117"/>
                  </a:cubicBezTo>
                  <a:cubicBezTo>
                    <a:pt x="0" y="2167"/>
                    <a:pt x="15" y="2233"/>
                    <a:pt x="65" y="2264"/>
                  </a:cubicBezTo>
                  <a:cubicBezTo>
                    <a:pt x="699" y="2666"/>
                    <a:pt x="1526" y="2576"/>
                    <a:pt x="2059" y="2048"/>
                  </a:cubicBezTo>
                  <a:cubicBezTo>
                    <a:pt x="2587" y="1514"/>
                    <a:pt x="2677" y="687"/>
                    <a:pt x="2276" y="53"/>
                  </a:cubicBezTo>
                  <a:cubicBezTo>
                    <a:pt x="2261" y="29"/>
                    <a:pt x="2236" y="12"/>
                    <a:pt x="2209" y="6"/>
                  </a:cubicBezTo>
                  <a:cubicBezTo>
                    <a:pt x="2181" y="0"/>
                    <a:pt x="2152" y="5"/>
                    <a:pt x="2128" y="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93"/>
            <p:cNvSpPr>
              <a:spLocks/>
            </p:cNvSpPr>
            <p:nvPr/>
          </p:nvSpPr>
          <p:spPr bwMode="auto">
            <a:xfrm>
              <a:off x="5413" y="-722"/>
              <a:ext cx="57" cy="57"/>
            </a:xfrm>
            <a:custGeom>
              <a:avLst/>
              <a:gdLst>
                <a:gd name="T0" fmla="*/ 190 w 1084"/>
                <a:gd name="T1" fmla="*/ 1045 h 1084"/>
                <a:gd name="T2" fmla="*/ 1043 w 1084"/>
                <a:gd name="T3" fmla="*/ 192 h 1084"/>
                <a:gd name="T4" fmla="*/ 1042 w 1084"/>
                <a:gd name="T5" fmla="*/ 42 h 1084"/>
                <a:gd name="T6" fmla="*/ 893 w 1084"/>
                <a:gd name="T7" fmla="*/ 41 h 1084"/>
                <a:gd name="T8" fmla="*/ 39 w 1084"/>
                <a:gd name="T9" fmla="*/ 894 h 1084"/>
                <a:gd name="T10" fmla="*/ 10 w 1084"/>
                <a:gd name="T11" fmla="*/ 998 h 1084"/>
                <a:gd name="T12" fmla="*/ 86 w 1084"/>
                <a:gd name="T13" fmla="*/ 1074 h 1084"/>
                <a:gd name="T14" fmla="*/ 190 w 1084"/>
                <a:gd name="T15" fmla="*/ 1045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84" h="1084">
                  <a:moveTo>
                    <a:pt x="190" y="1045"/>
                  </a:moveTo>
                  <a:lnTo>
                    <a:pt x="1043" y="192"/>
                  </a:lnTo>
                  <a:cubicBezTo>
                    <a:pt x="1084" y="150"/>
                    <a:pt x="1083" y="83"/>
                    <a:pt x="1042" y="42"/>
                  </a:cubicBezTo>
                  <a:cubicBezTo>
                    <a:pt x="1001" y="1"/>
                    <a:pt x="934" y="0"/>
                    <a:pt x="893" y="41"/>
                  </a:cubicBezTo>
                  <a:lnTo>
                    <a:pt x="39" y="894"/>
                  </a:lnTo>
                  <a:cubicBezTo>
                    <a:pt x="12" y="921"/>
                    <a:pt x="0" y="961"/>
                    <a:pt x="10" y="998"/>
                  </a:cubicBezTo>
                  <a:cubicBezTo>
                    <a:pt x="20" y="1035"/>
                    <a:pt x="49" y="1064"/>
                    <a:pt x="86" y="1074"/>
                  </a:cubicBezTo>
                  <a:cubicBezTo>
                    <a:pt x="124" y="1084"/>
                    <a:pt x="163" y="1073"/>
                    <a:pt x="190" y="10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94"/>
            <p:cNvSpPr>
              <a:spLocks/>
            </p:cNvSpPr>
            <p:nvPr/>
          </p:nvSpPr>
          <p:spPr bwMode="auto">
            <a:xfrm>
              <a:off x="5447" y="-688"/>
              <a:ext cx="57" cy="57"/>
            </a:xfrm>
            <a:custGeom>
              <a:avLst/>
              <a:gdLst>
                <a:gd name="T0" fmla="*/ 893 w 1084"/>
                <a:gd name="T1" fmla="*/ 41 h 1084"/>
                <a:gd name="T2" fmla="*/ 39 w 1084"/>
                <a:gd name="T3" fmla="*/ 894 h 1084"/>
                <a:gd name="T4" fmla="*/ 10 w 1084"/>
                <a:gd name="T5" fmla="*/ 998 h 1084"/>
                <a:gd name="T6" fmla="*/ 86 w 1084"/>
                <a:gd name="T7" fmla="*/ 1074 h 1084"/>
                <a:gd name="T8" fmla="*/ 190 w 1084"/>
                <a:gd name="T9" fmla="*/ 1045 h 1084"/>
                <a:gd name="T10" fmla="*/ 1043 w 1084"/>
                <a:gd name="T11" fmla="*/ 192 h 1084"/>
                <a:gd name="T12" fmla="*/ 1042 w 1084"/>
                <a:gd name="T13" fmla="*/ 42 h 1084"/>
                <a:gd name="T14" fmla="*/ 893 w 1084"/>
                <a:gd name="T15" fmla="*/ 41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84" h="1084">
                  <a:moveTo>
                    <a:pt x="893" y="41"/>
                  </a:moveTo>
                  <a:lnTo>
                    <a:pt x="39" y="894"/>
                  </a:lnTo>
                  <a:cubicBezTo>
                    <a:pt x="12" y="921"/>
                    <a:pt x="0" y="961"/>
                    <a:pt x="10" y="998"/>
                  </a:cubicBezTo>
                  <a:cubicBezTo>
                    <a:pt x="20" y="1035"/>
                    <a:pt x="49" y="1064"/>
                    <a:pt x="86" y="1074"/>
                  </a:cubicBezTo>
                  <a:cubicBezTo>
                    <a:pt x="124" y="1084"/>
                    <a:pt x="163" y="1073"/>
                    <a:pt x="190" y="1045"/>
                  </a:cubicBezTo>
                  <a:lnTo>
                    <a:pt x="1043" y="192"/>
                  </a:lnTo>
                  <a:cubicBezTo>
                    <a:pt x="1084" y="150"/>
                    <a:pt x="1083" y="83"/>
                    <a:pt x="1042" y="42"/>
                  </a:cubicBezTo>
                  <a:cubicBezTo>
                    <a:pt x="1001" y="1"/>
                    <a:pt x="934" y="0"/>
                    <a:pt x="893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95"/>
            <p:cNvSpPr>
              <a:spLocks/>
            </p:cNvSpPr>
            <p:nvPr/>
          </p:nvSpPr>
          <p:spPr bwMode="auto">
            <a:xfrm>
              <a:off x="5419" y="-716"/>
              <a:ext cx="79" cy="80"/>
            </a:xfrm>
            <a:custGeom>
              <a:avLst/>
              <a:gdLst>
                <a:gd name="T0" fmla="*/ 190 w 1510"/>
                <a:gd name="T1" fmla="*/ 1471 h 1510"/>
                <a:gd name="T2" fmla="*/ 1470 w 1510"/>
                <a:gd name="T3" fmla="*/ 191 h 1510"/>
                <a:gd name="T4" fmla="*/ 1468 w 1510"/>
                <a:gd name="T5" fmla="*/ 42 h 1510"/>
                <a:gd name="T6" fmla="*/ 1319 w 1510"/>
                <a:gd name="T7" fmla="*/ 41 h 1510"/>
                <a:gd name="T8" fmla="*/ 39 w 1510"/>
                <a:gd name="T9" fmla="*/ 1321 h 1510"/>
                <a:gd name="T10" fmla="*/ 10 w 1510"/>
                <a:gd name="T11" fmla="*/ 1424 h 1510"/>
                <a:gd name="T12" fmla="*/ 86 w 1510"/>
                <a:gd name="T13" fmla="*/ 1501 h 1510"/>
                <a:gd name="T14" fmla="*/ 190 w 1510"/>
                <a:gd name="T15" fmla="*/ 1471 h 1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10" h="1510">
                  <a:moveTo>
                    <a:pt x="190" y="1471"/>
                  </a:moveTo>
                  <a:lnTo>
                    <a:pt x="1470" y="191"/>
                  </a:lnTo>
                  <a:cubicBezTo>
                    <a:pt x="1510" y="150"/>
                    <a:pt x="1510" y="83"/>
                    <a:pt x="1468" y="42"/>
                  </a:cubicBezTo>
                  <a:cubicBezTo>
                    <a:pt x="1427" y="1"/>
                    <a:pt x="1361" y="0"/>
                    <a:pt x="1319" y="41"/>
                  </a:cubicBezTo>
                  <a:lnTo>
                    <a:pt x="39" y="1321"/>
                  </a:lnTo>
                  <a:cubicBezTo>
                    <a:pt x="11" y="1347"/>
                    <a:pt x="0" y="1387"/>
                    <a:pt x="10" y="1424"/>
                  </a:cubicBezTo>
                  <a:cubicBezTo>
                    <a:pt x="20" y="1462"/>
                    <a:pt x="49" y="1491"/>
                    <a:pt x="86" y="1501"/>
                  </a:cubicBezTo>
                  <a:cubicBezTo>
                    <a:pt x="123" y="1510"/>
                    <a:pt x="163" y="1499"/>
                    <a:pt x="190" y="147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98"/>
          <p:cNvGrpSpPr>
            <a:grpSpLocks noChangeAspect="1"/>
          </p:cNvGrpSpPr>
          <p:nvPr/>
        </p:nvGrpSpPr>
        <p:grpSpPr bwMode="auto">
          <a:xfrm>
            <a:off x="1431686" y="1418557"/>
            <a:ext cx="241243" cy="385762"/>
            <a:chOff x="4261" y="-895"/>
            <a:chExt cx="212" cy="339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85" name="Freeform 99"/>
            <p:cNvSpPr>
              <a:spLocks/>
            </p:cNvSpPr>
            <p:nvPr/>
          </p:nvSpPr>
          <p:spPr bwMode="auto">
            <a:xfrm>
              <a:off x="4300" y="-812"/>
              <a:ext cx="44" cy="33"/>
            </a:xfrm>
            <a:custGeom>
              <a:avLst/>
              <a:gdLst>
                <a:gd name="T0" fmla="*/ 788 w 837"/>
                <a:gd name="T1" fmla="*/ 49 h 637"/>
                <a:gd name="T2" fmla="*/ 611 w 837"/>
                <a:gd name="T3" fmla="*/ 49 h 637"/>
                <a:gd name="T4" fmla="*/ 325 w 837"/>
                <a:gd name="T5" fmla="*/ 335 h 637"/>
                <a:gd name="T6" fmla="*/ 225 w 837"/>
                <a:gd name="T7" fmla="*/ 236 h 637"/>
                <a:gd name="T8" fmla="*/ 49 w 837"/>
                <a:gd name="T9" fmla="*/ 236 h 637"/>
                <a:gd name="T10" fmla="*/ 49 w 837"/>
                <a:gd name="T11" fmla="*/ 413 h 637"/>
                <a:gd name="T12" fmla="*/ 236 w 837"/>
                <a:gd name="T13" fmla="*/ 600 h 637"/>
                <a:gd name="T14" fmla="*/ 324 w 837"/>
                <a:gd name="T15" fmla="*/ 637 h 637"/>
                <a:gd name="T16" fmla="*/ 413 w 837"/>
                <a:gd name="T17" fmla="*/ 600 h 637"/>
                <a:gd name="T18" fmla="*/ 788 w 837"/>
                <a:gd name="T19" fmla="*/ 225 h 637"/>
                <a:gd name="T20" fmla="*/ 788 w 837"/>
                <a:gd name="T21" fmla="*/ 4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7" h="637">
                  <a:moveTo>
                    <a:pt x="788" y="49"/>
                  </a:moveTo>
                  <a:cubicBezTo>
                    <a:pt x="739" y="0"/>
                    <a:pt x="660" y="0"/>
                    <a:pt x="611" y="49"/>
                  </a:cubicBezTo>
                  <a:lnTo>
                    <a:pt x="325" y="335"/>
                  </a:lnTo>
                  <a:lnTo>
                    <a:pt x="225" y="236"/>
                  </a:lnTo>
                  <a:cubicBezTo>
                    <a:pt x="177" y="187"/>
                    <a:pt x="97" y="187"/>
                    <a:pt x="49" y="236"/>
                  </a:cubicBezTo>
                  <a:cubicBezTo>
                    <a:pt x="0" y="285"/>
                    <a:pt x="0" y="364"/>
                    <a:pt x="49" y="413"/>
                  </a:cubicBezTo>
                  <a:lnTo>
                    <a:pt x="236" y="600"/>
                  </a:lnTo>
                  <a:cubicBezTo>
                    <a:pt x="261" y="625"/>
                    <a:pt x="293" y="637"/>
                    <a:pt x="324" y="637"/>
                  </a:cubicBezTo>
                  <a:cubicBezTo>
                    <a:pt x="356" y="637"/>
                    <a:pt x="388" y="625"/>
                    <a:pt x="413" y="600"/>
                  </a:cubicBezTo>
                  <a:lnTo>
                    <a:pt x="788" y="225"/>
                  </a:lnTo>
                  <a:cubicBezTo>
                    <a:pt x="837" y="177"/>
                    <a:pt x="837" y="97"/>
                    <a:pt x="788" y="4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00"/>
            <p:cNvSpPr>
              <a:spLocks/>
            </p:cNvSpPr>
            <p:nvPr/>
          </p:nvSpPr>
          <p:spPr bwMode="auto">
            <a:xfrm>
              <a:off x="4300" y="-753"/>
              <a:ext cx="44" cy="34"/>
            </a:xfrm>
            <a:custGeom>
              <a:avLst/>
              <a:gdLst>
                <a:gd name="T0" fmla="*/ 788 w 837"/>
                <a:gd name="T1" fmla="*/ 49 h 637"/>
                <a:gd name="T2" fmla="*/ 611 w 837"/>
                <a:gd name="T3" fmla="*/ 49 h 637"/>
                <a:gd name="T4" fmla="*/ 325 w 837"/>
                <a:gd name="T5" fmla="*/ 335 h 637"/>
                <a:gd name="T6" fmla="*/ 225 w 837"/>
                <a:gd name="T7" fmla="*/ 236 h 637"/>
                <a:gd name="T8" fmla="*/ 49 w 837"/>
                <a:gd name="T9" fmla="*/ 236 h 637"/>
                <a:gd name="T10" fmla="*/ 49 w 837"/>
                <a:gd name="T11" fmla="*/ 413 h 637"/>
                <a:gd name="T12" fmla="*/ 236 w 837"/>
                <a:gd name="T13" fmla="*/ 600 h 637"/>
                <a:gd name="T14" fmla="*/ 324 w 837"/>
                <a:gd name="T15" fmla="*/ 637 h 637"/>
                <a:gd name="T16" fmla="*/ 413 w 837"/>
                <a:gd name="T17" fmla="*/ 600 h 637"/>
                <a:gd name="T18" fmla="*/ 788 w 837"/>
                <a:gd name="T19" fmla="*/ 225 h 637"/>
                <a:gd name="T20" fmla="*/ 788 w 837"/>
                <a:gd name="T21" fmla="*/ 4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7" h="637">
                  <a:moveTo>
                    <a:pt x="788" y="49"/>
                  </a:moveTo>
                  <a:cubicBezTo>
                    <a:pt x="739" y="0"/>
                    <a:pt x="660" y="0"/>
                    <a:pt x="611" y="49"/>
                  </a:cubicBezTo>
                  <a:lnTo>
                    <a:pt x="325" y="335"/>
                  </a:lnTo>
                  <a:lnTo>
                    <a:pt x="225" y="236"/>
                  </a:lnTo>
                  <a:cubicBezTo>
                    <a:pt x="177" y="187"/>
                    <a:pt x="97" y="187"/>
                    <a:pt x="49" y="236"/>
                  </a:cubicBezTo>
                  <a:cubicBezTo>
                    <a:pt x="0" y="285"/>
                    <a:pt x="0" y="364"/>
                    <a:pt x="49" y="413"/>
                  </a:cubicBezTo>
                  <a:lnTo>
                    <a:pt x="236" y="600"/>
                  </a:lnTo>
                  <a:cubicBezTo>
                    <a:pt x="261" y="625"/>
                    <a:pt x="293" y="637"/>
                    <a:pt x="324" y="637"/>
                  </a:cubicBezTo>
                  <a:cubicBezTo>
                    <a:pt x="356" y="637"/>
                    <a:pt x="388" y="625"/>
                    <a:pt x="413" y="600"/>
                  </a:cubicBezTo>
                  <a:lnTo>
                    <a:pt x="788" y="225"/>
                  </a:lnTo>
                  <a:cubicBezTo>
                    <a:pt x="837" y="177"/>
                    <a:pt x="837" y="97"/>
                    <a:pt x="788" y="4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01"/>
            <p:cNvSpPr>
              <a:spLocks/>
            </p:cNvSpPr>
            <p:nvPr/>
          </p:nvSpPr>
          <p:spPr bwMode="auto">
            <a:xfrm>
              <a:off x="4300" y="-693"/>
              <a:ext cx="44" cy="33"/>
            </a:xfrm>
            <a:custGeom>
              <a:avLst/>
              <a:gdLst>
                <a:gd name="T0" fmla="*/ 611 w 837"/>
                <a:gd name="T1" fmla="*/ 49 h 637"/>
                <a:gd name="T2" fmla="*/ 325 w 837"/>
                <a:gd name="T3" fmla="*/ 335 h 637"/>
                <a:gd name="T4" fmla="*/ 225 w 837"/>
                <a:gd name="T5" fmla="*/ 236 h 637"/>
                <a:gd name="T6" fmla="*/ 49 w 837"/>
                <a:gd name="T7" fmla="*/ 236 h 637"/>
                <a:gd name="T8" fmla="*/ 49 w 837"/>
                <a:gd name="T9" fmla="*/ 413 h 637"/>
                <a:gd name="T10" fmla="*/ 236 w 837"/>
                <a:gd name="T11" fmla="*/ 600 h 637"/>
                <a:gd name="T12" fmla="*/ 324 w 837"/>
                <a:gd name="T13" fmla="*/ 637 h 637"/>
                <a:gd name="T14" fmla="*/ 413 w 837"/>
                <a:gd name="T15" fmla="*/ 600 h 637"/>
                <a:gd name="T16" fmla="*/ 788 w 837"/>
                <a:gd name="T17" fmla="*/ 225 h 637"/>
                <a:gd name="T18" fmla="*/ 788 w 837"/>
                <a:gd name="T19" fmla="*/ 49 h 637"/>
                <a:gd name="T20" fmla="*/ 611 w 837"/>
                <a:gd name="T21" fmla="*/ 4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7" h="637">
                  <a:moveTo>
                    <a:pt x="611" y="49"/>
                  </a:moveTo>
                  <a:lnTo>
                    <a:pt x="325" y="335"/>
                  </a:lnTo>
                  <a:lnTo>
                    <a:pt x="225" y="236"/>
                  </a:lnTo>
                  <a:cubicBezTo>
                    <a:pt x="177" y="187"/>
                    <a:pt x="97" y="187"/>
                    <a:pt x="49" y="236"/>
                  </a:cubicBezTo>
                  <a:cubicBezTo>
                    <a:pt x="0" y="285"/>
                    <a:pt x="0" y="364"/>
                    <a:pt x="49" y="413"/>
                  </a:cubicBezTo>
                  <a:lnTo>
                    <a:pt x="236" y="600"/>
                  </a:lnTo>
                  <a:cubicBezTo>
                    <a:pt x="261" y="625"/>
                    <a:pt x="293" y="637"/>
                    <a:pt x="324" y="637"/>
                  </a:cubicBezTo>
                  <a:cubicBezTo>
                    <a:pt x="356" y="637"/>
                    <a:pt x="388" y="625"/>
                    <a:pt x="413" y="600"/>
                  </a:cubicBezTo>
                  <a:lnTo>
                    <a:pt x="788" y="225"/>
                  </a:lnTo>
                  <a:cubicBezTo>
                    <a:pt x="837" y="177"/>
                    <a:pt x="837" y="97"/>
                    <a:pt x="788" y="49"/>
                  </a:cubicBezTo>
                  <a:cubicBezTo>
                    <a:pt x="739" y="0"/>
                    <a:pt x="660" y="0"/>
                    <a:pt x="611" y="4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02"/>
            <p:cNvSpPr>
              <a:spLocks/>
            </p:cNvSpPr>
            <p:nvPr/>
          </p:nvSpPr>
          <p:spPr bwMode="auto">
            <a:xfrm>
              <a:off x="4360" y="-792"/>
              <a:ext cx="73" cy="13"/>
            </a:xfrm>
            <a:custGeom>
              <a:avLst/>
              <a:gdLst>
                <a:gd name="T0" fmla="*/ 1250 w 1375"/>
                <a:gd name="T1" fmla="*/ 0 h 250"/>
                <a:gd name="T2" fmla="*/ 125 w 1375"/>
                <a:gd name="T3" fmla="*/ 0 h 250"/>
                <a:gd name="T4" fmla="*/ 0 w 1375"/>
                <a:gd name="T5" fmla="*/ 125 h 250"/>
                <a:gd name="T6" fmla="*/ 125 w 1375"/>
                <a:gd name="T7" fmla="*/ 250 h 250"/>
                <a:gd name="T8" fmla="*/ 1250 w 1375"/>
                <a:gd name="T9" fmla="*/ 250 h 250"/>
                <a:gd name="T10" fmla="*/ 1375 w 1375"/>
                <a:gd name="T11" fmla="*/ 125 h 250"/>
                <a:gd name="T12" fmla="*/ 1250 w 1375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5" h="250">
                  <a:moveTo>
                    <a:pt x="1250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250" y="250"/>
                  </a:lnTo>
                  <a:cubicBezTo>
                    <a:pt x="1319" y="250"/>
                    <a:pt x="1375" y="194"/>
                    <a:pt x="1375" y="125"/>
                  </a:cubicBezTo>
                  <a:cubicBezTo>
                    <a:pt x="1375" y="56"/>
                    <a:pt x="1319" y="0"/>
                    <a:pt x="125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03"/>
            <p:cNvSpPr>
              <a:spLocks/>
            </p:cNvSpPr>
            <p:nvPr/>
          </p:nvSpPr>
          <p:spPr bwMode="auto">
            <a:xfrm>
              <a:off x="4360" y="-732"/>
              <a:ext cx="73" cy="13"/>
            </a:xfrm>
            <a:custGeom>
              <a:avLst/>
              <a:gdLst>
                <a:gd name="T0" fmla="*/ 1250 w 1375"/>
                <a:gd name="T1" fmla="*/ 0 h 250"/>
                <a:gd name="T2" fmla="*/ 125 w 1375"/>
                <a:gd name="T3" fmla="*/ 0 h 250"/>
                <a:gd name="T4" fmla="*/ 0 w 1375"/>
                <a:gd name="T5" fmla="*/ 125 h 250"/>
                <a:gd name="T6" fmla="*/ 125 w 1375"/>
                <a:gd name="T7" fmla="*/ 250 h 250"/>
                <a:gd name="T8" fmla="*/ 1250 w 1375"/>
                <a:gd name="T9" fmla="*/ 250 h 250"/>
                <a:gd name="T10" fmla="*/ 1375 w 1375"/>
                <a:gd name="T11" fmla="*/ 125 h 250"/>
                <a:gd name="T12" fmla="*/ 1250 w 1375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5" h="250">
                  <a:moveTo>
                    <a:pt x="1250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250" y="250"/>
                  </a:lnTo>
                  <a:cubicBezTo>
                    <a:pt x="1319" y="250"/>
                    <a:pt x="1375" y="194"/>
                    <a:pt x="1375" y="125"/>
                  </a:cubicBezTo>
                  <a:cubicBezTo>
                    <a:pt x="1375" y="56"/>
                    <a:pt x="1319" y="0"/>
                    <a:pt x="125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04"/>
            <p:cNvSpPr>
              <a:spLocks/>
            </p:cNvSpPr>
            <p:nvPr/>
          </p:nvSpPr>
          <p:spPr bwMode="auto">
            <a:xfrm>
              <a:off x="4360" y="-673"/>
              <a:ext cx="73" cy="13"/>
            </a:xfrm>
            <a:custGeom>
              <a:avLst/>
              <a:gdLst>
                <a:gd name="T0" fmla="*/ 1375 w 1375"/>
                <a:gd name="T1" fmla="*/ 125 h 250"/>
                <a:gd name="T2" fmla="*/ 1250 w 1375"/>
                <a:gd name="T3" fmla="*/ 0 h 250"/>
                <a:gd name="T4" fmla="*/ 125 w 1375"/>
                <a:gd name="T5" fmla="*/ 0 h 250"/>
                <a:gd name="T6" fmla="*/ 0 w 1375"/>
                <a:gd name="T7" fmla="*/ 125 h 250"/>
                <a:gd name="T8" fmla="*/ 125 w 1375"/>
                <a:gd name="T9" fmla="*/ 250 h 250"/>
                <a:gd name="T10" fmla="*/ 1250 w 1375"/>
                <a:gd name="T11" fmla="*/ 250 h 250"/>
                <a:gd name="T12" fmla="*/ 1375 w 1375"/>
                <a:gd name="T13" fmla="*/ 125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5" h="250">
                  <a:moveTo>
                    <a:pt x="1375" y="125"/>
                  </a:moveTo>
                  <a:cubicBezTo>
                    <a:pt x="1375" y="56"/>
                    <a:pt x="1319" y="0"/>
                    <a:pt x="1250" y="0"/>
                  </a:cubicBez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250" y="250"/>
                  </a:lnTo>
                  <a:cubicBezTo>
                    <a:pt x="1319" y="250"/>
                    <a:pt x="1375" y="194"/>
                    <a:pt x="1375" y="1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105"/>
            <p:cNvSpPr>
              <a:spLocks/>
            </p:cNvSpPr>
            <p:nvPr/>
          </p:nvSpPr>
          <p:spPr bwMode="auto">
            <a:xfrm>
              <a:off x="4350" y="-855"/>
              <a:ext cx="33" cy="13"/>
            </a:xfrm>
            <a:custGeom>
              <a:avLst/>
              <a:gdLst>
                <a:gd name="T0" fmla="*/ 500 w 625"/>
                <a:gd name="T1" fmla="*/ 0 h 250"/>
                <a:gd name="T2" fmla="*/ 125 w 625"/>
                <a:gd name="T3" fmla="*/ 0 h 250"/>
                <a:gd name="T4" fmla="*/ 0 w 625"/>
                <a:gd name="T5" fmla="*/ 125 h 250"/>
                <a:gd name="T6" fmla="*/ 125 w 625"/>
                <a:gd name="T7" fmla="*/ 250 h 250"/>
                <a:gd name="T8" fmla="*/ 500 w 625"/>
                <a:gd name="T9" fmla="*/ 250 h 250"/>
                <a:gd name="T10" fmla="*/ 625 w 625"/>
                <a:gd name="T11" fmla="*/ 125 h 250"/>
                <a:gd name="T12" fmla="*/ 500 w 625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5" h="250">
                  <a:moveTo>
                    <a:pt x="500" y="0"/>
                  </a:moveTo>
                  <a:lnTo>
                    <a:pt x="125" y="0"/>
                  </a:lnTo>
                  <a:cubicBezTo>
                    <a:pt x="55" y="0"/>
                    <a:pt x="0" y="56"/>
                    <a:pt x="0" y="125"/>
                  </a:cubicBezTo>
                  <a:cubicBezTo>
                    <a:pt x="0" y="194"/>
                    <a:pt x="55" y="250"/>
                    <a:pt x="125" y="250"/>
                  </a:cubicBezTo>
                  <a:lnTo>
                    <a:pt x="500" y="250"/>
                  </a:lnTo>
                  <a:cubicBezTo>
                    <a:pt x="569" y="250"/>
                    <a:pt x="625" y="194"/>
                    <a:pt x="625" y="125"/>
                  </a:cubicBezTo>
                  <a:cubicBezTo>
                    <a:pt x="625" y="56"/>
                    <a:pt x="569" y="0"/>
                    <a:pt x="5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06"/>
            <p:cNvSpPr>
              <a:spLocks/>
            </p:cNvSpPr>
            <p:nvPr/>
          </p:nvSpPr>
          <p:spPr bwMode="auto">
            <a:xfrm>
              <a:off x="4350" y="-613"/>
              <a:ext cx="33" cy="13"/>
            </a:xfrm>
            <a:custGeom>
              <a:avLst/>
              <a:gdLst>
                <a:gd name="T0" fmla="*/ 625 w 625"/>
                <a:gd name="T1" fmla="*/ 125 h 250"/>
                <a:gd name="T2" fmla="*/ 500 w 625"/>
                <a:gd name="T3" fmla="*/ 0 h 250"/>
                <a:gd name="T4" fmla="*/ 125 w 625"/>
                <a:gd name="T5" fmla="*/ 0 h 250"/>
                <a:gd name="T6" fmla="*/ 0 w 625"/>
                <a:gd name="T7" fmla="*/ 125 h 250"/>
                <a:gd name="T8" fmla="*/ 125 w 625"/>
                <a:gd name="T9" fmla="*/ 250 h 250"/>
                <a:gd name="T10" fmla="*/ 500 w 625"/>
                <a:gd name="T11" fmla="*/ 250 h 250"/>
                <a:gd name="T12" fmla="*/ 625 w 625"/>
                <a:gd name="T13" fmla="*/ 125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5" h="250">
                  <a:moveTo>
                    <a:pt x="625" y="125"/>
                  </a:moveTo>
                  <a:cubicBezTo>
                    <a:pt x="625" y="56"/>
                    <a:pt x="569" y="0"/>
                    <a:pt x="500" y="0"/>
                  </a:cubicBezTo>
                  <a:lnTo>
                    <a:pt x="125" y="0"/>
                  </a:lnTo>
                  <a:cubicBezTo>
                    <a:pt x="55" y="0"/>
                    <a:pt x="0" y="56"/>
                    <a:pt x="0" y="125"/>
                  </a:cubicBezTo>
                  <a:cubicBezTo>
                    <a:pt x="0" y="194"/>
                    <a:pt x="55" y="250"/>
                    <a:pt x="125" y="250"/>
                  </a:cubicBezTo>
                  <a:lnTo>
                    <a:pt x="500" y="250"/>
                  </a:lnTo>
                  <a:cubicBezTo>
                    <a:pt x="569" y="250"/>
                    <a:pt x="625" y="194"/>
                    <a:pt x="625" y="1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07"/>
            <p:cNvSpPr>
              <a:spLocks/>
            </p:cNvSpPr>
            <p:nvPr/>
          </p:nvSpPr>
          <p:spPr bwMode="auto">
            <a:xfrm>
              <a:off x="4261" y="-895"/>
              <a:ext cx="212" cy="339"/>
            </a:xfrm>
            <a:custGeom>
              <a:avLst/>
              <a:gdLst>
                <a:gd name="T0" fmla="*/ 0 w 4000"/>
                <a:gd name="T1" fmla="*/ 500 h 6400"/>
                <a:gd name="T2" fmla="*/ 0 w 4000"/>
                <a:gd name="T3" fmla="*/ 5900 h 6400"/>
                <a:gd name="T4" fmla="*/ 500 w 4000"/>
                <a:gd name="T5" fmla="*/ 6400 h 6400"/>
                <a:gd name="T6" fmla="*/ 1438 w 4000"/>
                <a:gd name="T7" fmla="*/ 6400 h 6400"/>
                <a:gd name="T8" fmla="*/ 1563 w 4000"/>
                <a:gd name="T9" fmla="*/ 6275 h 6400"/>
                <a:gd name="T10" fmla="*/ 1438 w 4000"/>
                <a:gd name="T11" fmla="*/ 6150 h 6400"/>
                <a:gd name="T12" fmla="*/ 500 w 4000"/>
                <a:gd name="T13" fmla="*/ 6150 h 6400"/>
                <a:gd name="T14" fmla="*/ 250 w 4000"/>
                <a:gd name="T15" fmla="*/ 5900 h 6400"/>
                <a:gd name="T16" fmla="*/ 250 w 4000"/>
                <a:gd name="T17" fmla="*/ 500 h 6400"/>
                <a:gd name="T18" fmla="*/ 500 w 4000"/>
                <a:gd name="T19" fmla="*/ 250 h 6400"/>
                <a:gd name="T20" fmla="*/ 3500 w 4000"/>
                <a:gd name="T21" fmla="*/ 250 h 6400"/>
                <a:gd name="T22" fmla="*/ 3750 w 4000"/>
                <a:gd name="T23" fmla="*/ 500 h 6400"/>
                <a:gd name="T24" fmla="*/ 3750 w 4000"/>
                <a:gd name="T25" fmla="*/ 5900 h 6400"/>
                <a:gd name="T26" fmla="*/ 3500 w 4000"/>
                <a:gd name="T27" fmla="*/ 6150 h 6400"/>
                <a:gd name="T28" fmla="*/ 2563 w 4000"/>
                <a:gd name="T29" fmla="*/ 6150 h 6400"/>
                <a:gd name="T30" fmla="*/ 2438 w 4000"/>
                <a:gd name="T31" fmla="*/ 6275 h 6400"/>
                <a:gd name="T32" fmla="*/ 2563 w 4000"/>
                <a:gd name="T33" fmla="*/ 6400 h 6400"/>
                <a:gd name="T34" fmla="*/ 3500 w 4000"/>
                <a:gd name="T35" fmla="*/ 6400 h 6400"/>
                <a:gd name="T36" fmla="*/ 4000 w 4000"/>
                <a:gd name="T37" fmla="*/ 5900 h 6400"/>
                <a:gd name="T38" fmla="*/ 4000 w 4000"/>
                <a:gd name="T39" fmla="*/ 500 h 6400"/>
                <a:gd name="T40" fmla="*/ 3500 w 4000"/>
                <a:gd name="T41" fmla="*/ 0 h 6400"/>
                <a:gd name="T42" fmla="*/ 500 w 4000"/>
                <a:gd name="T43" fmla="*/ 0 h 6400"/>
                <a:gd name="T44" fmla="*/ 0 w 4000"/>
                <a:gd name="T45" fmla="*/ 500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00" h="6400">
                  <a:moveTo>
                    <a:pt x="0" y="500"/>
                  </a:moveTo>
                  <a:lnTo>
                    <a:pt x="0" y="5900"/>
                  </a:lnTo>
                  <a:cubicBezTo>
                    <a:pt x="0" y="6176"/>
                    <a:pt x="224" y="6400"/>
                    <a:pt x="500" y="6400"/>
                  </a:cubicBezTo>
                  <a:lnTo>
                    <a:pt x="1438" y="6400"/>
                  </a:lnTo>
                  <a:cubicBezTo>
                    <a:pt x="1507" y="6400"/>
                    <a:pt x="1563" y="6344"/>
                    <a:pt x="1563" y="6275"/>
                  </a:cubicBezTo>
                  <a:cubicBezTo>
                    <a:pt x="1563" y="6206"/>
                    <a:pt x="1507" y="6150"/>
                    <a:pt x="1438" y="6150"/>
                  </a:cubicBezTo>
                  <a:lnTo>
                    <a:pt x="500" y="6150"/>
                  </a:lnTo>
                  <a:cubicBezTo>
                    <a:pt x="362" y="6150"/>
                    <a:pt x="250" y="6038"/>
                    <a:pt x="250" y="5900"/>
                  </a:cubicBezTo>
                  <a:lnTo>
                    <a:pt x="250" y="500"/>
                  </a:lnTo>
                  <a:cubicBezTo>
                    <a:pt x="250" y="362"/>
                    <a:pt x="362" y="250"/>
                    <a:pt x="500" y="250"/>
                  </a:cubicBezTo>
                  <a:lnTo>
                    <a:pt x="3500" y="250"/>
                  </a:lnTo>
                  <a:cubicBezTo>
                    <a:pt x="3638" y="250"/>
                    <a:pt x="3750" y="362"/>
                    <a:pt x="3750" y="500"/>
                  </a:cubicBezTo>
                  <a:lnTo>
                    <a:pt x="3750" y="5900"/>
                  </a:lnTo>
                  <a:cubicBezTo>
                    <a:pt x="3750" y="6038"/>
                    <a:pt x="3638" y="6150"/>
                    <a:pt x="3500" y="6150"/>
                  </a:cubicBezTo>
                  <a:lnTo>
                    <a:pt x="2563" y="6150"/>
                  </a:lnTo>
                  <a:cubicBezTo>
                    <a:pt x="2493" y="6150"/>
                    <a:pt x="2438" y="6206"/>
                    <a:pt x="2438" y="6275"/>
                  </a:cubicBezTo>
                  <a:cubicBezTo>
                    <a:pt x="2438" y="6344"/>
                    <a:pt x="2493" y="6400"/>
                    <a:pt x="2563" y="6400"/>
                  </a:cubicBezTo>
                  <a:lnTo>
                    <a:pt x="3500" y="6400"/>
                  </a:lnTo>
                  <a:cubicBezTo>
                    <a:pt x="3776" y="6400"/>
                    <a:pt x="4000" y="6176"/>
                    <a:pt x="4000" y="5900"/>
                  </a:cubicBezTo>
                  <a:lnTo>
                    <a:pt x="4000" y="500"/>
                  </a:lnTo>
                  <a:cubicBezTo>
                    <a:pt x="4000" y="224"/>
                    <a:pt x="3776" y="0"/>
                    <a:pt x="3500" y="0"/>
                  </a:cubicBezTo>
                  <a:lnTo>
                    <a:pt x="500" y="0"/>
                  </a:lnTo>
                  <a:cubicBezTo>
                    <a:pt x="224" y="0"/>
                    <a:pt x="0" y="224"/>
                    <a:pt x="0" y="5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Oval 108"/>
            <p:cNvSpPr>
              <a:spLocks noChangeArrowheads="1"/>
            </p:cNvSpPr>
            <p:nvPr/>
          </p:nvSpPr>
          <p:spPr bwMode="auto">
            <a:xfrm>
              <a:off x="4360" y="-570"/>
              <a:ext cx="13" cy="14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8" name="Group 111"/>
          <p:cNvGrpSpPr>
            <a:grpSpLocks noChangeAspect="1"/>
          </p:cNvGrpSpPr>
          <p:nvPr/>
        </p:nvGrpSpPr>
        <p:grpSpPr bwMode="auto">
          <a:xfrm>
            <a:off x="8960388" y="3241284"/>
            <a:ext cx="384096" cy="385200"/>
            <a:chOff x="3194" y="4217"/>
            <a:chExt cx="348" cy="349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00" name="Freeform 112"/>
            <p:cNvSpPr>
              <a:spLocks noEditPoints="1"/>
            </p:cNvSpPr>
            <p:nvPr/>
          </p:nvSpPr>
          <p:spPr bwMode="auto">
            <a:xfrm>
              <a:off x="3194" y="4307"/>
              <a:ext cx="256" cy="259"/>
            </a:xfrm>
            <a:custGeom>
              <a:avLst/>
              <a:gdLst>
                <a:gd name="T0" fmla="*/ 2646 w 4842"/>
                <a:gd name="T1" fmla="*/ 909 h 4880"/>
                <a:gd name="T2" fmla="*/ 2380 w 4842"/>
                <a:gd name="T3" fmla="*/ 378 h 4880"/>
                <a:gd name="T4" fmla="*/ 2115 w 4842"/>
                <a:gd name="T5" fmla="*/ 643 h 4880"/>
                <a:gd name="T6" fmla="*/ 3367 w 4842"/>
                <a:gd name="T7" fmla="*/ 563 h 4880"/>
                <a:gd name="T8" fmla="*/ 3180 w 4842"/>
                <a:gd name="T9" fmla="*/ 0 h 4880"/>
                <a:gd name="T10" fmla="*/ 2992 w 4842"/>
                <a:gd name="T11" fmla="*/ 563 h 4880"/>
                <a:gd name="T12" fmla="*/ 3367 w 4842"/>
                <a:gd name="T13" fmla="*/ 563 h 4880"/>
                <a:gd name="T14" fmla="*/ 2305 w 4842"/>
                <a:gd name="T15" fmla="*/ 1625 h 4880"/>
                <a:gd name="T16" fmla="*/ 2305 w 4842"/>
                <a:gd name="T17" fmla="*/ 1250 h 4880"/>
                <a:gd name="T18" fmla="*/ 1742 w 4842"/>
                <a:gd name="T19" fmla="*/ 1438 h 4880"/>
                <a:gd name="T20" fmla="*/ 4198 w 4842"/>
                <a:gd name="T21" fmla="*/ 2196 h 4880"/>
                <a:gd name="T22" fmla="*/ 3933 w 4842"/>
                <a:gd name="T23" fmla="*/ 2461 h 4880"/>
                <a:gd name="T24" fmla="*/ 4463 w 4842"/>
                <a:gd name="T25" fmla="*/ 2726 h 4880"/>
                <a:gd name="T26" fmla="*/ 4198 w 4842"/>
                <a:gd name="T27" fmla="*/ 2196 h 4880"/>
                <a:gd name="T28" fmla="*/ 4280 w 4842"/>
                <a:gd name="T29" fmla="*/ 1475 h 4880"/>
                <a:gd name="T30" fmla="*/ 4280 w 4842"/>
                <a:gd name="T31" fmla="*/ 1850 h 4880"/>
                <a:gd name="T32" fmla="*/ 4842 w 4842"/>
                <a:gd name="T33" fmla="*/ 1663 h 4880"/>
                <a:gd name="T34" fmla="*/ 3405 w 4842"/>
                <a:gd name="T35" fmla="*/ 2350 h 4880"/>
                <a:gd name="T36" fmla="*/ 3217 w 4842"/>
                <a:gd name="T37" fmla="*/ 2913 h 4880"/>
                <a:gd name="T38" fmla="*/ 3592 w 4842"/>
                <a:gd name="T39" fmla="*/ 2913 h 4880"/>
                <a:gd name="T40" fmla="*/ 3405 w 4842"/>
                <a:gd name="T41" fmla="*/ 2350 h 4880"/>
                <a:gd name="T42" fmla="*/ 4392 w 4842"/>
                <a:gd name="T43" fmla="*/ 753 h 4880"/>
                <a:gd name="T44" fmla="*/ 4767 w 4842"/>
                <a:gd name="T45" fmla="*/ 113 h 4880"/>
                <a:gd name="T46" fmla="*/ 4127 w 4842"/>
                <a:gd name="T47" fmla="*/ 488 h 4880"/>
                <a:gd name="T48" fmla="*/ 3852 w 4842"/>
                <a:gd name="T49" fmla="*/ 763 h 4880"/>
                <a:gd name="T50" fmla="*/ 3441 w 4842"/>
                <a:gd name="T51" fmla="*/ 1439 h 4880"/>
                <a:gd name="T52" fmla="*/ 4117 w 4842"/>
                <a:gd name="T53" fmla="*/ 1028 h 4880"/>
                <a:gd name="T54" fmla="*/ 2646 w 4842"/>
                <a:gd name="T55" fmla="*/ 2234 h 4880"/>
                <a:gd name="T56" fmla="*/ 367 w 4842"/>
                <a:gd name="T57" fmla="*/ 3187 h 4880"/>
                <a:gd name="T58" fmla="*/ 1693 w 4842"/>
                <a:gd name="T59" fmla="*/ 4513 h 4880"/>
                <a:gd name="T60" fmla="*/ 2646 w 4842"/>
                <a:gd name="T61" fmla="*/ 2234 h 4880"/>
                <a:gd name="T62" fmla="*/ 2380 w 4842"/>
                <a:gd name="T63" fmla="*/ 3295 h 4880"/>
                <a:gd name="T64" fmla="*/ 632 w 4842"/>
                <a:gd name="T65" fmla="*/ 4248 h 4880"/>
                <a:gd name="T66" fmla="*/ 1585 w 4842"/>
                <a:gd name="T67" fmla="*/ 2500 h 4880"/>
                <a:gd name="T68" fmla="*/ 2380 w 4842"/>
                <a:gd name="T69" fmla="*/ 3295 h 4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842" h="4880">
                  <a:moveTo>
                    <a:pt x="2380" y="909"/>
                  </a:moveTo>
                  <a:cubicBezTo>
                    <a:pt x="2454" y="982"/>
                    <a:pt x="2572" y="982"/>
                    <a:pt x="2646" y="909"/>
                  </a:cubicBezTo>
                  <a:cubicBezTo>
                    <a:pt x="2719" y="835"/>
                    <a:pt x="2719" y="717"/>
                    <a:pt x="2646" y="643"/>
                  </a:cubicBezTo>
                  <a:lnTo>
                    <a:pt x="2380" y="378"/>
                  </a:lnTo>
                  <a:cubicBezTo>
                    <a:pt x="2307" y="305"/>
                    <a:pt x="2188" y="305"/>
                    <a:pt x="2115" y="378"/>
                  </a:cubicBezTo>
                  <a:cubicBezTo>
                    <a:pt x="2042" y="451"/>
                    <a:pt x="2042" y="570"/>
                    <a:pt x="2115" y="643"/>
                  </a:cubicBezTo>
                  <a:lnTo>
                    <a:pt x="2380" y="909"/>
                  </a:lnTo>
                  <a:close/>
                  <a:moveTo>
                    <a:pt x="3367" y="563"/>
                  </a:moveTo>
                  <a:lnTo>
                    <a:pt x="3367" y="188"/>
                  </a:lnTo>
                  <a:cubicBezTo>
                    <a:pt x="3367" y="84"/>
                    <a:pt x="3283" y="0"/>
                    <a:pt x="3180" y="0"/>
                  </a:cubicBezTo>
                  <a:cubicBezTo>
                    <a:pt x="3076" y="0"/>
                    <a:pt x="2992" y="84"/>
                    <a:pt x="2992" y="188"/>
                  </a:cubicBezTo>
                  <a:lnTo>
                    <a:pt x="2992" y="563"/>
                  </a:lnTo>
                  <a:cubicBezTo>
                    <a:pt x="2992" y="666"/>
                    <a:pt x="3076" y="750"/>
                    <a:pt x="3180" y="750"/>
                  </a:cubicBezTo>
                  <a:cubicBezTo>
                    <a:pt x="3283" y="750"/>
                    <a:pt x="3367" y="666"/>
                    <a:pt x="3367" y="563"/>
                  </a:cubicBezTo>
                  <a:close/>
                  <a:moveTo>
                    <a:pt x="1930" y="1625"/>
                  </a:moveTo>
                  <a:lnTo>
                    <a:pt x="2305" y="1625"/>
                  </a:lnTo>
                  <a:cubicBezTo>
                    <a:pt x="2408" y="1625"/>
                    <a:pt x="2492" y="1541"/>
                    <a:pt x="2492" y="1438"/>
                  </a:cubicBezTo>
                  <a:cubicBezTo>
                    <a:pt x="2492" y="1334"/>
                    <a:pt x="2408" y="1250"/>
                    <a:pt x="2305" y="1250"/>
                  </a:cubicBezTo>
                  <a:lnTo>
                    <a:pt x="1930" y="1250"/>
                  </a:lnTo>
                  <a:cubicBezTo>
                    <a:pt x="1826" y="1250"/>
                    <a:pt x="1742" y="1334"/>
                    <a:pt x="1742" y="1438"/>
                  </a:cubicBezTo>
                  <a:cubicBezTo>
                    <a:pt x="1742" y="1541"/>
                    <a:pt x="1826" y="1625"/>
                    <a:pt x="1930" y="1625"/>
                  </a:cubicBezTo>
                  <a:close/>
                  <a:moveTo>
                    <a:pt x="4198" y="2196"/>
                  </a:moveTo>
                  <a:cubicBezTo>
                    <a:pt x="4125" y="2122"/>
                    <a:pt x="4006" y="2122"/>
                    <a:pt x="3933" y="2196"/>
                  </a:cubicBezTo>
                  <a:cubicBezTo>
                    <a:pt x="3859" y="2269"/>
                    <a:pt x="3859" y="2388"/>
                    <a:pt x="3933" y="2461"/>
                  </a:cubicBezTo>
                  <a:lnTo>
                    <a:pt x="4198" y="2726"/>
                  </a:lnTo>
                  <a:cubicBezTo>
                    <a:pt x="4271" y="2799"/>
                    <a:pt x="4390" y="2799"/>
                    <a:pt x="4463" y="2726"/>
                  </a:cubicBezTo>
                  <a:cubicBezTo>
                    <a:pt x="4536" y="2653"/>
                    <a:pt x="4536" y="2534"/>
                    <a:pt x="4463" y="2461"/>
                  </a:cubicBezTo>
                  <a:lnTo>
                    <a:pt x="4198" y="2196"/>
                  </a:lnTo>
                  <a:close/>
                  <a:moveTo>
                    <a:pt x="4655" y="1475"/>
                  </a:moveTo>
                  <a:lnTo>
                    <a:pt x="4280" y="1475"/>
                  </a:lnTo>
                  <a:cubicBezTo>
                    <a:pt x="4176" y="1475"/>
                    <a:pt x="4092" y="1559"/>
                    <a:pt x="4092" y="1663"/>
                  </a:cubicBezTo>
                  <a:cubicBezTo>
                    <a:pt x="4092" y="1766"/>
                    <a:pt x="4176" y="1850"/>
                    <a:pt x="4280" y="1850"/>
                  </a:cubicBezTo>
                  <a:lnTo>
                    <a:pt x="4655" y="1850"/>
                  </a:lnTo>
                  <a:cubicBezTo>
                    <a:pt x="4758" y="1850"/>
                    <a:pt x="4842" y="1766"/>
                    <a:pt x="4842" y="1663"/>
                  </a:cubicBezTo>
                  <a:cubicBezTo>
                    <a:pt x="4842" y="1559"/>
                    <a:pt x="4758" y="1475"/>
                    <a:pt x="4655" y="1475"/>
                  </a:cubicBezTo>
                  <a:close/>
                  <a:moveTo>
                    <a:pt x="3405" y="2350"/>
                  </a:moveTo>
                  <a:cubicBezTo>
                    <a:pt x="3301" y="2350"/>
                    <a:pt x="3217" y="2434"/>
                    <a:pt x="3217" y="2538"/>
                  </a:cubicBezTo>
                  <a:lnTo>
                    <a:pt x="3217" y="2913"/>
                  </a:lnTo>
                  <a:cubicBezTo>
                    <a:pt x="3217" y="3016"/>
                    <a:pt x="3301" y="3100"/>
                    <a:pt x="3405" y="3100"/>
                  </a:cubicBezTo>
                  <a:cubicBezTo>
                    <a:pt x="3508" y="3100"/>
                    <a:pt x="3592" y="3016"/>
                    <a:pt x="3592" y="2913"/>
                  </a:cubicBezTo>
                  <a:lnTo>
                    <a:pt x="3592" y="2538"/>
                  </a:lnTo>
                  <a:cubicBezTo>
                    <a:pt x="3592" y="2434"/>
                    <a:pt x="3508" y="2350"/>
                    <a:pt x="3405" y="2350"/>
                  </a:cubicBezTo>
                  <a:close/>
                  <a:moveTo>
                    <a:pt x="4367" y="963"/>
                  </a:moveTo>
                  <a:lnTo>
                    <a:pt x="4392" y="753"/>
                  </a:lnTo>
                  <a:lnTo>
                    <a:pt x="4767" y="378"/>
                  </a:lnTo>
                  <a:cubicBezTo>
                    <a:pt x="4840" y="305"/>
                    <a:pt x="4840" y="186"/>
                    <a:pt x="4767" y="113"/>
                  </a:cubicBezTo>
                  <a:cubicBezTo>
                    <a:pt x="4694" y="40"/>
                    <a:pt x="4575" y="40"/>
                    <a:pt x="4502" y="113"/>
                  </a:cubicBezTo>
                  <a:lnTo>
                    <a:pt x="4127" y="488"/>
                  </a:lnTo>
                  <a:lnTo>
                    <a:pt x="3930" y="538"/>
                  </a:lnTo>
                  <a:lnTo>
                    <a:pt x="3852" y="763"/>
                  </a:lnTo>
                  <a:lnTo>
                    <a:pt x="3441" y="1174"/>
                  </a:lnTo>
                  <a:cubicBezTo>
                    <a:pt x="3368" y="1247"/>
                    <a:pt x="3368" y="1366"/>
                    <a:pt x="3441" y="1439"/>
                  </a:cubicBezTo>
                  <a:cubicBezTo>
                    <a:pt x="3514" y="1512"/>
                    <a:pt x="3633" y="1512"/>
                    <a:pt x="3706" y="1439"/>
                  </a:cubicBezTo>
                  <a:lnTo>
                    <a:pt x="4117" y="1028"/>
                  </a:lnTo>
                  <a:lnTo>
                    <a:pt x="4367" y="963"/>
                  </a:lnTo>
                  <a:close/>
                  <a:moveTo>
                    <a:pt x="2646" y="2234"/>
                  </a:moveTo>
                  <a:cubicBezTo>
                    <a:pt x="2279" y="1868"/>
                    <a:pt x="1686" y="1868"/>
                    <a:pt x="1320" y="2234"/>
                  </a:cubicBezTo>
                  <a:lnTo>
                    <a:pt x="367" y="3187"/>
                  </a:lnTo>
                  <a:cubicBezTo>
                    <a:pt x="0" y="3554"/>
                    <a:pt x="0" y="4147"/>
                    <a:pt x="367" y="4513"/>
                  </a:cubicBezTo>
                  <a:cubicBezTo>
                    <a:pt x="733" y="4880"/>
                    <a:pt x="1326" y="4880"/>
                    <a:pt x="1693" y="4513"/>
                  </a:cubicBezTo>
                  <a:lnTo>
                    <a:pt x="2646" y="3560"/>
                  </a:lnTo>
                  <a:cubicBezTo>
                    <a:pt x="3011" y="3195"/>
                    <a:pt x="3011" y="2600"/>
                    <a:pt x="2646" y="2234"/>
                  </a:cubicBezTo>
                  <a:cubicBezTo>
                    <a:pt x="2646" y="2234"/>
                    <a:pt x="2646" y="2234"/>
                    <a:pt x="2646" y="2234"/>
                  </a:cubicBezTo>
                  <a:close/>
                  <a:moveTo>
                    <a:pt x="2380" y="3295"/>
                  </a:moveTo>
                  <a:lnTo>
                    <a:pt x="1427" y="4248"/>
                  </a:lnTo>
                  <a:cubicBezTo>
                    <a:pt x="1208" y="4468"/>
                    <a:pt x="852" y="4468"/>
                    <a:pt x="632" y="4248"/>
                  </a:cubicBezTo>
                  <a:cubicBezTo>
                    <a:pt x="412" y="4028"/>
                    <a:pt x="412" y="3672"/>
                    <a:pt x="632" y="3453"/>
                  </a:cubicBezTo>
                  <a:lnTo>
                    <a:pt x="1585" y="2500"/>
                  </a:lnTo>
                  <a:cubicBezTo>
                    <a:pt x="1805" y="2280"/>
                    <a:pt x="2161" y="2280"/>
                    <a:pt x="2380" y="2500"/>
                  </a:cubicBezTo>
                  <a:cubicBezTo>
                    <a:pt x="2600" y="2719"/>
                    <a:pt x="2600" y="3076"/>
                    <a:pt x="2380" y="329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13"/>
            <p:cNvSpPr>
              <a:spLocks noEditPoints="1"/>
            </p:cNvSpPr>
            <p:nvPr/>
          </p:nvSpPr>
          <p:spPr bwMode="auto">
            <a:xfrm>
              <a:off x="3288" y="4217"/>
              <a:ext cx="254" cy="255"/>
            </a:xfrm>
            <a:custGeom>
              <a:avLst/>
              <a:gdLst>
                <a:gd name="T0" fmla="*/ 4441 w 4806"/>
                <a:gd name="T1" fmla="*/ 365 h 4806"/>
                <a:gd name="T2" fmla="*/ 3115 w 4806"/>
                <a:gd name="T3" fmla="*/ 365 h 4806"/>
                <a:gd name="T4" fmla="*/ 2194 w 4806"/>
                <a:gd name="T5" fmla="*/ 1286 h 4806"/>
                <a:gd name="T6" fmla="*/ 2075 w 4806"/>
                <a:gd name="T7" fmla="*/ 2466 h 4806"/>
                <a:gd name="T8" fmla="*/ 2350 w 4806"/>
                <a:gd name="T9" fmla="*/ 2191 h 4806"/>
                <a:gd name="T10" fmla="*/ 2460 w 4806"/>
                <a:gd name="T11" fmla="*/ 1551 h 4806"/>
                <a:gd name="T12" fmla="*/ 3380 w 4806"/>
                <a:gd name="T13" fmla="*/ 630 h 4806"/>
                <a:gd name="T14" fmla="*/ 4176 w 4806"/>
                <a:gd name="T15" fmla="*/ 630 h 4806"/>
                <a:gd name="T16" fmla="*/ 4176 w 4806"/>
                <a:gd name="T17" fmla="*/ 1426 h 4806"/>
                <a:gd name="T18" fmla="*/ 3255 w 4806"/>
                <a:gd name="T19" fmla="*/ 2346 h 4806"/>
                <a:gd name="T20" fmla="*/ 2615 w 4806"/>
                <a:gd name="T21" fmla="*/ 2456 h 4806"/>
                <a:gd name="T22" fmla="*/ 2340 w 4806"/>
                <a:gd name="T23" fmla="*/ 2731 h 4806"/>
                <a:gd name="T24" fmla="*/ 3520 w 4806"/>
                <a:gd name="T25" fmla="*/ 2612 h 4806"/>
                <a:gd name="T26" fmla="*/ 4441 w 4806"/>
                <a:gd name="T27" fmla="*/ 1691 h 4806"/>
                <a:gd name="T28" fmla="*/ 4441 w 4806"/>
                <a:gd name="T29" fmla="*/ 365 h 4806"/>
                <a:gd name="T30" fmla="*/ 1134 w 4806"/>
                <a:gd name="T31" fmla="*/ 3407 h 4806"/>
                <a:gd name="T32" fmla="*/ 73 w 4806"/>
                <a:gd name="T33" fmla="*/ 4468 h 4806"/>
                <a:gd name="T34" fmla="*/ 73 w 4806"/>
                <a:gd name="T35" fmla="*/ 4733 h 4806"/>
                <a:gd name="T36" fmla="*/ 338 w 4806"/>
                <a:gd name="T37" fmla="*/ 4733 h 4806"/>
                <a:gd name="T38" fmla="*/ 1399 w 4806"/>
                <a:gd name="T39" fmla="*/ 3672 h 4806"/>
                <a:gd name="T40" fmla="*/ 1399 w 4806"/>
                <a:gd name="T41" fmla="*/ 3407 h 4806"/>
                <a:gd name="T42" fmla="*/ 1134 w 4806"/>
                <a:gd name="T43" fmla="*/ 3407 h 4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806" h="4806">
                  <a:moveTo>
                    <a:pt x="4441" y="365"/>
                  </a:moveTo>
                  <a:cubicBezTo>
                    <a:pt x="4075" y="0"/>
                    <a:pt x="3481" y="0"/>
                    <a:pt x="3115" y="365"/>
                  </a:cubicBezTo>
                  <a:lnTo>
                    <a:pt x="2194" y="1286"/>
                  </a:lnTo>
                  <a:cubicBezTo>
                    <a:pt x="1874" y="1606"/>
                    <a:pt x="1835" y="2102"/>
                    <a:pt x="2075" y="2466"/>
                  </a:cubicBezTo>
                  <a:lnTo>
                    <a:pt x="2350" y="2191"/>
                  </a:lnTo>
                  <a:cubicBezTo>
                    <a:pt x="2250" y="1982"/>
                    <a:pt x="2287" y="1724"/>
                    <a:pt x="2460" y="1551"/>
                  </a:cubicBezTo>
                  <a:lnTo>
                    <a:pt x="3380" y="630"/>
                  </a:lnTo>
                  <a:cubicBezTo>
                    <a:pt x="3599" y="411"/>
                    <a:pt x="3956" y="411"/>
                    <a:pt x="4176" y="630"/>
                  </a:cubicBezTo>
                  <a:cubicBezTo>
                    <a:pt x="4395" y="850"/>
                    <a:pt x="4395" y="1207"/>
                    <a:pt x="4176" y="1426"/>
                  </a:cubicBezTo>
                  <a:lnTo>
                    <a:pt x="3255" y="2346"/>
                  </a:lnTo>
                  <a:cubicBezTo>
                    <a:pt x="3082" y="2519"/>
                    <a:pt x="2824" y="2556"/>
                    <a:pt x="2615" y="2456"/>
                  </a:cubicBezTo>
                  <a:lnTo>
                    <a:pt x="2340" y="2731"/>
                  </a:lnTo>
                  <a:cubicBezTo>
                    <a:pt x="2704" y="2971"/>
                    <a:pt x="3200" y="2932"/>
                    <a:pt x="3520" y="2612"/>
                  </a:cubicBezTo>
                  <a:lnTo>
                    <a:pt x="4441" y="1691"/>
                  </a:lnTo>
                  <a:cubicBezTo>
                    <a:pt x="4806" y="1325"/>
                    <a:pt x="4806" y="731"/>
                    <a:pt x="4441" y="365"/>
                  </a:cubicBezTo>
                  <a:close/>
                  <a:moveTo>
                    <a:pt x="1134" y="3407"/>
                  </a:moveTo>
                  <a:lnTo>
                    <a:pt x="73" y="4468"/>
                  </a:lnTo>
                  <a:cubicBezTo>
                    <a:pt x="0" y="4541"/>
                    <a:pt x="0" y="4660"/>
                    <a:pt x="73" y="4733"/>
                  </a:cubicBezTo>
                  <a:cubicBezTo>
                    <a:pt x="146" y="4806"/>
                    <a:pt x="265" y="4806"/>
                    <a:pt x="338" y="4733"/>
                  </a:cubicBezTo>
                  <a:lnTo>
                    <a:pt x="1399" y="3672"/>
                  </a:lnTo>
                  <a:cubicBezTo>
                    <a:pt x="1472" y="3599"/>
                    <a:pt x="1472" y="3480"/>
                    <a:pt x="1399" y="3407"/>
                  </a:cubicBezTo>
                  <a:cubicBezTo>
                    <a:pt x="1326" y="3334"/>
                    <a:pt x="1207" y="3334"/>
                    <a:pt x="1134" y="340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2" name="Group 116"/>
          <p:cNvGrpSpPr>
            <a:grpSpLocks noChangeAspect="1"/>
          </p:cNvGrpSpPr>
          <p:nvPr/>
        </p:nvGrpSpPr>
        <p:grpSpPr bwMode="auto">
          <a:xfrm>
            <a:off x="5939685" y="3236400"/>
            <a:ext cx="384068" cy="385200"/>
            <a:chOff x="-363" y="4560"/>
            <a:chExt cx="339" cy="340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04" name="Freeform 117"/>
            <p:cNvSpPr>
              <a:spLocks/>
            </p:cNvSpPr>
            <p:nvPr/>
          </p:nvSpPr>
          <p:spPr bwMode="auto">
            <a:xfrm>
              <a:off x="-199" y="4624"/>
              <a:ext cx="10" cy="17"/>
            </a:xfrm>
            <a:custGeom>
              <a:avLst/>
              <a:gdLst>
                <a:gd name="T0" fmla="*/ 94 w 188"/>
                <a:gd name="T1" fmla="*/ 325 h 325"/>
                <a:gd name="T2" fmla="*/ 188 w 188"/>
                <a:gd name="T3" fmla="*/ 232 h 325"/>
                <a:gd name="T4" fmla="*/ 188 w 188"/>
                <a:gd name="T5" fmla="*/ 94 h 325"/>
                <a:gd name="T6" fmla="*/ 94 w 188"/>
                <a:gd name="T7" fmla="*/ 0 h 325"/>
                <a:gd name="T8" fmla="*/ 0 w 188"/>
                <a:gd name="T9" fmla="*/ 94 h 325"/>
                <a:gd name="T10" fmla="*/ 0 w 188"/>
                <a:gd name="T11" fmla="*/ 232 h 325"/>
                <a:gd name="T12" fmla="*/ 94 w 188"/>
                <a:gd name="T13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325">
                  <a:moveTo>
                    <a:pt x="94" y="325"/>
                  </a:moveTo>
                  <a:cubicBezTo>
                    <a:pt x="146" y="325"/>
                    <a:pt x="188" y="283"/>
                    <a:pt x="188" y="232"/>
                  </a:cubicBezTo>
                  <a:lnTo>
                    <a:pt x="188" y="94"/>
                  </a:lnTo>
                  <a:cubicBezTo>
                    <a:pt x="188" y="42"/>
                    <a:pt x="146" y="0"/>
                    <a:pt x="94" y="0"/>
                  </a:cubicBezTo>
                  <a:cubicBezTo>
                    <a:pt x="42" y="0"/>
                    <a:pt x="0" y="42"/>
                    <a:pt x="0" y="94"/>
                  </a:cubicBezTo>
                  <a:lnTo>
                    <a:pt x="0" y="232"/>
                  </a:lnTo>
                  <a:cubicBezTo>
                    <a:pt x="0" y="283"/>
                    <a:pt x="42" y="325"/>
                    <a:pt x="94" y="3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118"/>
            <p:cNvSpPr>
              <a:spLocks/>
            </p:cNvSpPr>
            <p:nvPr/>
          </p:nvSpPr>
          <p:spPr bwMode="auto">
            <a:xfrm>
              <a:off x="-133" y="4653"/>
              <a:ext cx="16" cy="16"/>
            </a:xfrm>
            <a:custGeom>
              <a:avLst/>
              <a:gdLst>
                <a:gd name="T0" fmla="*/ 267 w 303"/>
                <a:gd name="T1" fmla="*/ 36 h 294"/>
                <a:gd name="T2" fmla="*/ 134 w 303"/>
                <a:gd name="T3" fmla="*/ 36 h 294"/>
                <a:gd name="T4" fmla="*/ 37 w 303"/>
                <a:gd name="T5" fmla="*/ 134 h 294"/>
                <a:gd name="T6" fmla="*/ 37 w 303"/>
                <a:gd name="T7" fmla="*/ 266 h 294"/>
                <a:gd name="T8" fmla="*/ 103 w 303"/>
                <a:gd name="T9" fmla="*/ 294 h 294"/>
                <a:gd name="T10" fmla="*/ 169 w 303"/>
                <a:gd name="T11" fmla="*/ 266 h 294"/>
                <a:gd name="T12" fmla="*/ 267 w 303"/>
                <a:gd name="T13" fmla="*/ 169 h 294"/>
                <a:gd name="T14" fmla="*/ 267 w 303"/>
                <a:gd name="T15" fmla="*/ 36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3" h="294">
                  <a:moveTo>
                    <a:pt x="267" y="36"/>
                  </a:moveTo>
                  <a:cubicBezTo>
                    <a:pt x="230" y="0"/>
                    <a:pt x="171" y="0"/>
                    <a:pt x="134" y="36"/>
                  </a:cubicBezTo>
                  <a:lnTo>
                    <a:pt x="37" y="134"/>
                  </a:lnTo>
                  <a:cubicBezTo>
                    <a:pt x="0" y="170"/>
                    <a:pt x="0" y="230"/>
                    <a:pt x="37" y="266"/>
                  </a:cubicBezTo>
                  <a:cubicBezTo>
                    <a:pt x="55" y="285"/>
                    <a:pt x="79" y="294"/>
                    <a:pt x="103" y="294"/>
                  </a:cubicBezTo>
                  <a:cubicBezTo>
                    <a:pt x="127" y="294"/>
                    <a:pt x="151" y="285"/>
                    <a:pt x="169" y="266"/>
                  </a:cubicBezTo>
                  <a:lnTo>
                    <a:pt x="267" y="169"/>
                  </a:lnTo>
                  <a:cubicBezTo>
                    <a:pt x="303" y="132"/>
                    <a:pt x="303" y="73"/>
                    <a:pt x="267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19"/>
            <p:cNvSpPr>
              <a:spLocks/>
            </p:cNvSpPr>
            <p:nvPr/>
          </p:nvSpPr>
          <p:spPr bwMode="auto">
            <a:xfrm>
              <a:off x="-106" y="4725"/>
              <a:ext cx="18" cy="10"/>
            </a:xfrm>
            <a:custGeom>
              <a:avLst/>
              <a:gdLst>
                <a:gd name="T0" fmla="*/ 94 w 325"/>
                <a:gd name="T1" fmla="*/ 0 h 188"/>
                <a:gd name="T2" fmla="*/ 0 w 325"/>
                <a:gd name="T3" fmla="*/ 94 h 188"/>
                <a:gd name="T4" fmla="*/ 94 w 325"/>
                <a:gd name="T5" fmla="*/ 188 h 188"/>
                <a:gd name="T6" fmla="*/ 232 w 325"/>
                <a:gd name="T7" fmla="*/ 188 h 188"/>
                <a:gd name="T8" fmla="*/ 325 w 325"/>
                <a:gd name="T9" fmla="*/ 94 h 188"/>
                <a:gd name="T10" fmla="*/ 232 w 325"/>
                <a:gd name="T11" fmla="*/ 0 h 188"/>
                <a:gd name="T12" fmla="*/ 94 w 325"/>
                <a:gd name="T13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" h="188">
                  <a:moveTo>
                    <a:pt x="94" y="0"/>
                  </a:move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lnTo>
                    <a:pt x="232" y="188"/>
                  </a:lnTo>
                  <a:cubicBezTo>
                    <a:pt x="283" y="188"/>
                    <a:pt x="325" y="146"/>
                    <a:pt x="325" y="94"/>
                  </a:cubicBezTo>
                  <a:cubicBezTo>
                    <a:pt x="325" y="42"/>
                    <a:pt x="283" y="0"/>
                    <a:pt x="232" y="0"/>
                  </a:cubicBezTo>
                  <a:lnTo>
                    <a:pt x="9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120"/>
            <p:cNvSpPr>
              <a:spLocks/>
            </p:cNvSpPr>
            <p:nvPr/>
          </p:nvSpPr>
          <p:spPr bwMode="auto">
            <a:xfrm>
              <a:off x="-134" y="4791"/>
              <a:ext cx="16" cy="15"/>
            </a:xfrm>
            <a:custGeom>
              <a:avLst/>
              <a:gdLst>
                <a:gd name="T0" fmla="*/ 169 w 303"/>
                <a:gd name="T1" fmla="*/ 37 h 294"/>
                <a:gd name="T2" fmla="*/ 36 w 303"/>
                <a:gd name="T3" fmla="*/ 37 h 294"/>
                <a:gd name="T4" fmla="*/ 36 w 303"/>
                <a:gd name="T5" fmla="*/ 169 h 294"/>
                <a:gd name="T6" fmla="*/ 134 w 303"/>
                <a:gd name="T7" fmla="*/ 267 h 294"/>
                <a:gd name="T8" fmla="*/ 200 w 303"/>
                <a:gd name="T9" fmla="*/ 294 h 294"/>
                <a:gd name="T10" fmla="*/ 266 w 303"/>
                <a:gd name="T11" fmla="*/ 267 h 294"/>
                <a:gd name="T12" fmla="*/ 266 w 303"/>
                <a:gd name="T13" fmla="*/ 134 h 294"/>
                <a:gd name="T14" fmla="*/ 169 w 303"/>
                <a:gd name="T15" fmla="*/ 37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3" h="294">
                  <a:moveTo>
                    <a:pt x="169" y="37"/>
                  </a:moveTo>
                  <a:cubicBezTo>
                    <a:pt x="132" y="0"/>
                    <a:pt x="73" y="0"/>
                    <a:pt x="36" y="37"/>
                  </a:cubicBezTo>
                  <a:cubicBezTo>
                    <a:pt x="0" y="73"/>
                    <a:pt x="0" y="133"/>
                    <a:pt x="36" y="169"/>
                  </a:cubicBezTo>
                  <a:lnTo>
                    <a:pt x="134" y="267"/>
                  </a:lnTo>
                  <a:cubicBezTo>
                    <a:pt x="152" y="285"/>
                    <a:pt x="176" y="294"/>
                    <a:pt x="200" y="294"/>
                  </a:cubicBezTo>
                  <a:cubicBezTo>
                    <a:pt x="224" y="294"/>
                    <a:pt x="248" y="285"/>
                    <a:pt x="266" y="267"/>
                  </a:cubicBezTo>
                  <a:cubicBezTo>
                    <a:pt x="303" y="230"/>
                    <a:pt x="303" y="171"/>
                    <a:pt x="266" y="134"/>
                  </a:cubicBezTo>
                  <a:lnTo>
                    <a:pt x="169" y="3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121"/>
            <p:cNvSpPr>
              <a:spLocks/>
            </p:cNvSpPr>
            <p:nvPr/>
          </p:nvSpPr>
          <p:spPr bwMode="auto">
            <a:xfrm>
              <a:off x="-199" y="4818"/>
              <a:ext cx="10" cy="17"/>
            </a:xfrm>
            <a:custGeom>
              <a:avLst/>
              <a:gdLst>
                <a:gd name="T0" fmla="*/ 0 w 188"/>
                <a:gd name="T1" fmla="*/ 94 h 325"/>
                <a:gd name="T2" fmla="*/ 0 w 188"/>
                <a:gd name="T3" fmla="*/ 232 h 325"/>
                <a:gd name="T4" fmla="*/ 94 w 188"/>
                <a:gd name="T5" fmla="*/ 325 h 325"/>
                <a:gd name="T6" fmla="*/ 188 w 188"/>
                <a:gd name="T7" fmla="*/ 232 h 325"/>
                <a:gd name="T8" fmla="*/ 188 w 188"/>
                <a:gd name="T9" fmla="*/ 94 h 325"/>
                <a:gd name="T10" fmla="*/ 94 w 188"/>
                <a:gd name="T11" fmla="*/ 0 h 325"/>
                <a:gd name="T12" fmla="*/ 0 w 188"/>
                <a:gd name="T13" fmla="*/ 9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325">
                  <a:moveTo>
                    <a:pt x="0" y="94"/>
                  </a:moveTo>
                  <a:lnTo>
                    <a:pt x="0" y="232"/>
                  </a:lnTo>
                  <a:cubicBezTo>
                    <a:pt x="0" y="283"/>
                    <a:pt x="42" y="325"/>
                    <a:pt x="94" y="325"/>
                  </a:cubicBezTo>
                  <a:cubicBezTo>
                    <a:pt x="146" y="325"/>
                    <a:pt x="188" y="283"/>
                    <a:pt x="188" y="232"/>
                  </a:cubicBezTo>
                  <a:lnTo>
                    <a:pt x="188" y="94"/>
                  </a:lnTo>
                  <a:cubicBezTo>
                    <a:pt x="188" y="42"/>
                    <a:pt x="146" y="0"/>
                    <a:pt x="94" y="0"/>
                  </a:cubicBezTo>
                  <a:cubicBezTo>
                    <a:pt x="42" y="0"/>
                    <a:pt x="0" y="42"/>
                    <a:pt x="0" y="9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22"/>
            <p:cNvSpPr>
              <a:spLocks/>
            </p:cNvSpPr>
            <p:nvPr/>
          </p:nvSpPr>
          <p:spPr bwMode="auto">
            <a:xfrm>
              <a:off x="-271" y="4790"/>
              <a:ext cx="16" cy="16"/>
            </a:xfrm>
            <a:custGeom>
              <a:avLst/>
              <a:gdLst>
                <a:gd name="T0" fmla="*/ 134 w 303"/>
                <a:gd name="T1" fmla="*/ 36 h 294"/>
                <a:gd name="T2" fmla="*/ 36 w 303"/>
                <a:gd name="T3" fmla="*/ 134 h 294"/>
                <a:gd name="T4" fmla="*/ 36 w 303"/>
                <a:gd name="T5" fmla="*/ 266 h 294"/>
                <a:gd name="T6" fmla="*/ 103 w 303"/>
                <a:gd name="T7" fmla="*/ 294 h 294"/>
                <a:gd name="T8" fmla="*/ 169 w 303"/>
                <a:gd name="T9" fmla="*/ 266 h 294"/>
                <a:gd name="T10" fmla="*/ 266 w 303"/>
                <a:gd name="T11" fmla="*/ 169 h 294"/>
                <a:gd name="T12" fmla="*/ 266 w 303"/>
                <a:gd name="T13" fmla="*/ 36 h 294"/>
                <a:gd name="T14" fmla="*/ 134 w 303"/>
                <a:gd name="T15" fmla="*/ 36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3" h="294">
                  <a:moveTo>
                    <a:pt x="134" y="36"/>
                  </a:moveTo>
                  <a:lnTo>
                    <a:pt x="36" y="134"/>
                  </a:lnTo>
                  <a:cubicBezTo>
                    <a:pt x="0" y="170"/>
                    <a:pt x="0" y="230"/>
                    <a:pt x="36" y="266"/>
                  </a:cubicBezTo>
                  <a:cubicBezTo>
                    <a:pt x="55" y="285"/>
                    <a:pt x="79" y="294"/>
                    <a:pt x="103" y="294"/>
                  </a:cubicBezTo>
                  <a:cubicBezTo>
                    <a:pt x="126" y="294"/>
                    <a:pt x="150" y="285"/>
                    <a:pt x="169" y="266"/>
                  </a:cubicBezTo>
                  <a:lnTo>
                    <a:pt x="266" y="169"/>
                  </a:lnTo>
                  <a:cubicBezTo>
                    <a:pt x="303" y="132"/>
                    <a:pt x="303" y="73"/>
                    <a:pt x="266" y="36"/>
                  </a:cubicBezTo>
                  <a:cubicBezTo>
                    <a:pt x="229" y="0"/>
                    <a:pt x="170" y="0"/>
                    <a:pt x="134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23"/>
            <p:cNvSpPr>
              <a:spLocks/>
            </p:cNvSpPr>
            <p:nvPr/>
          </p:nvSpPr>
          <p:spPr bwMode="auto">
            <a:xfrm>
              <a:off x="-300" y="4724"/>
              <a:ext cx="18" cy="10"/>
            </a:xfrm>
            <a:custGeom>
              <a:avLst/>
              <a:gdLst>
                <a:gd name="T0" fmla="*/ 94 w 325"/>
                <a:gd name="T1" fmla="*/ 0 h 188"/>
                <a:gd name="T2" fmla="*/ 0 w 325"/>
                <a:gd name="T3" fmla="*/ 94 h 188"/>
                <a:gd name="T4" fmla="*/ 94 w 325"/>
                <a:gd name="T5" fmla="*/ 188 h 188"/>
                <a:gd name="T6" fmla="*/ 232 w 325"/>
                <a:gd name="T7" fmla="*/ 188 h 188"/>
                <a:gd name="T8" fmla="*/ 325 w 325"/>
                <a:gd name="T9" fmla="*/ 94 h 188"/>
                <a:gd name="T10" fmla="*/ 232 w 325"/>
                <a:gd name="T11" fmla="*/ 0 h 188"/>
                <a:gd name="T12" fmla="*/ 94 w 325"/>
                <a:gd name="T13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5" h="188">
                  <a:moveTo>
                    <a:pt x="94" y="0"/>
                  </a:move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lnTo>
                    <a:pt x="232" y="188"/>
                  </a:lnTo>
                  <a:cubicBezTo>
                    <a:pt x="283" y="188"/>
                    <a:pt x="325" y="146"/>
                    <a:pt x="325" y="94"/>
                  </a:cubicBezTo>
                  <a:cubicBezTo>
                    <a:pt x="325" y="42"/>
                    <a:pt x="283" y="0"/>
                    <a:pt x="232" y="0"/>
                  </a:cubicBezTo>
                  <a:lnTo>
                    <a:pt x="9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24"/>
            <p:cNvSpPr>
              <a:spLocks/>
            </p:cNvSpPr>
            <p:nvPr/>
          </p:nvSpPr>
          <p:spPr bwMode="auto">
            <a:xfrm>
              <a:off x="-270" y="4653"/>
              <a:ext cx="16" cy="15"/>
            </a:xfrm>
            <a:custGeom>
              <a:avLst/>
              <a:gdLst>
                <a:gd name="T0" fmla="*/ 266 w 303"/>
                <a:gd name="T1" fmla="*/ 134 h 294"/>
                <a:gd name="T2" fmla="*/ 169 w 303"/>
                <a:gd name="T3" fmla="*/ 36 h 294"/>
                <a:gd name="T4" fmla="*/ 36 w 303"/>
                <a:gd name="T5" fmla="*/ 36 h 294"/>
                <a:gd name="T6" fmla="*/ 36 w 303"/>
                <a:gd name="T7" fmla="*/ 169 h 294"/>
                <a:gd name="T8" fmla="*/ 134 w 303"/>
                <a:gd name="T9" fmla="*/ 266 h 294"/>
                <a:gd name="T10" fmla="*/ 200 w 303"/>
                <a:gd name="T11" fmla="*/ 294 h 294"/>
                <a:gd name="T12" fmla="*/ 266 w 303"/>
                <a:gd name="T13" fmla="*/ 266 h 294"/>
                <a:gd name="T14" fmla="*/ 266 w 303"/>
                <a:gd name="T15" fmla="*/ 13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3" h="294">
                  <a:moveTo>
                    <a:pt x="266" y="134"/>
                  </a:moveTo>
                  <a:lnTo>
                    <a:pt x="169" y="36"/>
                  </a:lnTo>
                  <a:cubicBezTo>
                    <a:pt x="132" y="0"/>
                    <a:pt x="73" y="0"/>
                    <a:pt x="36" y="36"/>
                  </a:cubicBezTo>
                  <a:cubicBezTo>
                    <a:pt x="0" y="73"/>
                    <a:pt x="0" y="132"/>
                    <a:pt x="36" y="169"/>
                  </a:cubicBezTo>
                  <a:lnTo>
                    <a:pt x="134" y="266"/>
                  </a:lnTo>
                  <a:cubicBezTo>
                    <a:pt x="152" y="284"/>
                    <a:pt x="176" y="294"/>
                    <a:pt x="200" y="294"/>
                  </a:cubicBezTo>
                  <a:cubicBezTo>
                    <a:pt x="224" y="294"/>
                    <a:pt x="248" y="284"/>
                    <a:pt x="266" y="266"/>
                  </a:cubicBezTo>
                  <a:cubicBezTo>
                    <a:pt x="303" y="229"/>
                    <a:pt x="303" y="170"/>
                    <a:pt x="266" y="1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25"/>
            <p:cNvSpPr>
              <a:spLocks noEditPoints="1"/>
            </p:cNvSpPr>
            <p:nvPr/>
          </p:nvSpPr>
          <p:spPr bwMode="auto">
            <a:xfrm>
              <a:off x="-241" y="4657"/>
              <a:ext cx="104" cy="105"/>
            </a:xfrm>
            <a:custGeom>
              <a:avLst/>
              <a:gdLst>
                <a:gd name="T0" fmla="*/ 1141 w 1959"/>
                <a:gd name="T1" fmla="*/ 1615 h 1982"/>
                <a:gd name="T2" fmla="*/ 1809 w 1959"/>
                <a:gd name="T3" fmla="*/ 1958 h 1982"/>
                <a:gd name="T4" fmla="*/ 1935 w 1959"/>
                <a:gd name="T5" fmla="*/ 1917 h 1982"/>
                <a:gd name="T6" fmla="*/ 1895 w 1959"/>
                <a:gd name="T7" fmla="*/ 1791 h 1982"/>
                <a:gd name="T8" fmla="*/ 1227 w 1959"/>
                <a:gd name="T9" fmla="*/ 1448 h 1982"/>
                <a:gd name="T10" fmla="*/ 1234 w 1959"/>
                <a:gd name="T11" fmla="*/ 1380 h 1982"/>
                <a:gd name="T12" fmla="*/ 984 w 1959"/>
                <a:gd name="T13" fmla="*/ 1049 h 1982"/>
                <a:gd name="T14" fmla="*/ 984 w 1959"/>
                <a:gd name="T15" fmla="*/ 94 h 1982"/>
                <a:gd name="T16" fmla="*/ 890 w 1959"/>
                <a:gd name="T17" fmla="*/ 0 h 1982"/>
                <a:gd name="T18" fmla="*/ 796 w 1959"/>
                <a:gd name="T19" fmla="*/ 94 h 1982"/>
                <a:gd name="T20" fmla="*/ 796 w 1959"/>
                <a:gd name="T21" fmla="*/ 1049 h 1982"/>
                <a:gd name="T22" fmla="*/ 559 w 1959"/>
                <a:gd name="T23" fmla="*/ 1286 h 1982"/>
                <a:gd name="T24" fmla="*/ 94 w 1959"/>
                <a:gd name="T25" fmla="*/ 1286 h 1982"/>
                <a:gd name="T26" fmla="*/ 0 w 1959"/>
                <a:gd name="T27" fmla="*/ 1380 h 1982"/>
                <a:gd name="T28" fmla="*/ 94 w 1959"/>
                <a:gd name="T29" fmla="*/ 1474 h 1982"/>
                <a:gd name="T30" fmla="*/ 559 w 1959"/>
                <a:gd name="T31" fmla="*/ 1474 h 1982"/>
                <a:gd name="T32" fmla="*/ 890 w 1959"/>
                <a:gd name="T33" fmla="*/ 1724 h 1982"/>
                <a:gd name="T34" fmla="*/ 1141 w 1959"/>
                <a:gd name="T35" fmla="*/ 1615 h 1982"/>
                <a:gd name="T36" fmla="*/ 890 w 1959"/>
                <a:gd name="T37" fmla="*/ 1536 h 1982"/>
                <a:gd name="T38" fmla="*/ 734 w 1959"/>
                <a:gd name="T39" fmla="*/ 1380 h 1982"/>
                <a:gd name="T40" fmla="*/ 890 w 1959"/>
                <a:gd name="T41" fmla="*/ 1224 h 1982"/>
                <a:gd name="T42" fmla="*/ 1046 w 1959"/>
                <a:gd name="T43" fmla="*/ 1380 h 1982"/>
                <a:gd name="T44" fmla="*/ 890 w 1959"/>
                <a:gd name="T45" fmla="*/ 1536 h 1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59" h="1982">
                  <a:moveTo>
                    <a:pt x="1141" y="1615"/>
                  </a:moveTo>
                  <a:lnTo>
                    <a:pt x="1809" y="1958"/>
                  </a:lnTo>
                  <a:cubicBezTo>
                    <a:pt x="1855" y="1982"/>
                    <a:pt x="1912" y="1963"/>
                    <a:pt x="1935" y="1917"/>
                  </a:cubicBezTo>
                  <a:cubicBezTo>
                    <a:pt x="1959" y="1871"/>
                    <a:pt x="1941" y="1815"/>
                    <a:pt x="1895" y="1791"/>
                  </a:cubicBezTo>
                  <a:lnTo>
                    <a:pt x="1227" y="1448"/>
                  </a:lnTo>
                  <a:cubicBezTo>
                    <a:pt x="1232" y="1426"/>
                    <a:pt x="1234" y="1403"/>
                    <a:pt x="1234" y="1380"/>
                  </a:cubicBezTo>
                  <a:cubicBezTo>
                    <a:pt x="1234" y="1223"/>
                    <a:pt x="1128" y="1090"/>
                    <a:pt x="984" y="1049"/>
                  </a:cubicBezTo>
                  <a:lnTo>
                    <a:pt x="984" y="94"/>
                  </a:lnTo>
                  <a:cubicBezTo>
                    <a:pt x="984" y="42"/>
                    <a:pt x="942" y="0"/>
                    <a:pt x="890" y="0"/>
                  </a:cubicBezTo>
                  <a:cubicBezTo>
                    <a:pt x="838" y="0"/>
                    <a:pt x="796" y="42"/>
                    <a:pt x="796" y="94"/>
                  </a:cubicBezTo>
                  <a:lnTo>
                    <a:pt x="796" y="1049"/>
                  </a:lnTo>
                  <a:cubicBezTo>
                    <a:pt x="682" y="1082"/>
                    <a:pt x="592" y="1172"/>
                    <a:pt x="559" y="1286"/>
                  </a:cubicBezTo>
                  <a:lnTo>
                    <a:pt x="94" y="1286"/>
                  </a:lnTo>
                  <a:cubicBezTo>
                    <a:pt x="42" y="1286"/>
                    <a:pt x="0" y="1328"/>
                    <a:pt x="0" y="1380"/>
                  </a:cubicBezTo>
                  <a:cubicBezTo>
                    <a:pt x="0" y="1432"/>
                    <a:pt x="42" y="1474"/>
                    <a:pt x="94" y="1474"/>
                  </a:cubicBezTo>
                  <a:lnTo>
                    <a:pt x="559" y="1474"/>
                  </a:lnTo>
                  <a:cubicBezTo>
                    <a:pt x="600" y="1618"/>
                    <a:pt x="733" y="1724"/>
                    <a:pt x="890" y="1724"/>
                  </a:cubicBezTo>
                  <a:cubicBezTo>
                    <a:pt x="989" y="1724"/>
                    <a:pt x="1078" y="1682"/>
                    <a:pt x="1141" y="1615"/>
                  </a:cubicBezTo>
                  <a:close/>
                  <a:moveTo>
                    <a:pt x="890" y="1536"/>
                  </a:moveTo>
                  <a:cubicBezTo>
                    <a:pt x="804" y="1536"/>
                    <a:pt x="734" y="1466"/>
                    <a:pt x="734" y="1380"/>
                  </a:cubicBezTo>
                  <a:cubicBezTo>
                    <a:pt x="734" y="1294"/>
                    <a:pt x="804" y="1224"/>
                    <a:pt x="890" y="1224"/>
                  </a:cubicBezTo>
                  <a:cubicBezTo>
                    <a:pt x="976" y="1224"/>
                    <a:pt x="1046" y="1294"/>
                    <a:pt x="1046" y="1380"/>
                  </a:cubicBezTo>
                  <a:cubicBezTo>
                    <a:pt x="1046" y="1466"/>
                    <a:pt x="976" y="1536"/>
                    <a:pt x="890" y="15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26"/>
            <p:cNvSpPr>
              <a:spLocks/>
            </p:cNvSpPr>
            <p:nvPr/>
          </p:nvSpPr>
          <p:spPr bwMode="auto">
            <a:xfrm>
              <a:off x="-327" y="4596"/>
              <a:ext cx="266" cy="267"/>
            </a:xfrm>
            <a:custGeom>
              <a:avLst/>
              <a:gdLst>
                <a:gd name="T0" fmla="*/ 4935 w 5025"/>
                <a:gd name="T1" fmla="*/ 2420 h 5028"/>
                <a:gd name="T2" fmla="*/ 5021 w 5025"/>
                <a:gd name="T3" fmla="*/ 2319 h 5028"/>
                <a:gd name="T4" fmla="*/ 4226 w 5025"/>
                <a:gd name="T5" fmla="*/ 673 h 5028"/>
                <a:gd name="T6" fmla="*/ 2514 w 5025"/>
                <a:gd name="T7" fmla="*/ 0 h 5028"/>
                <a:gd name="T8" fmla="*/ 0 w 5025"/>
                <a:gd name="T9" fmla="*/ 2514 h 5028"/>
                <a:gd name="T10" fmla="*/ 2514 w 5025"/>
                <a:gd name="T11" fmla="*/ 5028 h 5028"/>
                <a:gd name="T12" fmla="*/ 5021 w 5025"/>
                <a:gd name="T13" fmla="*/ 2709 h 5028"/>
                <a:gd name="T14" fmla="*/ 4935 w 5025"/>
                <a:gd name="T15" fmla="*/ 2608 h 5028"/>
                <a:gd name="T16" fmla="*/ 4834 w 5025"/>
                <a:gd name="T17" fmla="*/ 2694 h 5028"/>
                <a:gd name="T18" fmla="*/ 2514 w 5025"/>
                <a:gd name="T19" fmla="*/ 4841 h 5028"/>
                <a:gd name="T20" fmla="*/ 187 w 5025"/>
                <a:gd name="T21" fmla="*/ 2514 h 5028"/>
                <a:gd name="T22" fmla="*/ 2514 w 5025"/>
                <a:gd name="T23" fmla="*/ 187 h 5028"/>
                <a:gd name="T24" fmla="*/ 4099 w 5025"/>
                <a:gd name="T25" fmla="*/ 810 h 5028"/>
                <a:gd name="T26" fmla="*/ 4834 w 5025"/>
                <a:gd name="T27" fmla="*/ 2334 h 5028"/>
                <a:gd name="T28" fmla="*/ 4935 w 5025"/>
                <a:gd name="T29" fmla="*/ 2420 h 5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025" h="5028">
                  <a:moveTo>
                    <a:pt x="4935" y="2420"/>
                  </a:moveTo>
                  <a:cubicBezTo>
                    <a:pt x="4986" y="2416"/>
                    <a:pt x="5025" y="2371"/>
                    <a:pt x="5021" y="2319"/>
                  </a:cubicBezTo>
                  <a:cubicBezTo>
                    <a:pt x="4973" y="1690"/>
                    <a:pt x="4690" y="1105"/>
                    <a:pt x="4226" y="673"/>
                  </a:cubicBezTo>
                  <a:cubicBezTo>
                    <a:pt x="3760" y="239"/>
                    <a:pt x="3152" y="0"/>
                    <a:pt x="2514" y="0"/>
                  </a:cubicBezTo>
                  <a:cubicBezTo>
                    <a:pt x="1128" y="0"/>
                    <a:pt x="0" y="1128"/>
                    <a:pt x="0" y="2514"/>
                  </a:cubicBezTo>
                  <a:cubicBezTo>
                    <a:pt x="0" y="3900"/>
                    <a:pt x="1128" y="5028"/>
                    <a:pt x="2514" y="5028"/>
                  </a:cubicBezTo>
                  <a:cubicBezTo>
                    <a:pt x="3825" y="5028"/>
                    <a:pt x="4921" y="4018"/>
                    <a:pt x="5021" y="2709"/>
                  </a:cubicBezTo>
                  <a:cubicBezTo>
                    <a:pt x="5025" y="2657"/>
                    <a:pt x="4986" y="2612"/>
                    <a:pt x="4935" y="2608"/>
                  </a:cubicBezTo>
                  <a:cubicBezTo>
                    <a:pt x="4883" y="2604"/>
                    <a:pt x="4838" y="2643"/>
                    <a:pt x="4834" y="2694"/>
                  </a:cubicBezTo>
                  <a:cubicBezTo>
                    <a:pt x="4741" y="3904"/>
                    <a:pt x="3730" y="4841"/>
                    <a:pt x="2514" y="4841"/>
                  </a:cubicBezTo>
                  <a:cubicBezTo>
                    <a:pt x="1231" y="4841"/>
                    <a:pt x="187" y="3797"/>
                    <a:pt x="187" y="2514"/>
                  </a:cubicBezTo>
                  <a:cubicBezTo>
                    <a:pt x="187" y="1231"/>
                    <a:pt x="1231" y="187"/>
                    <a:pt x="2514" y="187"/>
                  </a:cubicBezTo>
                  <a:cubicBezTo>
                    <a:pt x="3104" y="187"/>
                    <a:pt x="3667" y="408"/>
                    <a:pt x="4099" y="810"/>
                  </a:cubicBezTo>
                  <a:cubicBezTo>
                    <a:pt x="4528" y="1210"/>
                    <a:pt x="4789" y="1751"/>
                    <a:pt x="4834" y="2334"/>
                  </a:cubicBezTo>
                  <a:cubicBezTo>
                    <a:pt x="4838" y="2385"/>
                    <a:pt x="4883" y="2424"/>
                    <a:pt x="4935" y="24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27"/>
            <p:cNvSpPr>
              <a:spLocks/>
            </p:cNvSpPr>
            <p:nvPr/>
          </p:nvSpPr>
          <p:spPr bwMode="auto">
            <a:xfrm>
              <a:off x="-288" y="4560"/>
              <a:ext cx="264" cy="340"/>
            </a:xfrm>
            <a:custGeom>
              <a:avLst/>
              <a:gdLst>
                <a:gd name="T0" fmla="*/ 4045 w 4982"/>
                <a:gd name="T1" fmla="*/ 937 h 6400"/>
                <a:gd name="T2" fmla="*/ 1782 w 4982"/>
                <a:gd name="T3" fmla="*/ 0 h 6400"/>
                <a:gd name="T4" fmla="*/ 56 w 4982"/>
                <a:gd name="T5" fmla="*/ 505 h 6400"/>
                <a:gd name="T6" fmla="*/ 28 w 4982"/>
                <a:gd name="T7" fmla="*/ 634 h 6400"/>
                <a:gd name="T8" fmla="*/ 157 w 4982"/>
                <a:gd name="T9" fmla="*/ 663 h 6400"/>
                <a:gd name="T10" fmla="*/ 1782 w 4982"/>
                <a:gd name="T11" fmla="*/ 188 h 6400"/>
                <a:gd name="T12" fmla="*/ 3912 w 4982"/>
                <a:gd name="T13" fmla="*/ 1070 h 6400"/>
                <a:gd name="T14" fmla="*/ 4795 w 4982"/>
                <a:gd name="T15" fmla="*/ 3200 h 6400"/>
                <a:gd name="T16" fmla="*/ 1782 w 4982"/>
                <a:gd name="T17" fmla="*/ 6213 h 6400"/>
                <a:gd name="T18" fmla="*/ 907 w 4982"/>
                <a:gd name="T19" fmla="*/ 6083 h 6400"/>
                <a:gd name="T20" fmla="*/ 790 w 4982"/>
                <a:gd name="T21" fmla="*/ 6146 h 6400"/>
                <a:gd name="T22" fmla="*/ 853 w 4982"/>
                <a:gd name="T23" fmla="*/ 6263 h 6400"/>
                <a:gd name="T24" fmla="*/ 1782 w 4982"/>
                <a:gd name="T25" fmla="*/ 6400 h 6400"/>
                <a:gd name="T26" fmla="*/ 4982 w 4982"/>
                <a:gd name="T27" fmla="*/ 3200 h 6400"/>
                <a:gd name="T28" fmla="*/ 4045 w 4982"/>
                <a:gd name="T29" fmla="*/ 937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82" h="6400">
                  <a:moveTo>
                    <a:pt x="4045" y="937"/>
                  </a:moveTo>
                  <a:cubicBezTo>
                    <a:pt x="3440" y="333"/>
                    <a:pt x="2637" y="0"/>
                    <a:pt x="1782" y="0"/>
                  </a:cubicBezTo>
                  <a:cubicBezTo>
                    <a:pt x="1168" y="0"/>
                    <a:pt x="571" y="175"/>
                    <a:pt x="56" y="505"/>
                  </a:cubicBezTo>
                  <a:cubicBezTo>
                    <a:pt x="13" y="533"/>
                    <a:pt x="0" y="591"/>
                    <a:pt x="28" y="634"/>
                  </a:cubicBezTo>
                  <a:cubicBezTo>
                    <a:pt x="56" y="678"/>
                    <a:pt x="114" y="691"/>
                    <a:pt x="157" y="663"/>
                  </a:cubicBezTo>
                  <a:cubicBezTo>
                    <a:pt x="642" y="352"/>
                    <a:pt x="1204" y="188"/>
                    <a:pt x="1782" y="188"/>
                  </a:cubicBezTo>
                  <a:cubicBezTo>
                    <a:pt x="2587" y="188"/>
                    <a:pt x="3343" y="501"/>
                    <a:pt x="3912" y="1070"/>
                  </a:cubicBezTo>
                  <a:cubicBezTo>
                    <a:pt x="4481" y="1639"/>
                    <a:pt x="4795" y="2395"/>
                    <a:pt x="4795" y="3200"/>
                  </a:cubicBezTo>
                  <a:cubicBezTo>
                    <a:pt x="4795" y="4865"/>
                    <a:pt x="3447" y="6213"/>
                    <a:pt x="1782" y="6213"/>
                  </a:cubicBezTo>
                  <a:cubicBezTo>
                    <a:pt x="1484" y="6213"/>
                    <a:pt x="1190" y="6169"/>
                    <a:pt x="907" y="6083"/>
                  </a:cubicBezTo>
                  <a:cubicBezTo>
                    <a:pt x="858" y="6068"/>
                    <a:pt x="805" y="6096"/>
                    <a:pt x="790" y="6146"/>
                  </a:cubicBezTo>
                  <a:cubicBezTo>
                    <a:pt x="775" y="6195"/>
                    <a:pt x="803" y="6248"/>
                    <a:pt x="853" y="6263"/>
                  </a:cubicBezTo>
                  <a:cubicBezTo>
                    <a:pt x="1153" y="6354"/>
                    <a:pt x="1466" y="6400"/>
                    <a:pt x="1782" y="6400"/>
                  </a:cubicBezTo>
                  <a:cubicBezTo>
                    <a:pt x="3551" y="6400"/>
                    <a:pt x="4982" y="4969"/>
                    <a:pt x="4982" y="3200"/>
                  </a:cubicBezTo>
                  <a:cubicBezTo>
                    <a:pt x="4982" y="2345"/>
                    <a:pt x="4649" y="1542"/>
                    <a:pt x="4045" y="9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28"/>
            <p:cNvSpPr>
              <a:spLocks/>
            </p:cNvSpPr>
            <p:nvPr/>
          </p:nvSpPr>
          <p:spPr bwMode="auto">
            <a:xfrm>
              <a:off x="-363" y="4597"/>
              <a:ext cx="109" cy="289"/>
            </a:xfrm>
            <a:custGeom>
              <a:avLst/>
              <a:gdLst>
                <a:gd name="T0" fmla="*/ 1984 w 2053"/>
                <a:gd name="T1" fmla="*/ 5257 h 5437"/>
                <a:gd name="T2" fmla="*/ 188 w 2053"/>
                <a:gd name="T3" fmla="*/ 2500 h 5437"/>
                <a:gd name="T4" fmla="*/ 1282 w 2053"/>
                <a:gd name="T5" fmla="*/ 177 h 5437"/>
                <a:gd name="T6" fmla="*/ 1294 w 2053"/>
                <a:gd name="T7" fmla="*/ 45 h 5437"/>
                <a:gd name="T8" fmla="*/ 1162 w 2053"/>
                <a:gd name="T9" fmla="*/ 33 h 5437"/>
                <a:gd name="T10" fmla="*/ 0 w 2053"/>
                <a:gd name="T11" fmla="*/ 2500 h 5437"/>
                <a:gd name="T12" fmla="*/ 1909 w 2053"/>
                <a:gd name="T13" fmla="*/ 5429 h 5437"/>
                <a:gd name="T14" fmla="*/ 1947 w 2053"/>
                <a:gd name="T15" fmla="*/ 5437 h 5437"/>
                <a:gd name="T16" fmla="*/ 2032 w 2053"/>
                <a:gd name="T17" fmla="*/ 5381 h 5437"/>
                <a:gd name="T18" fmla="*/ 1984 w 2053"/>
                <a:gd name="T19" fmla="*/ 5257 h 5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53" h="5437">
                  <a:moveTo>
                    <a:pt x="1984" y="5257"/>
                  </a:moveTo>
                  <a:cubicBezTo>
                    <a:pt x="893" y="4775"/>
                    <a:pt x="188" y="3693"/>
                    <a:pt x="188" y="2500"/>
                  </a:cubicBezTo>
                  <a:cubicBezTo>
                    <a:pt x="188" y="1599"/>
                    <a:pt x="586" y="752"/>
                    <a:pt x="1282" y="177"/>
                  </a:cubicBezTo>
                  <a:cubicBezTo>
                    <a:pt x="1322" y="144"/>
                    <a:pt x="1327" y="85"/>
                    <a:pt x="1294" y="45"/>
                  </a:cubicBezTo>
                  <a:cubicBezTo>
                    <a:pt x="1261" y="5"/>
                    <a:pt x="1202" y="0"/>
                    <a:pt x="1162" y="33"/>
                  </a:cubicBezTo>
                  <a:cubicBezTo>
                    <a:pt x="424" y="643"/>
                    <a:pt x="0" y="1543"/>
                    <a:pt x="0" y="2500"/>
                  </a:cubicBezTo>
                  <a:cubicBezTo>
                    <a:pt x="0" y="3767"/>
                    <a:pt x="749" y="4917"/>
                    <a:pt x="1909" y="5429"/>
                  </a:cubicBezTo>
                  <a:cubicBezTo>
                    <a:pt x="1921" y="5434"/>
                    <a:pt x="1934" y="5437"/>
                    <a:pt x="1947" y="5437"/>
                  </a:cubicBezTo>
                  <a:cubicBezTo>
                    <a:pt x="1983" y="5437"/>
                    <a:pt x="2017" y="5416"/>
                    <a:pt x="2032" y="5381"/>
                  </a:cubicBezTo>
                  <a:cubicBezTo>
                    <a:pt x="2053" y="5333"/>
                    <a:pt x="2032" y="5278"/>
                    <a:pt x="1984" y="525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6" name="Group 131"/>
          <p:cNvGrpSpPr>
            <a:grpSpLocks noChangeAspect="1"/>
          </p:cNvGrpSpPr>
          <p:nvPr/>
        </p:nvGrpSpPr>
        <p:grpSpPr bwMode="auto">
          <a:xfrm flipH="1">
            <a:off x="2821186" y="3328168"/>
            <a:ext cx="472851" cy="295706"/>
            <a:chOff x="-873" y="4114"/>
            <a:chExt cx="339" cy="212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8" name="Freeform 132"/>
            <p:cNvSpPr>
              <a:spLocks noEditPoints="1"/>
            </p:cNvSpPr>
            <p:nvPr/>
          </p:nvSpPr>
          <p:spPr bwMode="auto">
            <a:xfrm>
              <a:off x="-873" y="4114"/>
              <a:ext cx="339" cy="212"/>
            </a:xfrm>
            <a:custGeom>
              <a:avLst/>
              <a:gdLst>
                <a:gd name="T0" fmla="*/ 202 w 8538"/>
                <a:gd name="T1" fmla="*/ 4380 h 5342"/>
                <a:gd name="T2" fmla="*/ 3081 w 8538"/>
                <a:gd name="T3" fmla="*/ 4380 h 5342"/>
                <a:gd name="T4" fmla="*/ 4013 w 8538"/>
                <a:gd name="T5" fmla="*/ 5319 h 5342"/>
                <a:gd name="T6" fmla="*/ 4166 w 8538"/>
                <a:gd name="T7" fmla="*/ 5230 h 5342"/>
                <a:gd name="T8" fmla="*/ 4077 w 8538"/>
                <a:gd name="T9" fmla="*/ 5077 h 5342"/>
                <a:gd name="T10" fmla="*/ 3601 w 8538"/>
                <a:gd name="T11" fmla="*/ 4801 h 5342"/>
                <a:gd name="T12" fmla="*/ 3995 w 8538"/>
                <a:gd name="T13" fmla="*/ 3049 h 5342"/>
                <a:gd name="T14" fmla="*/ 5961 w 8538"/>
                <a:gd name="T15" fmla="*/ 2441 h 5342"/>
                <a:gd name="T16" fmla="*/ 5367 w 8538"/>
                <a:gd name="T17" fmla="*/ 4363 h 5342"/>
                <a:gd name="T18" fmla="*/ 4600 w 8538"/>
                <a:gd name="T19" fmla="*/ 5082 h 5342"/>
                <a:gd name="T20" fmla="*/ 4507 w 8538"/>
                <a:gd name="T21" fmla="*/ 5233 h 5342"/>
                <a:gd name="T22" fmla="*/ 4658 w 8538"/>
                <a:gd name="T23" fmla="*/ 5326 h 5342"/>
                <a:gd name="T24" fmla="*/ 5606 w 8538"/>
                <a:gd name="T25" fmla="*/ 4437 h 5342"/>
                <a:gd name="T26" fmla="*/ 5623 w 8538"/>
                <a:gd name="T27" fmla="*/ 4380 h 5342"/>
                <a:gd name="T28" fmla="*/ 8336 w 8538"/>
                <a:gd name="T29" fmla="*/ 4380 h 5342"/>
                <a:gd name="T30" fmla="*/ 8535 w 8538"/>
                <a:gd name="T31" fmla="*/ 4176 h 5342"/>
                <a:gd name="T32" fmla="*/ 4269 w 8538"/>
                <a:gd name="T33" fmla="*/ 0 h 5342"/>
                <a:gd name="T34" fmla="*/ 2 w 8538"/>
                <a:gd name="T35" fmla="*/ 4176 h 5342"/>
                <a:gd name="T36" fmla="*/ 202 w 8538"/>
                <a:gd name="T37" fmla="*/ 4380 h 5342"/>
                <a:gd name="T38" fmla="*/ 8284 w 8538"/>
                <a:gd name="T39" fmla="*/ 4130 h 5342"/>
                <a:gd name="T40" fmla="*/ 7407 w 8538"/>
                <a:gd name="T41" fmla="*/ 4130 h 5342"/>
                <a:gd name="T42" fmla="*/ 6576 w 8538"/>
                <a:gd name="T43" fmla="*/ 2137 h 5342"/>
                <a:gd name="T44" fmla="*/ 7197 w 8538"/>
                <a:gd name="T45" fmla="*/ 1517 h 5342"/>
                <a:gd name="T46" fmla="*/ 8284 w 8538"/>
                <a:gd name="T47" fmla="*/ 4130 h 5342"/>
                <a:gd name="T48" fmla="*/ 4394 w 8538"/>
                <a:gd name="T49" fmla="*/ 252 h 5342"/>
                <a:gd name="T50" fmla="*/ 7020 w 8538"/>
                <a:gd name="T51" fmla="*/ 1340 h 5342"/>
                <a:gd name="T52" fmla="*/ 6400 w 8538"/>
                <a:gd name="T53" fmla="*/ 1960 h 5342"/>
                <a:gd name="T54" fmla="*/ 4394 w 8538"/>
                <a:gd name="T55" fmla="*/ 1129 h 5342"/>
                <a:gd name="T56" fmla="*/ 4394 w 8538"/>
                <a:gd name="T57" fmla="*/ 252 h 5342"/>
                <a:gd name="T58" fmla="*/ 4268 w 8538"/>
                <a:gd name="T59" fmla="*/ 1377 h 5342"/>
                <a:gd name="T60" fmla="*/ 4269 w 8538"/>
                <a:gd name="T61" fmla="*/ 1377 h 5342"/>
                <a:gd name="T62" fmla="*/ 7156 w 8538"/>
                <a:gd name="T63" fmla="*/ 4130 h 5342"/>
                <a:gd name="T64" fmla="*/ 5700 w 8538"/>
                <a:gd name="T65" fmla="*/ 4130 h 5342"/>
                <a:gd name="T66" fmla="*/ 6211 w 8538"/>
                <a:gd name="T67" fmla="*/ 2479 h 5342"/>
                <a:gd name="T68" fmla="*/ 6153 w 8538"/>
                <a:gd name="T69" fmla="*/ 2248 h 5342"/>
                <a:gd name="T70" fmla="*/ 5922 w 8538"/>
                <a:gd name="T71" fmla="*/ 2191 h 5342"/>
                <a:gd name="T72" fmla="*/ 3739 w 8538"/>
                <a:gd name="T73" fmla="*/ 2889 h 5342"/>
                <a:gd name="T74" fmla="*/ 3042 w 8538"/>
                <a:gd name="T75" fmla="*/ 4130 h 5342"/>
                <a:gd name="T76" fmla="*/ 1381 w 8538"/>
                <a:gd name="T77" fmla="*/ 4130 h 5342"/>
                <a:gd name="T78" fmla="*/ 4268 w 8538"/>
                <a:gd name="T79" fmla="*/ 1377 h 5342"/>
                <a:gd name="T80" fmla="*/ 4144 w 8538"/>
                <a:gd name="T81" fmla="*/ 252 h 5342"/>
                <a:gd name="T82" fmla="*/ 4144 w 8538"/>
                <a:gd name="T83" fmla="*/ 1129 h 5342"/>
                <a:gd name="T84" fmla="*/ 2138 w 8538"/>
                <a:gd name="T85" fmla="*/ 1960 h 5342"/>
                <a:gd name="T86" fmla="*/ 1519 w 8538"/>
                <a:gd name="T87" fmla="*/ 1341 h 5342"/>
                <a:gd name="T88" fmla="*/ 4144 w 8538"/>
                <a:gd name="T89" fmla="*/ 252 h 5342"/>
                <a:gd name="T90" fmla="*/ 1341 w 8538"/>
                <a:gd name="T91" fmla="*/ 1517 h 5342"/>
                <a:gd name="T92" fmla="*/ 1961 w 8538"/>
                <a:gd name="T93" fmla="*/ 2137 h 5342"/>
                <a:gd name="T94" fmla="*/ 1131 w 8538"/>
                <a:gd name="T95" fmla="*/ 4130 h 5342"/>
                <a:gd name="T96" fmla="*/ 253 w 8538"/>
                <a:gd name="T97" fmla="*/ 4130 h 5342"/>
                <a:gd name="T98" fmla="*/ 1341 w 8538"/>
                <a:gd name="T99" fmla="*/ 1517 h 5342"/>
                <a:gd name="T100" fmla="*/ 1341 w 8538"/>
                <a:gd name="T101" fmla="*/ 1517 h 5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538" h="5342">
                  <a:moveTo>
                    <a:pt x="202" y="4380"/>
                  </a:moveTo>
                  <a:lnTo>
                    <a:pt x="3081" y="4380"/>
                  </a:lnTo>
                  <a:cubicBezTo>
                    <a:pt x="3201" y="4844"/>
                    <a:pt x="3570" y="5201"/>
                    <a:pt x="4013" y="5319"/>
                  </a:cubicBezTo>
                  <a:cubicBezTo>
                    <a:pt x="4080" y="5336"/>
                    <a:pt x="4148" y="5297"/>
                    <a:pt x="4166" y="5230"/>
                  </a:cubicBezTo>
                  <a:cubicBezTo>
                    <a:pt x="4184" y="5163"/>
                    <a:pt x="4144" y="5095"/>
                    <a:pt x="4077" y="5077"/>
                  </a:cubicBezTo>
                  <a:cubicBezTo>
                    <a:pt x="3897" y="5029"/>
                    <a:pt x="3737" y="4936"/>
                    <a:pt x="3601" y="4801"/>
                  </a:cubicBezTo>
                  <a:cubicBezTo>
                    <a:pt x="3047" y="4246"/>
                    <a:pt x="3265" y="3309"/>
                    <a:pt x="3995" y="3049"/>
                  </a:cubicBezTo>
                  <a:cubicBezTo>
                    <a:pt x="4030" y="3037"/>
                    <a:pt x="3898" y="3079"/>
                    <a:pt x="5961" y="2441"/>
                  </a:cubicBezTo>
                  <a:cubicBezTo>
                    <a:pt x="5923" y="2565"/>
                    <a:pt x="5389" y="4292"/>
                    <a:pt x="5367" y="4363"/>
                  </a:cubicBezTo>
                  <a:cubicBezTo>
                    <a:pt x="5255" y="4725"/>
                    <a:pt x="4968" y="4994"/>
                    <a:pt x="4600" y="5082"/>
                  </a:cubicBezTo>
                  <a:cubicBezTo>
                    <a:pt x="4532" y="5099"/>
                    <a:pt x="4491" y="5166"/>
                    <a:pt x="4507" y="5233"/>
                  </a:cubicBezTo>
                  <a:cubicBezTo>
                    <a:pt x="4523" y="5300"/>
                    <a:pt x="4591" y="5342"/>
                    <a:pt x="4658" y="5326"/>
                  </a:cubicBezTo>
                  <a:cubicBezTo>
                    <a:pt x="5113" y="5216"/>
                    <a:pt x="5467" y="4884"/>
                    <a:pt x="5606" y="4437"/>
                  </a:cubicBezTo>
                  <a:lnTo>
                    <a:pt x="5623" y="4380"/>
                  </a:lnTo>
                  <a:lnTo>
                    <a:pt x="8336" y="4380"/>
                  </a:lnTo>
                  <a:cubicBezTo>
                    <a:pt x="8448" y="4380"/>
                    <a:pt x="8538" y="4289"/>
                    <a:pt x="8535" y="4176"/>
                  </a:cubicBezTo>
                  <a:cubicBezTo>
                    <a:pt x="8486" y="1860"/>
                    <a:pt x="6595" y="0"/>
                    <a:pt x="4269" y="0"/>
                  </a:cubicBezTo>
                  <a:cubicBezTo>
                    <a:pt x="1990" y="0"/>
                    <a:pt x="52" y="1814"/>
                    <a:pt x="2" y="4176"/>
                  </a:cubicBezTo>
                  <a:cubicBezTo>
                    <a:pt x="0" y="4288"/>
                    <a:pt x="89" y="4380"/>
                    <a:pt x="202" y="4380"/>
                  </a:cubicBezTo>
                  <a:close/>
                  <a:moveTo>
                    <a:pt x="8284" y="4130"/>
                  </a:moveTo>
                  <a:lnTo>
                    <a:pt x="7407" y="4130"/>
                  </a:lnTo>
                  <a:cubicBezTo>
                    <a:pt x="7374" y="3371"/>
                    <a:pt x="7071" y="2671"/>
                    <a:pt x="6576" y="2137"/>
                  </a:cubicBezTo>
                  <a:lnTo>
                    <a:pt x="7197" y="1517"/>
                  </a:lnTo>
                  <a:cubicBezTo>
                    <a:pt x="7867" y="2229"/>
                    <a:pt x="8251" y="3151"/>
                    <a:pt x="8284" y="4130"/>
                  </a:cubicBezTo>
                  <a:close/>
                  <a:moveTo>
                    <a:pt x="4394" y="252"/>
                  </a:moveTo>
                  <a:cubicBezTo>
                    <a:pt x="5378" y="282"/>
                    <a:pt x="6302" y="665"/>
                    <a:pt x="7020" y="1340"/>
                  </a:cubicBezTo>
                  <a:lnTo>
                    <a:pt x="6400" y="1960"/>
                  </a:lnTo>
                  <a:cubicBezTo>
                    <a:pt x="5849" y="1451"/>
                    <a:pt x="5143" y="1158"/>
                    <a:pt x="4394" y="1129"/>
                  </a:cubicBezTo>
                  <a:lnTo>
                    <a:pt x="4394" y="252"/>
                  </a:lnTo>
                  <a:close/>
                  <a:moveTo>
                    <a:pt x="4268" y="1377"/>
                  </a:moveTo>
                  <a:lnTo>
                    <a:pt x="4269" y="1377"/>
                  </a:lnTo>
                  <a:cubicBezTo>
                    <a:pt x="5826" y="1377"/>
                    <a:pt x="7085" y="2600"/>
                    <a:pt x="7156" y="4130"/>
                  </a:cubicBezTo>
                  <a:lnTo>
                    <a:pt x="5700" y="4130"/>
                  </a:lnTo>
                  <a:lnTo>
                    <a:pt x="6211" y="2479"/>
                  </a:lnTo>
                  <a:cubicBezTo>
                    <a:pt x="6236" y="2397"/>
                    <a:pt x="6214" y="2309"/>
                    <a:pt x="6153" y="2248"/>
                  </a:cubicBezTo>
                  <a:cubicBezTo>
                    <a:pt x="6093" y="2188"/>
                    <a:pt x="6004" y="2166"/>
                    <a:pt x="5922" y="2191"/>
                  </a:cubicBezTo>
                  <a:cubicBezTo>
                    <a:pt x="3789" y="2850"/>
                    <a:pt x="3883" y="2814"/>
                    <a:pt x="3739" y="2889"/>
                  </a:cubicBezTo>
                  <a:cubicBezTo>
                    <a:pt x="3267" y="3137"/>
                    <a:pt x="3012" y="3633"/>
                    <a:pt x="3042" y="4130"/>
                  </a:cubicBezTo>
                  <a:lnTo>
                    <a:pt x="1381" y="4130"/>
                  </a:lnTo>
                  <a:cubicBezTo>
                    <a:pt x="1454" y="2586"/>
                    <a:pt x="2728" y="1377"/>
                    <a:pt x="4268" y="1377"/>
                  </a:cubicBezTo>
                  <a:close/>
                  <a:moveTo>
                    <a:pt x="4144" y="252"/>
                  </a:moveTo>
                  <a:lnTo>
                    <a:pt x="4144" y="1129"/>
                  </a:lnTo>
                  <a:cubicBezTo>
                    <a:pt x="3377" y="1159"/>
                    <a:pt x="2677" y="1461"/>
                    <a:pt x="2138" y="1960"/>
                  </a:cubicBezTo>
                  <a:cubicBezTo>
                    <a:pt x="1706" y="1528"/>
                    <a:pt x="1702" y="1524"/>
                    <a:pt x="1519" y="1341"/>
                  </a:cubicBezTo>
                  <a:cubicBezTo>
                    <a:pt x="2278" y="646"/>
                    <a:pt x="3160" y="280"/>
                    <a:pt x="4144" y="252"/>
                  </a:cubicBezTo>
                  <a:close/>
                  <a:moveTo>
                    <a:pt x="1341" y="1517"/>
                  </a:moveTo>
                  <a:lnTo>
                    <a:pt x="1961" y="2137"/>
                  </a:lnTo>
                  <a:cubicBezTo>
                    <a:pt x="1465" y="2673"/>
                    <a:pt x="1164" y="3372"/>
                    <a:pt x="1131" y="4130"/>
                  </a:cubicBezTo>
                  <a:lnTo>
                    <a:pt x="253" y="4130"/>
                  </a:lnTo>
                  <a:cubicBezTo>
                    <a:pt x="286" y="3151"/>
                    <a:pt x="670" y="2229"/>
                    <a:pt x="1341" y="1517"/>
                  </a:cubicBezTo>
                  <a:close/>
                  <a:moveTo>
                    <a:pt x="1341" y="151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33"/>
            <p:cNvSpPr>
              <a:spLocks noEditPoints="1"/>
            </p:cNvSpPr>
            <p:nvPr/>
          </p:nvSpPr>
          <p:spPr bwMode="auto">
            <a:xfrm>
              <a:off x="-728" y="4246"/>
              <a:ext cx="50" cy="58"/>
            </a:xfrm>
            <a:custGeom>
              <a:avLst/>
              <a:gdLst>
                <a:gd name="T0" fmla="*/ 1216 w 1255"/>
                <a:gd name="T1" fmla="*/ 1090 h 1454"/>
                <a:gd name="T2" fmla="*/ 1185 w 1255"/>
                <a:gd name="T3" fmla="*/ 916 h 1454"/>
                <a:gd name="T4" fmla="*/ 1011 w 1255"/>
                <a:gd name="T5" fmla="*/ 947 h 1454"/>
                <a:gd name="T6" fmla="*/ 424 w 1255"/>
                <a:gd name="T7" fmla="*/ 999 h 1454"/>
                <a:gd name="T8" fmla="*/ 424 w 1255"/>
                <a:gd name="T9" fmla="*/ 455 h 1454"/>
                <a:gd name="T10" fmla="*/ 1011 w 1255"/>
                <a:gd name="T11" fmla="*/ 507 h 1454"/>
                <a:gd name="T12" fmla="*/ 1185 w 1255"/>
                <a:gd name="T13" fmla="*/ 538 h 1454"/>
                <a:gd name="T14" fmla="*/ 1216 w 1255"/>
                <a:gd name="T15" fmla="*/ 363 h 1454"/>
                <a:gd name="T16" fmla="*/ 247 w 1255"/>
                <a:gd name="T17" fmla="*/ 278 h 1454"/>
                <a:gd name="T18" fmla="*/ 247 w 1255"/>
                <a:gd name="T19" fmla="*/ 1175 h 1454"/>
                <a:gd name="T20" fmla="*/ 1216 w 1255"/>
                <a:gd name="T21" fmla="*/ 1090 h 1454"/>
                <a:gd name="T22" fmla="*/ 1216 w 1255"/>
                <a:gd name="T23" fmla="*/ 1090 h 1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55" h="1454">
                  <a:moveTo>
                    <a:pt x="1216" y="1090"/>
                  </a:moveTo>
                  <a:cubicBezTo>
                    <a:pt x="1255" y="1034"/>
                    <a:pt x="1242" y="956"/>
                    <a:pt x="1185" y="916"/>
                  </a:cubicBezTo>
                  <a:cubicBezTo>
                    <a:pt x="1129" y="877"/>
                    <a:pt x="1051" y="890"/>
                    <a:pt x="1011" y="947"/>
                  </a:cubicBezTo>
                  <a:cubicBezTo>
                    <a:pt x="873" y="1144"/>
                    <a:pt x="592" y="1167"/>
                    <a:pt x="424" y="999"/>
                  </a:cubicBezTo>
                  <a:cubicBezTo>
                    <a:pt x="274" y="849"/>
                    <a:pt x="274" y="605"/>
                    <a:pt x="424" y="455"/>
                  </a:cubicBezTo>
                  <a:cubicBezTo>
                    <a:pt x="592" y="287"/>
                    <a:pt x="873" y="309"/>
                    <a:pt x="1011" y="507"/>
                  </a:cubicBezTo>
                  <a:cubicBezTo>
                    <a:pt x="1051" y="563"/>
                    <a:pt x="1129" y="577"/>
                    <a:pt x="1185" y="538"/>
                  </a:cubicBezTo>
                  <a:cubicBezTo>
                    <a:pt x="1242" y="498"/>
                    <a:pt x="1255" y="420"/>
                    <a:pt x="1216" y="363"/>
                  </a:cubicBezTo>
                  <a:cubicBezTo>
                    <a:pt x="988" y="38"/>
                    <a:pt x="525" y="0"/>
                    <a:pt x="247" y="278"/>
                  </a:cubicBezTo>
                  <a:cubicBezTo>
                    <a:pt x="0" y="526"/>
                    <a:pt x="0" y="928"/>
                    <a:pt x="247" y="1175"/>
                  </a:cubicBezTo>
                  <a:cubicBezTo>
                    <a:pt x="526" y="1454"/>
                    <a:pt x="989" y="1414"/>
                    <a:pt x="1216" y="1090"/>
                  </a:cubicBezTo>
                  <a:close/>
                  <a:moveTo>
                    <a:pt x="1216" y="109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2" name="Group 137"/>
          <p:cNvGrpSpPr>
            <a:grpSpLocks noChangeAspect="1"/>
          </p:cNvGrpSpPr>
          <p:nvPr/>
        </p:nvGrpSpPr>
        <p:grpSpPr bwMode="auto">
          <a:xfrm>
            <a:off x="7474473" y="4994890"/>
            <a:ext cx="388600" cy="385200"/>
            <a:chOff x="5505" y="-663"/>
            <a:chExt cx="343" cy="340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24" name="Freeform 138"/>
            <p:cNvSpPr>
              <a:spLocks/>
            </p:cNvSpPr>
            <p:nvPr/>
          </p:nvSpPr>
          <p:spPr bwMode="auto">
            <a:xfrm>
              <a:off x="5573" y="-550"/>
              <a:ext cx="15" cy="15"/>
            </a:xfrm>
            <a:custGeom>
              <a:avLst/>
              <a:gdLst>
                <a:gd name="T0" fmla="*/ 225 w 274"/>
                <a:gd name="T1" fmla="*/ 48 h 274"/>
                <a:gd name="T2" fmla="*/ 48 w 274"/>
                <a:gd name="T3" fmla="*/ 48 h 274"/>
                <a:gd name="T4" fmla="*/ 48 w 274"/>
                <a:gd name="T5" fmla="*/ 225 h 274"/>
                <a:gd name="T6" fmla="*/ 225 w 274"/>
                <a:gd name="T7" fmla="*/ 225 h 274"/>
                <a:gd name="T8" fmla="*/ 225 w 274"/>
                <a:gd name="T9" fmla="*/ 48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4" h="274">
                  <a:moveTo>
                    <a:pt x="225" y="48"/>
                  </a:moveTo>
                  <a:cubicBezTo>
                    <a:pt x="176" y="0"/>
                    <a:pt x="97" y="0"/>
                    <a:pt x="48" y="48"/>
                  </a:cubicBezTo>
                  <a:cubicBezTo>
                    <a:pt x="0" y="97"/>
                    <a:pt x="0" y="176"/>
                    <a:pt x="48" y="225"/>
                  </a:cubicBezTo>
                  <a:cubicBezTo>
                    <a:pt x="97" y="274"/>
                    <a:pt x="176" y="274"/>
                    <a:pt x="225" y="225"/>
                  </a:cubicBezTo>
                  <a:cubicBezTo>
                    <a:pt x="274" y="176"/>
                    <a:pt x="274" y="97"/>
                    <a:pt x="225" y="4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39"/>
            <p:cNvSpPr>
              <a:spLocks noEditPoints="1"/>
            </p:cNvSpPr>
            <p:nvPr/>
          </p:nvSpPr>
          <p:spPr bwMode="auto">
            <a:xfrm>
              <a:off x="5507" y="-403"/>
              <a:ext cx="185" cy="80"/>
            </a:xfrm>
            <a:custGeom>
              <a:avLst/>
              <a:gdLst>
                <a:gd name="T0" fmla="*/ 3165 w 3500"/>
                <a:gd name="T1" fmla="*/ 696 h 1500"/>
                <a:gd name="T2" fmla="*/ 3250 w 3500"/>
                <a:gd name="T3" fmla="*/ 437 h 1500"/>
                <a:gd name="T4" fmla="*/ 2812 w 3500"/>
                <a:gd name="T5" fmla="*/ 0 h 1500"/>
                <a:gd name="T6" fmla="*/ 687 w 3500"/>
                <a:gd name="T7" fmla="*/ 0 h 1500"/>
                <a:gd name="T8" fmla="*/ 378 w 3500"/>
                <a:gd name="T9" fmla="*/ 128 h 1500"/>
                <a:gd name="T10" fmla="*/ 250 w 3500"/>
                <a:gd name="T11" fmla="*/ 437 h 1500"/>
                <a:gd name="T12" fmla="*/ 335 w 3500"/>
                <a:gd name="T13" fmla="*/ 696 h 1500"/>
                <a:gd name="T14" fmla="*/ 0 w 3500"/>
                <a:gd name="T15" fmla="*/ 1250 h 1500"/>
                <a:gd name="T16" fmla="*/ 0 w 3500"/>
                <a:gd name="T17" fmla="*/ 1375 h 1500"/>
                <a:gd name="T18" fmla="*/ 125 w 3500"/>
                <a:gd name="T19" fmla="*/ 1500 h 1500"/>
                <a:gd name="T20" fmla="*/ 3375 w 3500"/>
                <a:gd name="T21" fmla="*/ 1500 h 1500"/>
                <a:gd name="T22" fmla="*/ 3500 w 3500"/>
                <a:gd name="T23" fmla="*/ 1375 h 1500"/>
                <a:gd name="T24" fmla="*/ 3500 w 3500"/>
                <a:gd name="T25" fmla="*/ 1250 h 1500"/>
                <a:gd name="T26" fmla="*/ 3165 w 3500"/>
                <a:gd name="T27" fmla="*/ 696 h 1500"/>
                <a:gd name="T28" fmla="*/ 555 w 3500"/>
                <a:gd name="T29" fmla="*/ 305 h 1500"/>
                <a:gd name="T30" fmla="*/ 687 w 3500"/>
                <a:gd name="T31" fmla="*/ 250 h 1500"/>
                <a:gd name="T32" fmla="*/ 2812 w 3500"/>
                <a:gd name="T33" fmla="*/ 250 h 1500"/>
                <a:gd name="T34" fmla="*/ 3000 w 3500"/>
                <a:gd name="T35" fmla="*/ 437 h 1500"/>
                <a:gd name="T36" fmla="*/ 2945 w 3500"/>
                <a:gd name="T37" fmla="*/ 570 h 1500"/>
                <a:gd name="T38" fmla="*/ 2812 w 3500"/>
                <a:gd name="T39" fmla="*/ 625 h 1500"/>
                <a:gd name="T40" fmla="*/ 687 w 3500"/>
                <a:gd name="T41" fmla="*/ 625 h 1500"/>
                <a:gd name="T42" fmla="*/ 500 w 3500"/>
                <a:gd name="T43" fmla="*/ 437 h 1500"/>
                <a:gd name="T44" fmla="*/ 555 w 3500"/>
                <a:gd name="T45" fmla="*/ 305 h 1500"/>
                <a:gd name="T46" fmla="*/ 250 w 3500"/>
                <a:gd name="T47" fmla="*/ 1250 h 1500"/>
                <a:gd name="T48" fmla="*/ 625 w 3500"/>
                <a:gd name="T49" fmla="*/ 875 h 1500"/>
                <a:gd name="T50" fmla="*/ 687 w 3500"/>
                <a:gd name="T51" fmla="*/ 875 h 1500"/>
                <a:gd name="T52" fmla="*/ 2812 w 3500"/>
                <a:gd name="T53" fmla="*/ 875 h 1500"/>
                <a:gd name="T54" fmla="*/ 2875 w 3500"/>
                <a:gd name="T55" fmla="*/ 875 h 1500"/>
                <a:gd name="T56" fmla="*/ 3250 w 3500"/>
                <a:gd name="T57" fmla="*/ 1250 h 1500"/>
                <a:gd name="T58" fmla="*/ 250 w 3500"/>
                <a:gd name="T59" fmla="*/ 1250 h 1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00" h="1500">
                  <a:moveTo>
                    <a:pt x="3165" y="696"/>
                  </a:moveTo>
                  <a:cubicBezTo>
                    <a:pt x="3220" y="622"/>
                    <a:pt x="3250" y="532"/>
                    <a:pt x="3250" y="437"/>
                  </a:cubicBezTo>
                  <a:cubicBezTo>
                    <a:pt x="3250" y="196"/>
                    <a:pt x="3054" y="0"/>
                    <a:pt x="2812" y="0"/>
                  </a:cubicBezTo>
                  <a:lnTo>
                    <a:pt x="687" y="0"/>
                  </a:lnTo>
                  <a:cubicBezTo>
                    <a:pt x="571" y="0"/>
                    <a:pt x="461" y="45"/>
                    <a:pt x="378" y="128"/>
                  </a:cubicBezTo>
                  <a:cubicBezTo>
                    <a:pt x="295" y="211"/>
                    <a:pt x="250" y="320"/>
                    <a:pt x="250" y="437"/>
                  </a:cubicBezTo>
                  <a:cubicBezTo>
                    <a:pt x="250" y="534"/>
                    <a:pt x="282" y="624"/>
                    <a:pt x="335" y="696"/>
                  </a:cubicBezTo>
                  <a:cubicBezTo>
                    <a:pt x="136" y="801"/>
                    <a:pt x="0" y="1010"/>
                    <a:pt x="0" y="1250"/>
                  </a:cubicBezTo>
                  <a:lnTo>
                    <a:pt x="0" y="1375"/>
                  </a:lnTo>
                  <a:cubicBezTo>
                    <a:pt x="0" y="1444"/>
                    <a:pt x="56" y="1500"/>
                    <a:pt x="125" y="1500"/>
                  </a:cubicBezTo>
                  <a:lnTo>
                    <a:pt x="3375" y="1500"/>
                  </a:lnTo>
                  <a:cubicBezTo>
                    <a:pt x="3444" y="1500"/>
                    <a:pt x="3500" y="1444"/>
                    <a:pt x="3500" y="1375"/>
                  </a:cubicBezTo>
                  <a:lnTo>
                    <a:pt x="3500" y="1250"/>
                  </a:lnTo>
                  <a:cubicBezTo>
                    <a:pt x="3500" y="1010"/>
                    <a:pt x="3364" y="801"/>
                    <a:pt x="3165" y="696"/>
                  </a:cubicBezTo>
                  <a:close/>
                  <a:moveTo>
                    <a:pt x="555" y="305"/>
                  </a:moveTo>
                  <a:cubicBezTo>
                    <a:pt x="590" y="269"/>
                    <a:pt x="637" y="250"/>
                    <a:pt x="687" y="250"/>
                  </a:cubicBezTo>
                  <a:lnTo>
                    <a:pt x="2812" y="250"/>
                  </a:lnTo>
                  <a:cubicBezTo>
                    <a:pt x="2916" y="250"/>
                    <a:pt x="3000" y="334"/>
                    <a:pt x="3000" y="437"/>
                  </a:cubicBezTo>
                  <a:cubicBezTo>
                    <a:pt x="3000" y="487"/>
                    <a:pt x="2980" y="535"/>
                    <a:pt x="2945" y="570"/>
                  </a:cubicBezTo>
                  <a:cubicBezTo>
                    <a:pt x="2910" y="605"/>
                    <a:pt x="2863" y="625"/>
                    <a:pt x="2812" y="625"/>
                  </a:cubicBezTo>
                  <a:lnTo>
                    <a:pt x="687" y="625"/>
                  </a:lnTo>
                  <a:cubicBezTo>
                    <a:pt x="584" y="625"/>
                    <a:pt x="500" y="541"/>
                    <a:pt x="500" y="437"/>
                  </a:cubicBezTo>
                  <a:cubicBezTo>
                    <a:pt x="500" y="387"/>
                    <a:pt x="519" y="340"/>
                    <a:pt x="555" y="305"/>
                  </a:cubicBezTo>
                  <a:close/>
                  <a:moveTo>
                    <a:pt x="250" y="1250"/>
                  </a:moveTo>
                  <a:cubicBezTo>
                    <a:pt x="250" y="1043"/>
                    <a:pt x="418" y="875"/>
                    <a:pt x="625" y="875"/>
                  </a:cubicBezTo>
                  <a:lnTo>
                    <a:pt x="687" y="875"/>
                  </a:lnTo>
                  <a:lnTo>
                    <a:pt x="2812" y="875"/>
                  </a:lnTo>
                  <a:lnTo>
                    <a:pt x="2875" y="875"/>
                  </a:lnTo>
                  <a:cubicBezTo>
                    <a:pt x="3082" y="875"/>
                    <a:pt x="3250" y="1043"/>
                    <a:pt x="3250" y="1250"/>
                  </a:cubicBezTo>
                  <a:lnTo>
                    <a:pt x="250" y="125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40"/>
            <p:cNvSpPr>
              <a:spLocks noEditPoints="1"/>
            </p:cNvSpPr>
            <p:nvPr/>
          </p:nvSpPr>
          <p:spPr bwMode="auto">
            <a:xfrm>
              <a:off x="5505" y="-663"/>
              <a:ext cx="343" cy="340"/>
            </a:xfrm>
            <a:custGeom>
              <a:avLst/>
              <a:gdLst>
                <a:gd name="T0" fmla="*/ 6181 w 6487"/>
                <a:gd name="T1" fmla="*/ 5079 h 6400"/>
                <a:gd name="T2" fmla="*/ 5581 w 6487"/>
                <a:gd name="T3" fmla="*/ 4550 h 6400"/>
                <a:gd name="T4" fmla="*/ 5194 w 6487"/>
                <a:gd name="T5" fmla="*/ 4218 h 6400"/>
                <a:gd name="T6" fmla="*/ 3663 w 6487"/>
                <a:gd name="T7" fmla="*/ 2533 h 6400"/>
                <a:gd name="T8" fmla="*/ 3449 w 6487"/>
                <a:gd name="T9" fmla="*/ 2195 h 6400"/>
                <a:gd name="T10" fmla="*/ 3730 w 6487"/>
                <a:gd name="T11" fmla="*/ 2060 h 6400"/>
                <a:gd name="T12" fmla="*/ 4230 w 6487"/>
                <a:gd name="T13" fmla="*/ 1561 h 6400"/>
                <a:gd name="T14" fmla="*/ 3023 w 6487"/>
                <a:gd name="T15" fmla="*/ 147 h 6400"/>
                <a:gd name="T16" fmla="*/ 2316 w 6487"/>
                <a:gd name="T17" fmla="*/ 147 h 6400"/>
                <a:gd name="T18" fmla="*/ 677 w 6487"/>
                <a:gd name="T19" fmla="*/ 2138 h 6400"/>
                <a:gd name="T20" fmla="*/ 194 w 6487"/>
                <a:gd name="T21" fmla="*/ 2268 h 6400"/>
                <a:gd name="T22" fmla="*/ 1255 w 6487"/>
                <a:gd name="T23" fmla="*/ 4035 h 6400"/>
                <a:gd name="T24" fmla="*/ 1962 w 6487"/>
                <a:gd name="T25" fmla="*/ 4035 h 6400"/>
                <a:gd name="T26" fmla="*/ 2242 w 6487"/>
                <a:gd name="T27" fmla="*/ 3402 h 6400"/>
                <a:gd name="T28" fmla="*/ 2581 w 6487"/>
                <a:gd name="T29" fmla="*/ 3615 h 6400"/>
                <a:gd name="T30" fmla="*/ 4581 w 6487"/>
                <a:gd name="T31" fmla="*/ 5512 h 6400"/>
                <a:gd name="T32" fmla="*/ 4605 w 6487"/>
                <a:gd name="T33" fmla="*/ 5540 h 6400"/>
                <a:gd name="T34" fmla="*/ 5165 w 6487"/>
                <a:gd name="T35" fmla="*/ 6180 h 6400"/>
                <a:gd name="T36" fmla="*/ 5798 w 6487"/>
                <a:gd name="T37" fmla="*/ 6393 h 6400"/>
                <a:gd name="T38" fmla="*/ 6332 w 6487"/>
                <a:gd name="T39" fmla="*/ 5252 h 6400"/>
                <a:gd name="T40" fmla="*/ 2669 w 6487"/>
                <a:gd name="T41" fmla="*/ 250 h 6400"/>
                <a:gd name="T42" fmla="*/ 3907 w 6487"/>
                <a:gd name="T43" fmla="*/ 1384 h 6400"/>
                <a:gd name="T44" fmla="*/ 3907 w 6487"/>
                <a:gd name="T45" fmla="*/ 1737 h 6400"/>
                <a:gd name="T46" fmla="*/ 2493 w 6487"/>
                <a:gd name="T47" fmla="*/ 677 h 6400"/>
                <a:gd name="T48" fmla="*/ 2492 w 6487"/>
                <a:gd name="T49" fmla="*/ 323 h 6400"/>
                <a:gd name="T50" fmla="*/ 1432 w 6487"/>
                <a:gd name="T51" fmla="*/ 3859 h 6400"/>
                <a:gd name="T52" fmla="*/ 371 w 6487"/>
                <a:gd name="T53" fmla="*/ 2444 h 6400"/>
                <a:gd name="T54" fmla="*/ 725 w 6487"/>
                <a:gd name="T55" fmla="*/ 2444 h 6400"/>
                <a:gd name="T56" fmla="*/ 1785 w 6487"/>
                <a:gd name="T57" fmla="*/ 3859 h 6400"/>
                <a:gd name="T58" fmla="*/ 1962 w 6487"/>
                <a:gd name="T59" fmla="*/ 3328 h 6400"/>
                <a:gd name="T60" fmla="*/ 2316 w 6487"/>
                <a:gd name="T61" fmla="*/ 854 h 6400"/>
                <a:gd name="T62" fmla="*/ 3026 w 6487"/>
                <a:gd name="T63" fmla="*/ 2264 h 6400"/>
                <a:gd name="T64" fmla="*/ 2316 w 6487"/>
                <a:gd name="T65" fmla="*/ 2974 h 6400"/>
                <a:gd name="T66" fmla="*/ 2758 w 6487"/>
                <a:gd name="T67" fmla="*/ 3240 h 6400"/>
                <a:gd name="T68" fmla="*/ 2669 w 6487"/>
                <a:gd name="T69" fmla="*/ 3328 h 6400"/>
                <a:gd name="T70" fmla="*/ 2492 w 6487"/>
                <a:gd name="T71" fmla="*/ 3328 h 6400"/>
                <a:gd name="T72" fmla="*/ 2491 w 6487"/>
                <a:gd name="T73" fmla="*/ 3153 h 6400"/>
                <a:gd name="T74" fmla="*/ 3376 w 6487"/>
                <a:gd name="T75" fmla="*/ 2444 h 6400"/>
                <a:gd name="T76" fmla="*/ 3376 w 6487"/>
                <a:gd name="T77" fmla="*/ 2621 h 6400"/>
                <a:gd name="T78" fmla="*/ 3287 w 6487"/>
                <a:gd name="T79" fmla="*/ 2711 h 6400"/>
                <a:gd name="T80" fmla="*/ 3017 w 6487"/>
                <a:gd name="T81" fmla="*/ 3334 h 6400"/>
                <a:gd name="T82" fmla="*/ 4929 w 6487"/>
                <a:gd name="T83" fmla="*/ 4318 h 6400"/>
                <a:gd name="T84" fmla="*/ 3017 w 6487"/>
                <a:gd name="T85" fmla="*/ 3334 h 6400"/>
                <a:gd name="T86" fmla="*/ 5118 w 6487"/>
                <a:gd name="T87" fmla="*/ 4483 h 6400"/>
                <a:gd name="T88" fmla="*/ 4694 w 6487"/>
                <a:gd name="T89" fmla="*/ 5261 h 6400"/>
                <a:gd name="T90" fmla="*/ 6138 w 6487"/>
                <a:gd name="T91" fmla="*/ 5884 h 6400"/>
                <a:gd name="T92" fmla="*/ 5341 w 6487"/>
                <a:gd name="T93" fmla="*/ 6003 h 6400"/>
                <a:gd name="T94" fmla="*/ 5313 w 6487"/>
                <a:gd name="T95" fmla="*/ 5972 h 6400"/>
                <a:gd name="T96" fmla="*/ 5495 w 6487"/>
                <a:gd name="T97" fmla="*/ 4812 h 6400"/>
                <a:gd name="T98" fmla="*/ 6019 w 6487"/>
                <a:gd name="T99" fmla="*/ 5269 h 6400"/>
                <a:gd name="T100" fmla="*/ 6138 w 6487"/>
                <a:gd name="T101" fmla="*/ 5884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87" h="6400">
                  <a:moveTo>
                    <a:pt x="6332" y="5252"/>
                  </a:moveTo>
                  <a:cubicBezTo>
                    <a:pt x="6289" y="5186"/>
                    <a:pt x="6239" y="5128"/>
                    <a:pt x="6181" y="5079"/>
                  </a:cubicBezTo>
                  <a:lnTo>
                    <a:pt x="5597" y="4569"/>
                  </a:lnTo>
                  <a:cubicBezTo>
                    <a:pt x="5592" y="4562"/>
                    <a:pt x="5587" y="4556"/>
                    <a:pt x="5581" y="4550"/>
                  </a:cubicBezTo>
                  <a:cubicBezTo>
                    <a:pt x="5571" y="4540"/>
                    <a:pt x="5560" y="4532"/>
                    <a:pt x="5547" y="4526"/>
                  </a:cubicBezTo>
                  <a:lnTo>
                    <a:pt x="5194" y="4218"/>
                  </a:lnTo>
                  <a:lnTo>
                    <a:pt x="3559" y="2792"/>
                  </a:lnTo>
                  <a:cubicBezTo>
                    <a:pt x="3626" y="2722"/>
                    <a:pt x="3663" y="2630"/>
                    <a:pt x="3663" y="2533"/>
                  </a:cubicBezTo>
                  <a:cubicBezTo>
                    <a:pt x="3663" y="2433"/>
                    <a:pt x="3624" y="2339"/>
                    <a:pt x="3553" y="2268"/>
                  </a:cubicBezTo>
                  <a:cubicBezTo>
                    <a:pt x="3522" y="2237"/>
                    <a:pt x="3487" y="2212"/>
                    <a:pt x="3449" y="2195"/>
                  </a:cubicBezTo>
                  <a:lnTo>
                    <a:pt x="3601" y="2043"/>
                  </a:lnTo>
                  <a:cubicBezTo>
                    <a:pt x="3643" y="2055"/>
                    <a:pt x="3686" y="2060"/>
                    <a:pt x="3730" y="2060"/>
                  </a:cubicBezTo>
                  <a:cubicBezTo>
                    <a:pt x="3858" y="2060"/>
                    <a:pt x="3986" y="2012"/>
                    <a:pt x="4083" y="1914"/>
                  </a:cubicBezTo>
                  <a:cubicBezTo>
                    <a:pt x="4178" y="1820"/>
                    <a:pt x="4230" y="1694"/>
                    <a:pt x="4230" y="1561"/>
                  </a:cubicBezTo>
                  <a:cubicBezTo>
                    <a:pt x="4230" y="1427"/>
                    <a:pt x="4178" y="1302"/>
                    <a:pt x="4083" y="1207"/>
                  </a:cubicBezTo>
                  <a:lnTo>
                    <a:pt x="3023" y="147"/>
                  </a:lnTo>
                  <a:cubicBezTo>
                    <a:pt x="2928" y="52"/>
                    <a:pt x="2803" y="0"/>
                    <a:pt x="2669" y="0"/>
                  </a:cubicBezTo>
                  <a:cubicBezTo>
                    <a:pt x="2536" y="0"/>
                    <a:pt x="2410" y="52"/>
                    <a:pt x="2316" y="147"/>
                  </a:cubicBezTo>
                  <a:cubicBezTo>
                    <a:pt x="2185" y="277"/>
                    <a:pt x="2142" y="462"/>
                    <a:pt x="2186" y="629"/>
                  </a:cubicBezTo>
                  <a:lnTo>
                    <a:pt x="677" y="2138"/>
                  </a:lnTo>
                  <a:cubicBezTo>
                    <a:pt x="636" y="2127"/>
                    <a:pt x="592" y="2121"/>
                    <a:pt x="548" y="2121"/>
                  </a:cubicBezTo>
                  <a:cubicBezTo>
                    <a:pt x="414" y="2121"/>
                    <a:pt x="289" y="2173"/>
                    <a:pt x="194" y="2268"/>
                  </a:cubicBezTo>
                  <a:cubicBezTo>
                    <a:pt x="0" y="2463"/>
                    <a:pt x="0" y="2780"/>
                    <a:pt x="194" y="2975"/>
                  </a:cubicBezTo>
                  <a:lnTo>
                    <a:pt x="1255" y="4035"/>
                  </a:lnTo>
                  <a:cubicBezTo>
                    <a:pt x="1353" y="4133"/>
                    <a:pt x="1481" y="4182"/>
                    <a:pt x="1609" y="4182"/>
                  </a:cubicBezTo>
                  <a:cubicBezTo>
                    <a:pt x="1737" y="4182"/>
                    <a:pt x="1865" y="4133"/>
                    <a:pt x="1962" y="4035"/>
                  </a:cubicBezTo>
                  <a:cubicBezTo>
                    <a:pt x="2093" y="3905"/>
                    <a:pt x="2136" y="3719"/>
                    <a:pt x="2091" y="3553"/>
                  </a:cubicBezTo>
                  <a:lnTo>
                    <a:pt x="2242" y="3402"/>
                  </a:lnTo>
                  <a:cubicBezTo>
                    <a:pt x="2260" y="3440"/>
                    <a:pt x="2285" y="3475"/>
                    <a:pt x="2316" y="3505"/>
                  </a:cubicBezTo>
                  <a:cubicBezTo>
                    <a:pt x="2386" y="3576"/>
                    <a:pt x="2481" y="3615"/>
                    <a:pt x="2581" y="3615"/>
                  </a:cubicBezTo>
                  <a:cubicBezTo>
                    <a:pt x="2678" y="3615"/>
                    <a:pt x="2769" y="3578"/>
                    <a:pt x="2840" y="3511"/>
                  </a:cubicBezTo>
                  <a:lnTo>
                    <a:pt x="4581" y="5512"/>
                  </a:lnTo>
                  <a:cubicBezTo>
                    <a:pt x="4586" y="5520"/>
                    <a:pt x="4591" y="5527"/>
                    <a:pt x="4598" y="5533"/>
                  </a:cubicBezTo>
                  <a:cubicBezTo>
                    <a:pt x="4600" y="5535"/>
                    <a:pt x="4602" y="5537"/>
                    <a:pt x="4605" y="5540"/>
                  </a:cubicBezTo>
                  <a:lnTo>
                    <a:pt x="5124" y="6136"/>
                  </a:lnTo>
                  <a:cubicBezTo>
                    <a:pt x="5137" y="6151"/>
                    <a:pt x="5150" y="6166"/>
                    <a:pt x="5165" y="6180"/>
                  </a:cubicBezTo>
                  <a:cubicBezTo>
                    <a:pt x="5307" y="6323"/>
                    <a:pt x="5495" y="6400"/>
                    <a:pt x="5693" y="6400"/>
                  </a:cubicBezTo>
                  <a:cubicBezTo>
                    <a:pt x="5728" y="6400"/>
                    <a:pt x="5763" y="6398"/>
                    <a:pt x="5798" y="6393"/>
                  </a:cubicBezTo>
                  <a:cubicBezTo>
                    <a:pt x="6034" y="6360"/>
                    <a:pt x="6237" y="6219"/>
                    <a:pt x="6356" y="6006"/>
                  </a:cubicBezTo>
                  <a:cubicBezTo>
                    <a:pt x="6487" y="5773"/>
                    <a:pt x="6477" y="5477"/>
                    <a:pt x="6332" y="5252"/>
                  </a:cubicBezTo>
                  <a:close/>
                  <a:moveTo>
                    <a:pt x="2492" y="323"/>
                  </a:moveTo>
                  <a:cubicBezTo>
                    <a:pt x="2540" y="276"/>
                    <a:pt x="2602" y="250"/>
                    <a:pt x="2669" y="250"/>
                  </a:cubicBezTo>
                  <a:cubicBezTo>
                    <a:pt x="2736" y="250"/>
                    <a:pt x="2799" y="276"/>
                    <a:pt x="2846" y="323"/>
                  </a:cubicBezTo>
                  <a:lnTo>
                    <a:pt x="3907" y="1384"/>
                  </a:lnTo>
                  <a:cubicBezTo>
                    <a:pt x="3954" y="1431"/>
                    <a:pt x="3980" y="1494"/>
                    <a:pt x="3980" y="1561"/>
                  </a:cubicBezTo>
                  <a:cubicBezTo>
                    <a:pt x="3980" y="1627"/>
                    <a:pt x="3954" y="1690"/>
                    <a:pt x="3907" y="1737"/>
                  </a:cubicBezTo>
                  <a:cubicBezTo>
                    <a:pt x="3809" y="1835"/>
                    <a:pt x="3651" y="1835"/>
                    <a:pt x="3553" y="1737"/>
                  </a:cubicBezTo>
                  <a:lnTo>
                    <a:pt x="2493" y="677"/>
                  </a:lnTo>
                  <a:lnTo>
                    <a:pt x="2492" y="677"/>
                  </a:lnTo>
                  <a:cubicBezTo>
                    <a:pt x="2395" y="579"/>
                    <a:pt x="2395" y="421"/>
                    <a:pt x="2492" y="323"/>
                  </a:cubicBezTo>
                  <a:close/>
                  <a:moveTo>
                    <a:pt x="1785" y="3859"/>
                  </a:moveTo>
                  <a:cubicBezTo>
                    <a:pt x="1688" y="3956"/>
                    <a:pt x="1529" y="3956"/>
                    <a:pt x="1432" y="3859"/>
                  </a:cubicBezTo>
                  <a:lnTo>
                    <a:pt x="371" y="2798"/>
                  </a:lnTo>
                  <a:cubicBezTo>
                    <a:pt x="274" y="2701"/>
                    <a:pt x="274" y="2542"/>
                    <a:pt x="371" y="2444"/>
                  </a:cubicBezTo>
                  <a:cubicBezTo>
                    <a:pt x="418" y="2397"/>
                    <a:pt x="481" y="2371"/>
                    <a:pt x="548" y="2371"/>
                  </a:cubicBezTo>
                  <a:cubicBezTo>
                    <a:pt x="615" y="2371"/>
                    <a:pt x="678" y="2397"/>
                    <a:pt x="725" y="2444"/>
                  </a:cubicBezTo>
                  <a:lnTo>
                    <a:pt x="1785" y="3505"/>
                  </a:lnTo>
                  <a:cubicBezTo>
                    <a:pt x="1883" y="3603"/>
                    <a:pt x="1883" y="3761"/>
                    <a:pt x="1785" y="3859"/>
                  </a:cubicBezTo>
                  <a:close/>
                  <a:moveTo>
                    <a:pt x="2312" y="2979"/>
                  </a:moveTo>
                  <a:lnTo>
                    <a:pt x="1962" y="3328"/>
                  </a:lnTo>
                  <a:lnTo>
                    <a:pt x="901" y="2268"/>
                  </a:lnTo>
                  <a:lnTo>
                    <a:pt x="2316" y="854"/>
                  </a:lnTo>
                  <a:lnTo>
                    <a:pt x="3376" y="1914"/>
                  </a:lnTo>
                  <a:lnTo>
                    <a:pt x="3026" y="2264"/>
                  </a:lnTo>
                  <a:cubicBezTo>
                    <a:pt x="3025" y="2265"/>
                    <a:pt x="3024" y="2266"/>
                    <a:pt x="3023" y="2268"/>
                  </a:cubicBezTo>
                  <a:lnTo>
                    <a:pt x="2316" y="2974"/>
                  </a:lnTo>
                  <a:cubicBezTo>
                    <a:pt x="2315" y="2976"/>
                    <a:pt x="2313" y="2977"/>
                    <a:pt x="2312" y="2979"/>
                  </a:cubicBezTo>
                  <a:close/>
                  <a:moveTo>
                    <a:pt x="2758" y="3240"/>
                  </a:moveTo>
                  <a:lnTo>
                    <a:pt x="2757" y="3240"/>
                  </a:lnTo>
                  <a:lnTo>
                    <a:pt x="2669" y="3328"/>
                  </a:lnTo>
                  <a:cubicBezTo>
                    <a:pt x="2646" y="3352"/>
                    <a:pt x="2614" y="3365"/>
                    <a:pt x="2581" y="3365"/>
                  </a:cubicBezTo>
                  <a:cubicBezTo>
                    <a:pt x="2547" y="3365"/>
                    <a:pt x="2516" y="3352"/>
                    <a:pt x="2492" y="3328"/>
                  </a:cubicBezTo>
                  <a:cubicBezTo>
                    <a:pt x="2469" y="3305"/>
                    <a:pt x="2456" y="3273"/>
                    <a:pt x="2456" y="3240"/>
                  </a:cubicBezTo>
                  <a:cubicBezTo>
                    <a:pt x="2456" y="3207"/>
                    <a:pt x="2468" y="3176"/>
                    <a:pt x="2491" y="3153"/>
                  </a:cubicBezTo>
                  <a:lnTo>
                    <a:pt x="3201" y="2443"/>
                  </a:lnTo>
                  <a:cubicBezTo>
                    <a:pt x="3250" y="2396"/>
                    <a:pt x="3328" y="2396"/>
                    <a:pt x="3376" y="2444"/>
                  </a:cubicBezTo>
                  <a:cubicBezTo>
                    <a:pt x="3400" y="2468"/>
                    <a:pt x="3413" y="2499"/>
                    <a:pt x="3413" y="2533"/>
                  </a:cubicBezTo>
                  <a:cubicBezTo>
                    <a:pt x="3413" y="2566"/>
                    <a:pt x="3400" y="2598"/>
                    <a:pt x="3376" y="2621"/>
                  </a:cubicBezTo>
                  <a:lnTo>
                    <a:pt x="3289" y="2709"/>
                  </a:lnTo>
                  <a:cubicBezTo>
                    <a:pt x="3288" y="2709"/>
                    <a:pt x="3288" y="2710"/>
                    <a:pt x="3287" y="2711"/>
                  </a:cubicBezTo>
                  <a:lnTo>
                    <a:pt x="2758" y="3240"/>
                  </a:lnTo>
                  <a:close/>
                  <a:moveTo>
                    <a:pt x="3017" y="3334"/>
                  </a:moveTo>
                  <a:lnTo>
                    <a:pt x="3382" y="2969"/>
                  </a:lnTo>
                  <a:lnTo>
                    <a:pt x="4929" y="4318"/>
                  </a:lnTo>
                  <a:lnTo>
                    <a:pt x="4365" y="4883"/>
                  </a:lnTo>
                  <a:lnTo>
                    <a:pt x="3017" y="3334"/>
                  </a:lnTo>
                  <a:close/>
                  <a:moveTo>
                    <a:pt x="4529" y="5072"/>
                  </a:moveTo>
                  <a:lnTo>
                    <a:pt x="5118" y="4483"/>
                  </a:lnTo>
                  <a:lnTo>
                    <a:pt x="5307" y="4648"/>
                  </a:lnTo>
                  <a:lnTo>
                    <a:pt x="4694" y="5261"/>
                  </a:lnTo>
                  <a:lnTo>
                    <a:pt x="4529" y="5072"/>
                  </a:lnTo>
                  <a:close/>
                  <a:moveTo>
                    <a:pt x="6138" y="5884"/>
                  </a:moveTo>
                  <a:cubicBezTo>
                    <a:pt x="6058" y="6028"/>
                    <a:pt x="5921" y="6123"/>
                    <a:pt x="5764" y="6145"/>
                  </a:cubicBezTo>
                  <a:cubicBezTo>
                    <a:pt x="5607" y="6167"/>
                    <a:pt x="5453" y="6115"/>
                    <a:pt x="5341" y="6003"/>
                  </a:cubicBezTo>
                  <a:cubicBezTo>
                    <a:pt x="5332" y="5994"/>
                    <a:pt x="5323" y="5984"/>
                    <a:pt x="5314" y="5974"/>
                  </a:cubicBezTo>
                  <a:cubicBezTo>
                    <a:pt x="5314" y="5973"/>
                    <a:pt x="5313" y="5973"/>
                    <a:pt x="5313" y="5972"/>
                  </a:cubicBezTo>
                  <a:lnTo>
                    <a:pt x="4858" y="5450"/>
                  </a:lnTo>
                  <a:lnTo>
                    <a:pt x="5495" y="4812"/>
                  </a:lnTo>
                  <a:lnTo>
                    <a:pt x="6017" y="5268"/>
                  </a:lnTo>
                  <a:cubicBezTo>
                    <a:pt x="6018" y="5268"/>
                    <a:pt x="6018" y="5268"/>
                    <a:pt x="6019" y="5269"/>
                  </a:cubicBezTo>
                  <a:cubicBezTo>
                    <a:pt x="6058" y="5302"/>
                    <a:pt x="6092" y="5342"/>
                    <a:pt x="6122" y="5387"/>
                  </a:cubicBezTo>
                  <a:cubicBezTo>
                    <a:pt x="6216" y="5533"/>
                    <a:pt x="6223" y="5733"/>
                    <a:pt x="6138" y="588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41"/>
            <p:cNvSpPr>
              <a:spLocks/>
            </p:cNvSpPr>
            <p:nvPr/>
          </p:nvSpPr>
          <p:spPr bwMode="auto">
            <a:xfrm>
              <a:off x="5592" y="-597"/>
              <a:ext cx="42" cy="42"/>
            </a:xfrm>
            <a:custGeom>
              <a:avLst/>
              <a:gdLst>
                <a:gd name="T0" fmla="*/ 756 w 805"/>
                <a:gd name="T1" fmla="*/ 48 h 792"/>
                <a:gd name="T2" fmla="*/ 579 w 805"/>
                <a:gd name="T3" fmla="*/ 48 h 792"/>
                <a:gd name="T4" fmla="*/ 49 w 805"/>
                <a:gd name="T5" fmla="*/ 579 h 792"/>
                <a:gd name="T6" fmla="*/ 49 w 805"/>
                <a:gd name="T7" fmla="*/ 756 h 792"/>
                <a:gd name="T8" fmla="*/ 137 w 805"/>
                <a:gd name="T9" fmla="*/ 792 h 792"/>
                <a:gd name="T10" fmla="*/ 226 w 805"/>
                <a:gd name="T11" fmla="*/ 756 h 792"/>
                <a:gd name="T12" fmla="*/ 756 w 805"/>
                <a:gd name="T13" fmla="*/ 225 h 792"/>
                <a:gd name="T14" fmla="*/ 756 w 805"/>
                <a:gd name="T15" fmla="*/ 48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5" h="792">
                  <a:moveTo>
                    <a:pt x="756" y="48"/>
                  </a:moveTo>
                  <a:cubicBezTo>
                    <a:pt x="707" y="0"/>
                    <a:pt x="628" y="0"/>
                    <a:pt x="579" y="48"/>
                  </a:cubicBezTo>
                  <a:lnTo>
                    <a:pt x="49" y="579"/>
                  </a:lnTo>
                  <a:cubicBezTo>
                    <a:pt x="0" y="628"/>
                    <a:pt x="0" y="707"/>
                    <a:pt x="49" y="756"/>
                  </a:cubicBezTo>
                  <a:cubicBezTo>
                    <a:pt x="73" y="780"/>
                    <a:pt x="105" y="792"/>
                    <a:pt x="137" y="792"/>
                  </a:cubicBezTo>
                  <a:cubicBezTo>
                    <a:pt x="169" y="792"/>
                    <a:pt x="201" y="780"/>
                    <a:pt x="226" y="756"/>
                  </a:cubicBezTo>
                  <a:lnTo>
                    <a:pt x="756" y="225"/>
                  </a:lnTo>
                  <a:cubicBezTo>
                    <a:pt x="805" y="176"/>
                    <a:pt x="805" y="97"/>
                    <a:pt x="756" y="4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8" name="Group 144"/>
          <p:cNvGrpSpPr>
            <a:grpSpLocks noChangeAspect="1"/>
          </p:cNvGrpSpPr>
          <p:nvPr/>
        </p:nvGrpSpPr>
        <p:grpSpPr bwMode="auto">
          <a:xfrm>
            <a:off x="4491568" y="4993816"/>
            <a:ext cx="206195" cy="385200"/>
            <a:chOff x="1931" y="-1224"/>
            <a:chExt cx="182" cy="340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30" name="Freeform 145"/>
            <p:cNvSpPr>
              <a:spLocks noEditPoints="1"/>
            </p:cNvSpPr>
            <p:nvPr/>
          </p:nvSpPr>
          <p:spPr bwMode="auto">
            <a:xfrm>
              <a:off x="1931" y="-1224"/>
              <a:ext cx="182" cy="340"/>
            </a:xfrm>
            <a:custGeom>
              <a:avLst/>
              <a:gdLst>
                <a:gd name="T0" fmla="*/ 2700 w 3200"/>
                <a:gd name="T1" fmla="*/ 0 h 6000"/>
                <a:gd name="T2" fmla="*/ 500 w 3200"/>
                <a:gd name="T3" fmla="*/ 0 h 6000"/>
                <a:gd name="T4" fmla="*/ 0 w 3200"/>
                <a:gd name="T5" fmla="*/ 500 h 6000"/>
                <a:gd name="T6" fmla="*/ 0 w 3200"/>
                <a:gd name="T7" fmla="*/ 5500 h 6000"/>
                <a:gd name="T8" fmla="*/ 500 w 3200"/>
                <a:gd name="T9" fmla="*/ 6000 h 6000"/>
                <a:gd name="T10" fmla="*/ 2700 w 3200"/>
                <a:gd name="T11" fmla="*/ 6000 h 6000"/>
                <a:gd name="T12" fmla="*/ 3200 w 3200"/>
                <a:gd name="T13" fmla="*/ 5500 h 6000"/>
                <a:gd name="T14" fmla="*/ 3200 w 3200"/>
                <a:gd name="T15" fmla="*/ 500 h 6000"/>
                <a:gd name="T16" fmla="*/ 2700 w 3200"/>
                <a:gd name="T17" fmla="*/ 0 h 6000"/>
                <a:gd name="T18" fmla="*/ 1203 w 3200"/>
                <a:gd name="T19" fmla="*/ 5800 h 6000"/>
                <a:gd name="T20" fmla="*/ 500 w 3200"/>
                <a:gd name="T21" fmla="*/ 5800 h 6000"/>
                <a:gd name="T22" fmla="*/ 200 w 3200"/>
                <a:gd name="T23" fmla="*/ 5500 h 6000"/>
                <a:gd name="T24" fmla="*/ 200 w 3200"/>
                <a:gd name="T25" fmla="*/ 5200 h 6000"/>
                <a:gd name="T26" fmla="*/ 1203 w 3200"/>
                <a:gd name="T27" fmla="*/ 5200 h 6000"/>
                <a:gd name="T28" fmla="*/ 1203 w 3200"/>
                <a:gd name="T29" fmla="*/ 5800 h 6000"/>
                <a:gd name="T30" fmla="*/ 1600 w 3200"/>
                <a:gd name="T31" fmla="*/ 5800 h 6000"/>
                <a:gd name="T32" fmla="*/ 1300 w 3200"/>
                <a:gd name="T33" fmla="*/ 5500 h 6000"/>
                <a:gd name="T34" fmla="*/ 1600 w 3200"/>
                <a:gd name="T35" fmla="*/ 5200 h 6000"/>
                <a:gd name="T36" fmla="*/ 1900 w 3200"/>
                <a:gd name="T37" fmla="*/ 5500 h 6000"/>
                <a:gd name="T38" fmla="*/ 1600 w 3200"/>
                <a:gd name="T39" fmla="*/ 5800 h 6000"/>
                <a:gd name="T40" fmla="*/ 3000 w 3200"/>
                <a:gd name="T41" fmla="*/ 5500 h 6000"/>
                <a:gd name="T42" fmla="*/ 2700 w 3200"/>
                <a:gd name="T43" fmla="*/ 5800 h 6000"/>
                <a:gd name="T44" fmla="*/ 1997 w 3200"/>
                <a:gd name="T45" fmla="*/ 5800 h 6000"/>
                <a:gd name="T46" fmla="*/ 1997 w 3200"/>
                <a:gd name="T47" fmla="*/ 5200 h 6000"/>
                <a:gd name="T48" fmla="*/ 3000 w 3200"/>
                <a:gd name="T49" fmla="*/ 5200 h 6000"/>
                <a:gd name="T50" fmla="*/ 3000 w 3200"/>
                <a:gd name="T51" fmla="*/ 5500 h 6000"/>
                <a:gd name="T52" fmla="*/ 3000 w 3200"/>
                <a:gd name="T53" fmla="*/ 5000 h 6000"/>
                <a:gd name="T54" fmla="*/ 200 w 3200"/>
                <a:gd name="T55" fmla="*/ 5000 h 6000"/>
                <a:gd name="T56" fmla="*/ 200 w 3200"/>
                <a:gd name="T57" fmla="*/ 1100 h 6000"/>
                <a:gd name="T58" fmla="*/ 3000 w 3200"/>
                <a:gd name="T59" fmla="*/ 1100 h 6000"/>
                <a:gd name="T60" fmla="*/ 3000 w 3200"/>
                <a:gd name="T61" fmla="*/ 5000 h 6000"/>
                <a:gd name="T62" fmla="*/ 3000 w 3200"/>
                <a:gd name="T63" fmla="*/ 900 h 6000"/>
                <a:gd name="T64" fmla="*/ 200 w 3200"/>
                <a:gd name="T65" fmla="*/ 900 h 6000"/>
                <a:gd name="T66" fmla="*/ 200 w 3200"/>
                <a:gd name="T67" fmla="*/ 500 h 6000"/>
                <a:gd name="T68" fmla="*/ 500 w 3200"/>
                <a:gd name="T69" fmla="*/ 200 h 6000"/>
                <a:gd name="T70" fmla="*/ 2700 w 3200"/>
                <a:gd name="T71" fmla="*/ 200 h 6000"/>
                <a:gd name="T72" fmla="*/ 3000 w 3200"/>
                <a:gd name="T73" fmla="*/ 500 h 6000"/>
                <a:gd name="T74" fmla="*/ 3000 w 3200"/>
                <a:gd name="T75" fmla="*/ 900 h 6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00" h="6000">
                  <a:moveTo>
                    <a:pt x="2700" y="0"/>
                  </a:moveTo>
                  <a:lnTo>
                    <a:pt x="500" y="0"/>
                  </a:lnTo>
                  <a:cubicBezTo>
                    <a:pt x="224" y="0"/>
                    <a:pt x="0" y="224"/>
                    <a:pt x="0" y="500"/>
                  </a:cubicBezTo>
                  <a:lnTo>
                    <a:pt x="0" y="5500"/>
                  </a:lnTo>
                  <a:cubicBezTo>
                    <a:pt x="0" y="5776"/>
                    <a:pt x="224" y="6000"/>
                    <a:pt x="500" y="6000"/>
                  </a:cubicBezTo>
                  <a:lnTo>
                    <a:pt x="2700" y="6000"/>
                  </a:lnTo>
                  <a:cubicBezTo>
                    <a:pt x="2976" y="6000"/>
                    <a:pt x="3200" y="5776"/>
                    <a:pt x="3200" y="5500"/>
                  </a:cubicBezTo>
                  <a:lnTo>
                    <a:pt x="3200" y="500"/>
                  </a:lnTo>
                  <a:cubicBezTo>
                    <a:pt x="3200" y="224"/>
                    <a:pt x="2976" y="0"/>
                    <a:pt x="2700" y="0"/>
                  </a:cubicBezTo>
                  <a:close/>
                  <a:moveTo>
                    <a:pt x="1203" y="5800"/>
                  </a:moveTo>
                  <a:lnTo>
                    <a:pt x="500" y="5800"/>
                  </a:lnTo>
                  <a:cubicBezTo>
                    <a:pt x="334" y="5800"/>
                    <a:pt x="200" y="5666"/>
                    <a:pt x="200" y="5500"/>
                  </a:cubicBezTo>
                  <a:lnTo>
                    <a:pt x="200" y="5200"/>
                  </a:lnTo>
                  <a:lnTo>
                    <a:pt x="1203" y="5200"/>
                  </a:lnTo>
                  <a:cubicBezTo>
                    <a:pt x="1066" y="5377"/>
                    <a:pt x="1066" y="5623"/>
                    <a:pt x="1203" y="5800"/>
                  </a:cubicBezTo>
                  <a:close/>
                  <a:moveTo>
                    <a:pt x="1600" y="5800"/>
                  </a:moveTo>
                  <a:cubicBezTo>
                    <a:pt x="1434" y="5800"/>
                    <a:pt x="1300" y="5666"/>
                    <a:pt x="1300" y="5500"/>
                  </a:cubicBezTo>
                  <a:cubicBezTo>
                    <a:pt x="1300" y="5334"/>
                    <a:pt x="1434" y="5200"/>
                    <a:pt x="1600" y="5200"/>
                  </a:cubicBezTo>
                  <a:cubicBezTo>
                    <a:pt x="1766" y="5200"/>
                    <a:pt x="1900" y="5334"/>
                    <a:pt x="1900" y="5500"/>
                  </a:cubicBezTo>
                  <a:cubicBezTo>
                    <a:pt x="1900" y="5666"/>
                    <a:pt x="1766" y="5800"/>
                    <a:pt x="1600" y="5800"/>
                  </a:cubicBezTo>
                  <a:close/>
                  <a:moveTo>
                    <a:pt x="3000" y="5500"/>
                  </a:moveTo>
                  <a:cubicBezTo>
                    <a:pt x="3000" y="5666"/>
                    <a:pt x="2866" y="5800"/>
                    <a:pt x="2700" y="5800"/>
                  </a:cubicBezTo>
                  <a:lnTo>
                    <a:pt x="1997" y="5800"/>
                  </a:lnTo>
                  <a:cubicBezTo>
                    <a:pt x="2134" y="5623"/>
                    <a:pt x="2134" y="5377"/>
                    <a:pt x="1997" y="5200"/>
                  </a:cubicBezTo>
                  <a:lnTo>
                    <a:pt x="3000" y="5200"/>
                  </a:lnTo>
                  <a:lnTo>
                    <a:pt x="3000" y="5500"/>
                  </a:lnTo>
                  <a:close/>
                  <a:moveTo>
                    <a:pt x="3000" y="5000"/>
                  </a:moveTo>
                  <a:lnTo>
                    <a:pt x="200" y="5000"/>
                  </a:lnTo>
                  <a:lnTo>
                    <a:pt x="200" y="1100"/>
                  </a:lnTo>
                  <a:lnTo>
                    <a:pt x="3000" y="1100"/>
                  </a:lnTo>
                  <a:lnTo>
                    <a:pt x="3000" y="5000"/>
                  </a:lnTo>
                  <a:close/>
                  <a:moveTo>
                    <a:pt x="3000" y="900"/>
                  </a:moveTo>
                  <a:lnTo>
                    <a:pt x="200" y="900"/>
                  </a:lnTo>
                  <a:lnTo>
                    <a:pt x="200" y="500"/>
                  </a:lnTo>
                  <a:cubicBezTo>
                    <a:pt x="200" y="334"/>
                    <a:pt x="334" y="200"/>
                    <a:pt x="500" y="200"/>
                  </a:cubicBezTo>
                  <a:lnTo>
                    <a:pt x="2700" y="200"/>
                  </a:lnTo>
                  <a:cubicBezTo>
                    <a:pt x="2866" y="200"/>
                    <a:pt x="3000" y="334"/>
                    <a:pt x="3000" y="500"/>
                  </a:cubicBezTo>
                  <a:lnTo>
                    <a:pt x="3000" y="9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Rectangle 146"/>
            <p:cNvSpPr>
              <a:spLocks noChangeArrowheads="1"/>
            </p:cNvSpPr>
            <p:nvPr/>
          </p:nvSpPr>
          <p:spPr bwMode="auto">
            <a:xfrm>
              <a:off x="1982" y="-1196"/>
              <a:ext cx="57" cy="1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47"/>
            <p:cNvSpPr>
              <a:spLocks noEditPoints="1"/>
            </p:cNvSpPr>
            <p:nvPr/>
          </p:nvSpPr>
          <p:spPr bwMode="auto">
            <a:xfrm>
              <a:off x="1960" y="-1111"/>
              <a:ext cx="56" cy="57"/>
            </a:xfrm>
            <a:custGeom>
              <a:avLst/>
              <a:gdLst>
                <a:gd name="T0" fmla="*/ 700 w 1000"/>
                <a:gd name="T1" fmla="*/ 0 h 1000"/>
                <a:gd name="T2" fmla="*/ 300 w 1000"/>
                <a:gd name="T3" fmla="*/ 0 h 1000"/>
                <a:gd name="T4" fmla="*/ 0 w 1000"/>
                <a:gd name="T5" fmla="*/ 300 h 1000"/>
                <a:gd name="T6" fmla="*/ 0 w 1000"/>
                <a:gd name="T7" fmla="*/ 700 h 1000"/>
                <a:gd name="T8" fmla="*/ 300 w 1000"/>
                <a:gd name="T9" fmla="*/ 1000 h 1000"/>
                <a:gd name="T10" fmla="*/ 700 w 1000"/>
                <a:gd name="T11" fmla="*/ 1000 h 1000"/>
                <a:gd name="T12" fmla="*/ 1000 w 1000"/>
                <a:gd name="T13" fmla="*/ 700 h 1000"/>
                <a:gd name="T14" fmla="*/ 1000 w 1000"/>
                <a:gd name="T15" fmla="*/ 300 h 1000"/>
                <a:gd name="T16" fmla="*/ 700 w 1000"/>
                <a:gd name="T17" fmla="*/ 0 h 1000"/>
                <a:gd name="T18" fmla="*/ 800 w 1000"/>
                <a:gd name="T19" fmla="*/ 700 h 1000"/>
                <a:gd name="T20" fmla="*/ 700 w 1000"/>
                <a:gd name="T21" fmla="*/ 800 h 1000"/>
                <a:gd name="T22" fmla="*/ 300 w 1000"/>
                <a:gd name="T23" fmla="*/ 800 h 1000"/>
                <a:gd name="T24" fmla="*/ 200 w 1000"/>
                <a:gd name="T25" fmla="*/ 700 h 1000"/>
                <a:gd name="T26" fmla="*/ 200 w 1000"/>
                <a:gd name="T27" fmla="*/ 300 h 1000"/>
                <a:gd name="T28" fmla="*/ 300 w 1000"/>
                <a:gd name="T29" fmla="*/ 200 h 1000"/>
                <a:gd name="T30" fmla="*/ 700 w 1000"/>
                <a:gd name="T31" fmla="*/ 200 h 1000"/>
                <a:gd name="T32" fmla="*/ 800 w 1000"/>
                <a:gd name="T33" fmla="*/ 300 h 1000"/>
                <a:gd name="T34" fmla="*/ 800 w 1000"/>
                <a:gd name="T35" fmla="*/ 70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0" h="1000">
                  <a:moveTo>
                    <a:pt x="700" y="0"/>
                  </a:moveTo>
                  <a:lnTo>
                    <a:pt x="300" y="0"/>
                  </a:lnTo>
                  <a:cubicBezTo>
                    <a:pt x="134" y="0"/>
                    <a:pt x="0" y="134"/>
                    <a:pt x="0" y="300"/>
                  </a:cubicBezTo>
                  <a:lnTo>
                    <a:pt x="0" y="700"/>
                  </a:lnTo>
                  <a:cubicBezTo>
                    <a:pt x="0" y="866"/>
                    <a:pt x="134" y="1000"/>
                    <a:pt x="300" y="1000"/>
                  </a:cubicBezTo>
                  <a:lnTo>
                    <a:pt x="700" y="1000"/>
                  </a:lnTo>
                  <a:cubicBezTo>
                    <a:pt x="866" y="1000"/>
                    <a:pt x="1000" y="866"/>
                    <a:pt x="1000" y="700"/>
                  </a:cubicBezTo>
                  <a:lnTo>
                    <a:pt x="1000" y="300"/>
                  </a:lnTo>
                  <a:cubicBezTo>
                    <a:pt x="1000" y="134"/>
                    <a:pt x="866" y="0"/>
                    <a:pt x="700" y="0"/>
                  </a:cubicBezTo>
                  <a:close/>
                  <a:moveTo>
                    <a:pt x="800" y="700"/>
                  </a:moveTo>
                  <a:cubicBezTo>
                    <a:pt x="800" y="755"/>
                    <a:pt x="755" y="800"/>
                    <a:pt x="700" y="800"/>
                  </a:cubicBezTo>
                  <a:lnTo>
                    <a:pt x="300" y="800"/>
                  </a:lnTo>
                  <a:cubicBezTo>
                    <a:pt x="245" y="800"/>
                    <a:pt x="200" y="755"/>
                    <a:pt x="200" y="700"/>
                  </a:cubicBezTo>
                  <a:lnTo>
                    <a:pt x="200" y="300"/>
                  </a:lnTo>
                  <a:cubicBezTo>
                    <a:pt x="200" y="245"/>
                    <a:pt x="245" y="200"/>
                    <a:pt x="300" y="200"/>
                  </a:cubicBezTo>
                  <a:lnTo>
                    <a:pt x="700" y="200"/>
                  </a:lnTo>
                  <a:cubicBezTo>
                    <a:pt x="755" y="200"/>
                    <a:pt x="800" y="245"/>
                    <a:pt x="800" y="300"/>
                  </a:cubicBezTo>
                  <a:lnTo>
                    <a:pt x="800" y="7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48"/>
            <p:cNvSpPr>
              <a:spLocks noEditPoints="1"/>
            </p:cNvSpPr>
            <p:nvPr/>
          </p:nvSpPr>
          <p:spPr bwMode="auto">
            <a:xfrm>
              <a:off x="2028" y="-1111"/>
              <a:ext cx="56" cy="57"/>
            </a:xfrm>
            <a:custGeom>
              <a:avLst/>
              <a:gdLst>
                <a:gd name="T0" fmla="*/ 700 w 1000"/>
                <a:gd name="T1" fmla="*/ 0 h 1000"/>
                <a:gd name="T2" fmla="*/ 300 w 1000"/>
                <a:gd name="T3" fmla="*/ 0 h 1000"/>
                <a:gd name="T4" fmla="*/ 0 w 1000"/>
                <a:gd name="T5" fmla="*/ 300 h 1000"/>
                <a:gd name="T6" fmla="*/ 0 w 1000"/>
                <a:gd name="T7" fmla="*/ 700 h 1000"/>
                <a:gd name="T8" fmla="*/ 300 w 1000"/>
                <a:gd name="T9" fmla="*/ 1000 h 1000"/>
                <a:gd name="T10" fmla="*/ 700 w 1000"/>
                <a:gd name="T11" fmla="*/ 1000 h 1000"/>
                <a:gd name="T12" fmla="*/ 1000 w 1000"/>
                <a:gd name="T13" fmla="*/ 700 h 1000"/>
                <a:gd name="T14" fmla="*/ 1000 w 1000"/>
                <a:gd name="T15" fmla="*/ 300 h 1000"/>
                <a:gd name="T16" fmla="*/ 700 w 1000"/>
                <a:gd name="T17" fmla="*/ 0 h 1000"/>
                <a:gd name="T18" fmla="*/ 800 w 1000"/>
                <a:gd name="T19" fmla="*/ 700 h 1000"/>
                <a:gd name="T20" fmla="*/ 700 w 1000"/>
                <a:gd name="T21" fmla="*/ 800 h 1000"/>
                <a:gd name="T22" fmla="*/ 300 w 1000"/>
                <a:gd name="T23" fmla="*/ 800 h 1000"/>
                <a:gd name="T24" fmla="*/ 200 w 1000"/>
                <a:gd name="T25" fmla="*/ 700 h 1000"/>
                <a:gd name="T26" fmla="*/ 200 w 1000"/>
                <a:gd name="T27" fmla="*/ 300 h 1000"/>
                <a:gd name="T28" fmla="*/ 300 w 1000"/>
                <a:gd name="T29" fmla="*/ 200 h 1000"/>
                <a:gd name="T30" fmla="*/ 700 w 1000"/>
                <a:gd name="T31" fmla="*/ 200 h 1000"/>
                <a:gd name="T32" fmla="*/ 800 w 1000"/>
                <a:gd name="T33" fmla="*/ 300 h 1000"/>
                <a:gd name="T34" fmla="*/ 800 w 1000"/>
                <a:gd name="T35" fmla="*/ 70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0" h="1000">
                  <a:moveTo>
                    <a:pt x="700" y="0"/>
                  </a:moveTo>
                  <a:lnTo>
                    <a:pt x="300" y="0"/>
                  </a:lnTo>
                  <a:cubicBezTo>
                    <a:pt x="134" y="0"/>
                    <a:pt x="0" y="134"/>
                    <a:pt x="0" y="300"/>
                  </a:cubicBezTo>
                  <a:lnTo>
                    <a:pt x="0" y="700"/>
                  </a:lnTo>
                  <a:cubicBezTo>
                    <a:pt x="0" y="866"/>
                    <a:pt x="134" y="1000"/>
                    <a:pt x="300" y="1000"/>
                  </a:cubicBezTo>
                  <a:lnTo>
                    <a:pt x="700" y="1000"/>
                  </a:lnTo>
                  <a:cubicBezTo>
                    <a:pt x="866" y="1000"/>
                    <a:pt x="1000" y="866"/>
                    <a:pt x="1000" y="700"/>
                  </a:cubicBezTo>
                  <a:lnTo>
                    <a:pt x="1000" y="300"/>
                  </a:lnTo>
                  <a:cubicBezTo>
                    <a:pt x="1000" y="134"/>
                    <a:pt x="866" y="0"/>
                    <a:pt x="700" y="0"/>
                  </a:cubicBezTo>
                  <a:close/>
                  <a:moveTo>
                    <a:pt x="800" y="700"/>
                  </a:moveTo>
                  <a:cubicBezTo>
                    <a:pt x="800" y="755"/>
                    <a:pt x="755" y="800"/>
                    <a:pt x="700" y="800"/>
                  </a:cubicBezTo>
                  <a:lnTo>
                    <a:pt x="300" y="800"/>
                  </a:lnTo>
                  <a:cubicBezTo>
                    <a:pt x="245" y="800"/>
                    <a:pt x="200" y="755"/>
                    <a:pt x="200" y="700"/>
                  </a:cubicBezTo>
                  <a:lnTo>
                    <a:pt x="200" y="300"/>
                  </a:lnTo>
                  <a:cubicBezTo>
                    <a:pt x="200" y="245"/>
                    <a:pt x="245" y="200"/>
                    <a:pt x="300" y="200"/>
                  </a:cubicBezTo>
                  <a:lnTo>
                    <a:pt x="700" y="200"/>
                  </a:lnTo>
                  <a:cubicBezTo>
                    <a:pt x="755" y="200"/>
                    <a:pt x="800" y="245"/>
                    <a:pt x="800" y="300"/>
                  </a:cubicBezTo>
                  <a:lnTo>
                    <a:pt x="800" y="70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  <a:alpha val="39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49"/>
            <p:cNvSpPr>
              <a:spLocks noEditPoints="1"/>
            </p:cNvSpPr>
            <p:nvPr/>
          </p:nvSpPr>
          <p:spPr bwMode="auto">
            <a:xfrm>
              <a:off x="1960" y="-1043"/>
              <a:ext cx="56" cy="57"/>
            </a:xfrm>
            <a:custGeom>
              <a:avLst/>
              <a:gdLst>
                <a:gd name="T0" fmla="*/ 700 w 1000"/>
                <a:gd name="T1" fmla="*/ 0 h 1000"/>
                <a:gd name="T2" fmla="*/ 300 w 1000"/>
                <a:gd name="T3" fmla="*/ 0 h 1000"/>
                <a:gd name="T4" fmla="*/ 0 w 1000"/>
                <a:gd name="T5" fmla="*/ 300 h 1000"/>
                <a:gd name="T6" fmla="*/ 0 w 1000"/>
                <a:gd name="T7" fmla="*/ 700 h 1000"/>
                <a:gd name="T8" fmla="*/ 300 w 1000"/>
                <a:gd name="T9" fmla="*/ 1000 h 1000"/>
                <a:gd name="T10" fmla="*/ 700 w 1000"/>
                <a:gd name="T11" fmla="*/ 1000 h 1000"/>
                <a:gd name="T12" fmla="*/ 1000 w 1000"/>
                <a:gd name="T13" fmla="*/ 700 h 1000"/>
                <a:gd name="T14" fmla="*/ 1000 w 1000"/>
                <a:gd name="T15" fmla="*/ 300 h 1000"/>
                <a:gd name="T16" fmla="*/ 700 w 1000"/>
                <a:gd name="T17" fmla="*/ 0 h 1000"/>
                <a:gd name="T18" fmla="*/ 800 w 1000"/>
                <a:gd name="T19" fmla="*/ 700 h 1000"/>
                <a:gd name="T20" fmla="*/ 700 w 1000"/>
                <a:gd name="T21" fmla="*/ 800 h 1000"/>
                <a:gd name="T22" fmla="*/ 300 w 1000"/>
                <a:gd name="T23" fmla="*/ 800 h 1000"/>
                <a:gd name="T24" fmla="*/ 200 w 1000"/>
                <a:gd name="T25" fmla="*/ 700 h 1000"/>
                <a:gd name="T26" fmla="*/ 200 w 1000"/>
                <a:gd name="T27" fmla="*/ 300 h 1000"/>
                <a:gd name="T28" fmla="*/ 300 w 1000"/>
                <a:gd name="T29" fmla="*/ 200 h 1000"/>
                <a:gd name="T30" fmla="*/ 700 w 1000"/>
                <a:gd name="T31" fmla="*/ 200 h 1000"/>
                <a:gd name="T32" fmla="*/ 800 w 1000"/>
                <a:gd name="T33" fmla="*/ 300 h 1000"/>
                <a:gd name="T34" fmla="*/ 800 w 1000"/>
                <a:gd name="T35" fmla="*/ 70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0" h="1000">
                  <a:moveTo>
                    <a:pt x="700" y="0"/>
                  </a:moveTo>
                  <a:lnTo>
                    <a:pt x="300" y="0"/>
                  </a:lnTo>
                  <a:cubicBezTo>
                    <a:pt x="134" y="0"/>
                    <a:pt x="0" y="134"/>
                    <a:pt x="0" y="300"/>
                  </a:cubicBezTo>
                  <a:lnTo>
                    <a:pt x="0" y="700"/>
                  </a:lnTo>
                  <a:cubicBezTo>
                    <a:pt x="0" y="866"/>
                    <a:pt x="134" y="1000"/>
                    <a:pt x="300" y="1000"/>
                  </a:cubicBezTo>
                  <a:lnTo>
                    <a:pt x="700" y="1000"/>
                  </a:lnTo>
                  <a:cubicBezTo>
                    <a:pt x="866" y="1000"/>
                    <a:pt x="1000" y="866"/>
                    <a:pt x="1000" y="700"/>
                  </a:cubicBezTo>
                  <a:lnTo>
                    <a:pt x="1000" y="300"/>
                  </a:lnTo>
                  <a:cubicBezTo>
                    <a:pt x="1000" y="134"/>
                    <a:pt x="866" y="0"/>
                    <a:pt x="700" y="0"/>
                  </a:cubicBezTo>
                  <a:close/>
                  <a:moveTo>
                    <a:pt x="800" y="700"/>
                  </a:moveTo>
                  <a:cubicBezTo>
                    <a:pt x="800" y="755"/>
                    <a:pt x="755" y="800"/>
                    <a:pt x="700" y="800"/>
                  </a:cubicBezTo>
                  <a:lnTo>
                    <a:pt x="300" y="800"/>
                  </a:lnTo>
                  <a:cubicBezTo>
                    <a:pt x="245" y="800"/>
                    <a:pt x="200" y="755"/>
                    <a:pt x="200" y="700"/>
                  </a:cubicBezTo>
                  <a:lnTo>
                    <a:pt x="200" y="300"/>
                  </a:lnTo>
                  <a:cubicBezTo>
                    <a:pt x="200" y="245"/>
                    <a:pt x="245" y="200"/>
                    <a:pt x="300" y="200"/>
                  </a:cubicBezTo>
                  <a:lnTo>
                    <a:pt x="700" y="200"/>
                  </a:lnTo>
                  <a:cubicBezTo>
                    <a:pt x="755" y="200"/>
                    <a:pt x="800" y="245"/>
                    <a:pt x="800" y="300"/>
                  </a:cubicBezTo>
                  <a:lnTo>
                    <a:pt x="800" y="70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  <a:alpha val="39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50"/>
            <p:cNvSpPr>
              <a:spLocks noEditPoints="1"/>
            </p:cNvSpPr>
            <p:nvPr/>
          </p:nvSpPr>
          <p:spPr bwMode="auto">
            <a:xfrm>
              <a:off x="2028" y="-1043"/>
              <a:ext cx="56" cy="57"/>
            </a:xfrm>
            <a:custGeom>
              <a:avLst/>
              <a:gdLst>
                <a:gd name="T0" fmla="*/ 700 w 1000"/>
                <a:gd name="T1" fmla="*/ 0 h 1000"/>
                <a:gd name="T2" fmla="*/ 300 w 1000"/>
                <a:gd name="T3" fmla="*/ 0 h 1000"/>
                <a:gd name="T4" fmla="*/ 0 w 1000"/>
                <a:gd name="T5" fmla="*/ 300 h 1000"/>
                <a:gd name="T6" fmla="*/ 0 w 1000"/>
                <a:gd name="T7" fmla="*/ 700 h 1000"/>
                <a:gd name="T8" fmla="*/ 300 w 1000"/>
                <a:gd name="T9" fmla="*/ 1000 h 1000"/>
                <a:gd name="T10" fmla="*/ 700 w 1000"/>
                <a:gd name="T11" fmla="*/ 1000 h 1000"/>
                <a:gd name="T12" fmla="*/ 1000 w 1000"/>
                <a:gd name="T13" fmla="*/ 700 h 1000"/>
                <a:gd name="T14" fmla="*/ 1000 w 1000"/>
                <a:gd name="T15" fmla="*/ 300 h 1000"/>
                <a:gd name="T16" fmla="*/ 700 w 1000"/>
                <a:gd name="T17" fmla="*/ 0 h 1000"/>
                <a:gd name="T18" fmla="*/ 800 w 1000"/>
                <a:gd name="T19" fmla="*/ 700 h 1000"/>
                <a:gd name="T20" fmla="*/ 700 w 1000"/>
                <a:gd name="T21" fmla="*/ 800 h 1000"/>
                <a:gd name="T22" fmla="*/ 300 w 1000"/>
                <a:gd name="T23" fmla="*/ 800 h 1000"/>
                <a:gd name="T24" fmla="*/ 200 w 1000"/>
                <a:gd name="T25" fmla="*/ 700 h 1000"/>
                <a:gd name="T26" fmla="*/ 200 w 1000"/>
                <a:gd name="T27" fmla="*/ 300 h 1000"/>
                <a:gd name="T28" fmla="*/ 300 w 1000"/>
                <a:gd name="T29" fmla="*/ 200 h 1000"/>
                <a:gd name="T30" fmla="*/ 700 w 1000"/>
                <a:gd name="T31" fmla="*/ 200 h 1000"/>
                <a:gd name="T32" fmla="*/ 800 w 1000"/>
                <a:gd name="T33" fmla="*/ 300 h 1000"/>
                <a:gd name="T34" fmla="*/ 800 w 1000"/>
                <a:gd name="T35" fmla="*/ 70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0" h="1000">
                  <a:moveTo>
                    <a:pt x="700" y="0"/>
                  </a:moveTo>
                  <a:lnTo>
                    <a:pt x="300" y="0"/>
                  </a:lnTo>
                  <a:cubicBezTo>
                    <a:pt x="134" y="0"/>
                    <a:pt x="0" y="134"/>
                    <a:pt x="0" y="300"/>
                  </a:cubicBezTo>
                  <a:lnTo>
                    <a:pt x="0" y="700"/>
                  </a:lnTo>
                  <a:cubicBezTo>
                    <a:pt x="0" y="866"/>
                    <a:pt x="134" y="1000"/>
                    <a:pt x="300" y="1000"/>
                  </a:cubicBezTo>
                  <a:lnTo>
                    <a:pt x="700" y="1000"/>
                  </a:lnTo>
                  <a:cubicBezTo>
                    <a:pt x="866" y="1000"/>
                    <a:pt x="1000" y="866"/>
                    <a:pt x="1000" y="700"/>
                  </a:cubicBezTo>
                  <a:lnTo>
                    <a:pt x="1000" y="300"/>
                  </a:lnTo>
                  <a:cubicBezTo>
                    <a:pt x="1000" y="134"/>
                    <a:pt x="866" y="0"/>
                    <a:pt x="700" y="0"/>
                  </a:cubicBezTo>
                  <a:close/>
                  <a:moveTo>
                    <a:pt x="800" y="700"/>
                  </a:moveTo>
                  <a:cubicBezTo>
                    <a:pt x="800" y="755"/>
                    <a:pt x="755" y="800"/>
                    <a:pt x="700" y="800"/>
                  </a:cubicBezTo>
                  <a:lnTo>
                    <a:pt x="300" y="800"/>
                  </a:lnTo>
                  <a:cubicBezTo>
                    <a:pt x="245" y="800"/>
                    <a:pt x="200" y="755"/>
                    <a:pt x="200" y="700"/>
                  </a:cubicBezTo>
                  <a:lnTo>
                    <a:pt x="200" y="300"/>
                  </a:lnTo>
                  <a:cubicBezTo>
                    <a:pt x="200" y="245"/>
                    <a:pt x="245" y="200"/>
                    <a:pt x="300" y="200"/>
                  </a:cubicBezTo>
                  <a:lnTo>
                    <a:pt x="700" y="200"/>
                  </a:lnTo>
                  <a:cubicBezTo>
                    <a:pt x="755" y="200"/>
                    <a:pt x="800" y="245"/>
                    <a:pt x="800" y="300"/>
                  </a:cubicBezTo>
                  <a:lnTo>
                    <a:pt x="800" y="70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  <a:alpha val="39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51"/>
            <p:cNvSpPr>
              <a:spLocks/>
            </p:cNvSpPr>
            <p:nvPr/>
          </p:nvSpPr>
          <p:spPr bwMode="auto">
            <a:xfrm>
              <a:off x="1954" y="-1150"/>
              <a:ext cx="28" cy="28"/>
            </a:xfrm>
            <a:custGeom>
              <a:avLst/>
              <a:gdLst>
                <a:gd name="T0" fmla="*/ 400 w 500"/>
                <a:gd name="T1" fmla="*/ 0 h 500"/>
                <a:gd name="T2" fmla="*/ 100 w 500"/>
                <a:gd name="T3" fmla="*/ 0 h 500"/>
                <a:gd name="T4" fmla="*/ 0 w 500"/>
                <a:gd name="T5" fmla="*/ 100 h 500"/>
                <a:gd name="T6" fmla="*/ 0 w 500"/>
                <a:gd name="T7" fmla="*/ 400 h 500"/>
                <a:gd name="T8" fmla="*/ 100 w 500"/>
                <a:gd name="T9" fmla="*/ 500 h 500"/>
                <a:gd name="T10" fmla="*/ 200 w 500"/>
                <a:gd name="T11" fmla="*/ 400 h 500"/>
                <a:gd name="T12" fmla="*/ 200 w 500"/>
                <a:gd name="T13" fmla="*/ 200 h 500"/>
                <a:gd name="T14" fmla="*/ 400 w 500"/>
                <a:gd name="T15" fmla="*/ 200 h 500"/>
                <a:gd name="T16" fmla="*/ 500 w 500"/>
                <a:gd name="T17" fmla="*/ 100 h 500"/>
                <a:gd name="T18" fmla="*/ 400 w 500"/>
                <a:gd name="T19" fmla="*/ 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0" h="500">
                  <a:moveTo>
                    <a:pt x="400" y="0"/>
                  </a:move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lnTo>
                    <a:pt x="0" y="400"/>
                  </a:lnTo>
                  <a:cubicBezTo>
                    <a:pt x="0" y="455"/>
                    <a:pt x="45" y="500"/>
                    <a:pt x="100" y="500"/>
                  </a:cubicBezTo>
                  <a:cubicBezTo>
                    <a:pt x="155" y="500"/>
                    <a:pt x="200" y="455"/>
                    <a:pt x="200" y="400"/>
                  </a:cubicBezTo>
                  <a:lnTo>
                    <a:pt x="200" y="200"/>
                  </a:lnTo>
                  <a:lnTo>
                    <a:pt x="400" y="200"/>
                  </a:lnTo>
                  <a:cubicBezTo>
                    <a:pt x="455" y="200"/>
                    <a:pt x="500" y="155"/>
                    <a:pt x="500" y="100"/>
                  </a:cubicBezTo>
                  <a:cubicBezTo>
                    <a:pt x="500" y="45"/>
                    <a:pt x="455" y="0"/>
                    <a:pt x="4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52"/>
            <p:cNvSpPr>
              <a:spLocks/>
            </p:cNvSpPr>
            <p:nvPr/>
          </p:nvSpPr>
          <p:spPr bwMode="auto">
            <a:xfrm>
              <a:off x="1994" y="-1150"/>
              <a:ext cx="22" cy="11"/>
            </a:xfrm>
            <a:custGeom>
              <a:avLst/>
              <a:gdLst>
                <a:gd name="T0" fmla="*/ 300 w 400"/>
                <a:gd name="T1" fmla="*/ 0 h 200"/>
                <a:gd name="T2" fmla="*/ 100 w 400"/>
                <a:gd name="T3" fmla="*/ 0 h 200"/>
                <a:gd name="T4" fmla="*/ 0 w 400"/>
                <a:gd name="T5" fmla="*/ 100 h 200"/>
                <a:gd name="T6" fmla="*/ 100 w 400"/>
                <a:gd name="T7" fmla="*/ 200 h 200"/>
                <a:gd name="T8" fmla="*/ 300 w 400"/>
                <a:gd name="T9" fmla="*/ 200 h 200"/>
                <a:gd name="T10" fmla="*/ 400 w 400"/>
                <a:gd name="T11" fmla="*/ 100 h 200"/>
                <a:gd name="T12" fmla="*/ 300 w 400"/>
                <a:gd name="T13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0" h="200">
                  <a:moveTo>
                    <a:pt x="300" y="0"/>
                  </a:move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lnTo>
                    <a:pt x="300" y="200"/>
                  </a:lnTo>
                  <a:cubicBezTo>
                    <a:pt x="355" y="200"/>
                    <a:pt x="400" y="155"/>
                    <a:pt x="400" y="100"/>
                  </a:cubicBezTo>
                  <a:cubicBezTo>
                    <a:pt x="400" y="45"/>
                    <a:pt x="355" y="0"/>
                    <a:pt x="3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153"/>
            <p:cNvSpPr>
              <a:spLocks noChangeArrowheads="1"/>
            </p:cNvSpPr>
            <p:nvPr/>
          </p:nvSpPr>
          <p:spPr bwMode="auto">
            <a:xfrm>
              <a:off x="2050" y="-1196"/>
              <a:ext cx="12" cy="1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706505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rgbClr val="EAEAEA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7847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6" name="Diapositive think-cell" r:id="rId5" imgW="592" imgH="595" progId="TCLayout.ActiveDocument.1">
                  <p:embed/>
                </p:oleObj>
              </mc:Choice>
              <mc:Fallback>
                <p:oleObj name="Diapositive think-cell" r:id="rId5" imgW="592" imgH="595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1675359"/>
            <a:ext cx="12192000" cy="3465517"/>
          </a:xfrm>
          <a:prstGeom prst="rect">
            <a:avLst/>
          </a:prstGeom>
          <a:blipFill dpi="0" rotWithShape="1">
            <a:blip r:embed="rId7"/>
            <a:srcRect/>
            <a:tile tx="0" ty="0" sx="57000" sy="57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 rot="10800000">
            <a:off x="0" y="1675361"/>
            <a:ext cx="12192000" cy="3465515"/>
          </a:xfrm>
          <a:prstGeom prst="rect">
            <a:avLst/>
          </a:prstGeom>
          <a:gradFill>
            <a:gsLst>
              <a:gs pos="0">
                <a:srgbClr val="A136A0">
                  <a:alpha val="90000"/>
                </a:srgbClr>
              </a:gs>
              <a:gs pos="100000">
                <a:srgbClr val="7030A0">
                  <a:alpha val="89000"/>
                </a:srgb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2956240" y="206624"/>
            <a:ext cx="62795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A136A0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WHO ARE WE?</a:t>
            </a:r>
          </a:p>
        </p:txBody>
      </p:sp>
      <p:sp>
        <p:nvSpPr>
          <p:cNvPr id="20" name="Freeform 14"/>
          <p:cNvSpPr>
            <a:spLocks/>
          </p:cNvSpPr>
          <p:nvPr/>
        </p:nvSpPr>
        <p:spPr bwMode="auto">
          <a:xfrm>
            <a:off x="1238491" y="2184210"/>
            <a:ext cx="787402" cy="991381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>
            <a:gsLst>
              <a:gs pos="0">
                <a:srgbClr val="FEC232"/>
              </a:gs>
              <a:gs pos="100000">
                <a:srgbClr val="E57518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EC232"/>
              </a:solidFill>
              <a:latin typeface="Montserrat Black" panose="00000A00000000000000" pitchFamily="50" charset="0"/>
            </a:endParaRPr>
          </a:p>
        </p:txBody>
      </p:sp>
      <p:sp>
        <p:nvSpPr>
          <p:cNvPr id="21" name="Freeform 14"/>
          <p:cNvSpPr>
            <a:spLocks/>
          </p:cNvSpPr>
          <p:nvPr/>
        </p:nvSpPr>
        <p:spPr bwMode="auto">
          <a:xfrm>
            <a:off x="3475520" y="2184210"/>
            <a:ext cx="787402" cy="991381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>
            <a:gsLst>
              <a:gs pos="0">
                <a:srgbClr val="FEC232"/>
              </a:gs>
              <a:gs pos="100000">
                <a:srgbClr val="E57518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EC232"/>
              </a:solidFill>
              <a:latin typeface="Montserrat Black" panose="00000A00000000000000" pitchFamily="50" charset="0"/>
            </a:endParaRPr>
          </a:p>
        </p:txBody>
      </p:sp>
      <p:sp>
        <p:nvSpPr>
          <p:cNvPr id="22" name="Freeform 14"/>
          <p:cNvSpPr>
            <a:spLocks/>
          </p:cNvSpPr>
          <p:nvPr/>
        </p:nvSpPr>
        <p:spPr bwMode="auto">
          <a:xfrm>
            <a:off x="5712549" y="2184210"/>
            <a:ext cx="787402" cy="991381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>
            <a:gsLst>
              <a:gs pos="0">
                <a:srgbClr val="FEC232"/>
              </a:gs>
              <a:gs pos="100000">
                <a:srgbClr val="E57518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EC232"/>
              </a:solidFill>
              <a:latin typeface="Montserrat Black" panose="00000A00000000000000" pitchFamily="50" charset="0"/>
            </a:endParaRPr>
          </a:p>
        </p:txBody>
      </p:sp>
      <p:sp>
        <p:nvSpPr>
          <p:cNvPr id="23" name="Freeform 14"/>
          <p:cNvSpPr>
            <a:spLocks/>
          </p:cNvSpPr>
          <p:nvPr/>
        </p:nvSpPr>
        <p:spPr bwMode="auto">
          <a:xfrm>
            <a:off x="7949578" y="2218279"/>
            <a:ext cx="787402" cy="991381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>
            <a:gsLst>
              <a:gs pos="0">
                <a:srgbClr val="FEC232"/>
              </a:gs>
              <a:gs pos="100000">
                <a:srgbClr val="E57518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EC232"/>
              </a:solidFill>
              <a:latin typeface="Montserrat Black" panose="00000A00000000000000" pitchFamily="50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73596" y="3451390"/>
            <a:ext cx="211719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Developing and operating complex Technology Platforms</a:t>
            </a:r>
          </a:p>
        </p:txBody>
      </p:sp>
      <p:sp>
        <p:nvSpPr>
          <p:cNvPr id="26" name="Freeform 14"/>
          <p:cNvSpPr>
            <a:spLocks/>
          </p:cNvSpPr>
          <p:nvPr/>
        </p:nvSpPr>
        <p:spPr bwMode="auto">
          <a:xfrm>
            <a:off x="10186607" y="2218279"/>
            <a:ext cx="787402" cy="991381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>
            <a:gsLst>
              <a:gs pos="0">
                <a:srgbClr val="FEC232"/>
              </a:gs>
              <a:gs pos="100000">
                <a:srgbClr val="E57518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EC232"/>
              </a:solidFill>
              <a:latin typeface="Montserrat Black" panose="00000A00000000000000" pitchFamily="50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2810625" y="3451390"/>
            <a:ext cx="211719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Delivering of innovative solution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047654" y="3451390"/>
            <a:ext cx="211719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Running successful national and international companie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284683" y="3451390"/>
            <a:ext cx="211719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Operating within all vertical markets with a requirement for Health and Safety</a:t>
            </a:r>
          </a:p>
        </p:txBody>
      </p:sp>
      <p:sp>
        <p:nvSpPr>
          <p:cNvPr id="33" name="Rectangle 32"/>
          <p:cNvSpPr/>
          <p:nvPr/>
        </p:nvSpPr>
        <p:spPr>
          <a:xfrm>
            <a:off x="9521712" y="3475646"/>
            <a:ext cx="211719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Health and Safety Management</a:t>
            </a:r>
          </a:p>
        </p:txBody>
      </p:sp>
      <p:sp>
        <p:nvSpPr>
          <p:cNvPr id="18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rgbClr val="A136A0"/>
                </a:solidFill>
                <a:latin typeface="Lato Medium"/>
                <a:ea typeface="Lato Medium"/>
                <a:cs typeface="Lato Medium"/>
              </a:rPr>
              <a:t>be-safetech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.c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</a:t>
            </a:r>
            <a:r>
              <a:rPr lang="en-US" b="1" dirty="0">
                <a:solidFill>
                  <a:srgbClr val="FEC232"/>
                </a:solidFill>
                <a:latin typeface="Montserrat"/>
              </a:rPr>
              <a:t>| </a:t>
            </a:r>
            <a:fld id="{DABD2AA5-CABB-4467-8A69-C511B00C377E}" type="slidenum">
              <a:rPr lang="en-US" b="1" dirty="0" smtClean="0">
                <a:solidFill>
                  <a:srgbClr val="A136A0"/>
                </a:solidFill>
                <a:latin typeface="Montserrat"/>
              </a:rPr>
              <a:pPr algn="l" rtl="1"/>
              <a:t>4</a:t>
            </a:fld>
            <a:endParaRPr lang="en-US" b="1" dirty="0">
              <a:solidFill>
                <a:srgbClr val="A136A0"/>
              </a:solidFill>
              <a:latin typeface="Montserrat"/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982373"/>
            <a:ext cx="1174243" cy="542252"/>
          </a:xfrm>
          <a:prstGeom prst="rect">
            <a:avLst/>
          </a:prstGeom>
        </p:spPr>
      </p:pic>
      <p:grpSp>
        <p:nvGrpSpPr>
          <p:cNvPr id="11" name="Group 17"/>
          <p:cNvGrpSpPr>
            <a:grpSpLocks noChangeAspect="1"/>
          </p:cNvGrpSpPr>
          <p:nvPr/>
        </p:nvGrpSpPr>
        <p:grpSpPr bwMode="auto">
          <a:xfrm>
            <a:off x="8128510" y="2457107"/>
            <a:ext cx="429537" cy="429538"/>
            <a:chOff x="1220" y="-803"/>
            <a:chExt cx="533" cy="533"/>
          </a:xfrm>
          <a:gradFill>
            <a:gsLst>
              <a:gs pos="0">
                <a:srgbClr val="A136A0">
                  <a:alpha val="90000"/>
                </a:srgbClr>
              </a:gs>
              <a:gs pos="100000">
                <a:srgbClr val="7030A0">
                  <a:alpha val="89000"/>
                </a:srgbClr>
              </a:gs>
            </a:gsLst>
            <a:lin ang="12600000" scaled="0"/>
          </a:gradFill>
        </p:grpSpPr>
        <p:sp>
          <p:nvSpPr>
            <p:cNvPr id="15" name="Freeform 19"/>
            <p:cNvSpPr>
              <a:spLocks noEditPoints="1"/>
            </p:cNvSpPr>
            <p:nvPr/>
          </p:nvSpPr>
          <p:spPr bwMode="auto">
            <a:xfrm>
              <a:off x="1220" y="-803"/>
              <a:ext cx="533" cy="533"/>
            </a:xfrm>
            <a:custGeom>
              <a:avLst/>
              <a:gdLst>
                <a:gd name="T0" fmla="*/ 2127 w 4253"/>
                <a:gd name="T1" fmla="*/ 0 h 4253"/>
                <a:gd name="T2" fmla="*/ 0 w 4253"/>
                <a:gd name="T3" fmla="*/ 2127 h 4253"/>
                <a:gd name="T4" fmla="*/ 2127 w 4253"/>
                <a:gd name="T5" fmla="*/ 4253 h 4253"/>
                <a:gd name="T6" fmla="*/ 4253 w 4253"/>
                <a:gd name="T7" fmla="*/ 2127 h 4253"/>
                <a:gd name="T8" fmla="*/ 2127 w 4253"/>
                <a:gd name="T9" fmla="*/ 0 h 4253"/>
                <a:gd name="T10" fmla="*/ 2127 w 4253"/>
                <a:gd name="T11" fmla="*/ 3753 h 4253"/>
                <a:gd name="T12" fmla="*/ 501 w 4253"/>
                <a:gd name="T13" fmla="*/ 2127 h 4253"/>
                <a:gd name="T14" fmla="*/ 2127 w 4253"/>
                <a:gd name="T15" fmla="*/ 501 h 4253"/>
                <a:gd name="T16" fmla="*/ 3752 w 4253"/>
                <a:gd name="T17" fmla="*/ 2127 h 4253"/>
                <a:gd name="T18" fmla="*/ 2127 w 4253"/>
                <a:gd name="T19" fmla="*/ 3753 h 4253"/>
                <a:gd name="T20" fmla="*/ 2127 w 4253"/>
                <a:gd name="T21" fmla="*/ 3753 h 4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53" h="4253">
                  <a:moveTo>
                    <a:pt x="2127" y="0"/>
                  </a:moveTo>
                  <a:cubicBezTo>
                    <a:pt x="954" y="0"/>
                    <a:pt x="0" y="954"/>
                    <a:pt x="0" y="2127"/>
                  </a:cubicBezTo>
                  <a:cubicBezTo>
                    <a:pt x="0" y="3299"/>
                    <a:pt x="954" y="4253"/>
                    <a:pt x="2127" y="4253"/>
                  </a:cubicBezTo>
                  <a:cubicBezTo>
                    <a:pt x="3299" y="4253"/>
                    <a:pt x="4253" y="3299"/>
                    <a:pt x="4253" y="2127"/>
                  </a:cubicBezTo>
                  <a:cubicBezTo>
                    <a:pt x="4253" y="954"/>
                    <a:pt x="3299" y="0"/>
                    <a:pt x="2127" y="0"/>
                  </a:cubicBezTo>
                  <a:close/>
                  <a:moveTo>
                    <a:pt x="2127" y="3753"/>
                  </a:moveTo>
                  <a:cubicBezTo>
                    <a:pt x="1230" y="3753"/>
                    <a:pt x="501" y="3023"/>
                    <a:pt x="501" y="2127"/>
                  </a:cubicBezTo>
                  <a:cubicBezTo>
                    <a:pt x="501" y="1230"/>
                    <a:pt x="1230" y="501"/>
                    <a:pt x="2127" y="501"/>
                  </a:cubicBezTo>
                  <a:cubicBezTo>
                    <a:pt x="3023" y="501"/>
                    <a:pt x="3752" y="1230"/>
                    <a:pt x="3752" y="2127"/>
                  </a:cubicBezTo>
                  <a:cubicBezTo>
                    <a:pt x="3752" y="3023"/>
                    <a:pt x="3023" y="3753"/>
                    <a:pt x="2127" y="3753"/>
                  </a:cubicBezTo>
                  <a:close/>
                  <a:moveTo>
                    <a:pt x="2127" y="3753"/>
                  </a:move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0"/>
            <p:cNvSpPr>
              <a:spLocks noEditPoints="1"/>
            </p:cNvSpPr>
            <p:nvPr/>
          </p:nvSpPr>
          <p:spPr bwMode="auto">
            <a:xfrm>
              <a:off x="1349" y="-632"/>
              <a:ext cx="271" cy="212"/>
            </a:xfrm>
            <a:custGeom>
              <a:avLst/>
              <a:gdLst>
                <a:gd name="T0" fmla="*/ 1708 w 2160"/>
                <a:gd name="T1" fmla="*/ 98 h 1690"/>
                <a:gd name="T2" fmla="*/ 720 w 2160"/>
                <a:gd name="T3" fmla="*/ 1085 h 1690"/>
                <a:gd name="T4" fmla="*/ 452 w 2160"/>
                <a:gd name="T5" fmla="*/ 817 h 1690"/>
                <a:gd name="T6" fmla="*/ 98 w 2160"/>
                <a:gd name="T7" fmla="*/ 817 h 1690"/>
                <a:gd name="T8" fmla="*/ 98 w 2160"/>
                <a:gd name="T9" fmla="*/ 1171 h 1690"/>
                <a:gd name="T10" fmla="*/ 543 w 2160"/>
                <a:gd name="T11" fmla="*/ 1616 h 1690"/>
                <a:gd name="T12" fmla="*/ 720 w 2160"/>
                <a:gd name="T13" fmla="*/ 1690 h 1690"/>
                <a:gd name="T14" fmla="*/ 897 w 2160"/>
                <a:gd name="T15" fmla="*/ 1616 h 1690"/>
                <a:gd name="T16" fmla="*/ 2062 w 2160"/>
                <a:gd name="T17" fmla="*/ 452 h 1690"/>
                <a:gd name="T18" fmla="*/ 2062 w 2160"/>
                <a:gd name="T19" fmla="*/ 98 h 1690"/>
                <a:gd name="T20" fmla="*/ 1708 w 2160"/>
                <a:gd name="T21" fmla="*/ 98 h 1690"/>
                <a:gd name="T22" fmla="*/ 1708 w 2160"/>
                <a:gd name="T23" fmla="*/ 98 h 1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60" h="1690">
                  <a:moveTo>
                    <a:pt x="1708" y="98"/>
                  </a:moveTo>
                  <a:lnTo>
                    <a:pt x="720" y="1085"/>
                  </a:lnTo>
                  <a:lnTo>
                    <a:pt x="452" y="817"/>
                  </a:lnTo>
                  <a:cubicBezTo>
                    <a:pt x="354" y="719"/>
                    <a:pt x="196" y="719"/>
                    <a:pt x="98" y="817"/>
                  </a:cubicBezTo>
                  <a:cubicBezTo>
                    <a:pt x="0" y="915"/>
                    <a:pt x="0" y="1074"/>
                    <a:pt x="98" y="1171"/>
                  </a:cubicBezTo>
                  <a:lnTo>
                    <a:pt x="543" y="1616"/>
                  </a:lnTo>
                  <a:cubicBezTo>
                    <a:pt x="592" y="1665"/>
                    <a:pt x="656" y="1690"/>
                    <a:pt x="720" y="1690"/>
                  </a:cubicBezTo>
                  <a:cubicBezTo>
                    <a:pt x="784" y="1690"/>
                    <a:pt x="848" y="1665"/>
                    <a:pt x="897" y="1616"/>
                  </a:cubicBezTo>
                  <a:lnTo>
                    <a:pt x="2062" y="452"/>
                  </a:lnTo>
                  <a:cubicBezTo>
                    <a:pt x="2160" y="354"/>
                    <a:pt x="2160" y="195"/>
                    <a:pt x="2062" y="98"/>
                  </a:cubicBezTo>
                  <a:cubicBezTo>
                    <a:pt x="1964" y="0"/>
                    <a:pt x="1806" y="0"/>
                    <a:pt x="1708" y="98"/>
                  </a:cubicBezTo>
                  <a:close/>
                  <a:moveTo>
                    <a:pt x="1708" y="98"/>
                  </a:move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e 67"/>
          <p:cNvGrpSpPr/>
          <p:nvPr/>
        </p:nvGrpSpPr>
        <p:grpSpPr>
          <a:xfrm>
            <a:off x="3560863" y="2366956"/>
            <a:ext cx="610917" cy="609841"/>
            <a:chOff x="5813422" y="-1625600"/>
            <a:chExt cx="901700" cy="900112"/>
          </a:xfrm>
          <a:gradFill>
            <a:gsLst>
              <a:gs pos="0">
                <a:srgbClr val="A136A0">
                  <a:alpha val="90000"/>
                </a:srgbClr>
              </a:gs>
              <a:gs pos="100000">
                <a:srgbClr val="7030A0">
                  <a:alpha val="89000"/>
                </a:srgbClr>
              </a:gs>
            </a:gsLst>
            <a:lin ang="12600000" scaled="0"/>
          </a:gradFill>
        </p:grpSpPr>
        <p:sp>
          <p:nvSpPr>
            <p:cNvPr id="27" name="Freeform 24"/>
            <p:cNvSpPr>
              <a:spLocks noEditPoints="1"/>
            </p:cNvSpPr>
            <p:nvPr/>
          </p:nvSpPr>
          <p:spPr bwMode="auto">
            <a:xfrm>
              <a:off x="5813422" y="-1622425"/>
              <a:ext cx="901700" cy="896937"/>
            </a:xfrm>
            <a:custGeom>
              <a:avLst/>
              <a:gdLst>
                <a:gd name="T0" fmla="*/ 5552 w 6033"/>
                <a:gd name="T1" fmla="*/ 1508 h 6007"/>
                <a:gd name="T2" fmla="*/ 5840 w 6033"/>
                <a:gd name="T3" fmla="*/ 953 h 6007"/>
                <a:gd name="T4" fmla="*/ 4886 w 6033"/>
                <a:gd name="T5" fmla="*/ 670 h 6007"/>
                <a:gd name="T6" fmla="*/ 4837 w 6033"/>
                <a:gd name="T7" fmla="*/ 93 h 6007"/>
                <a:gd name="T8" fmla="*/ 4075 w 6033"/>
                <a:gd name="T9" fmla="*/ 482 h 6007"/>
                <a:gd name="T10" fmla="*/ 3520 w 6033"/>
                <a:gd name="T11" fmla="*/ 193 h 6007"/>
                <a:gd name="T12" fmla="*/ 1130 w 6033"/>
                <a:gd name="T13" fmla="*/ 2207 h 6007"/>
                <a:gd name="T14" fmla="*/ 656 w 6033"/>
                <a:gd name="T15" fmla="*/ 2424 h 6007"/>
                <a:gd name="T16" fmla="*/ 407 w 6033"/>
                <a:gd name="T17" fmla="*/ 3140 h 6007"/>
                <a:gd name="T18" fmla="*/ 79 w 6033"/>
                <a:gd name="T19" fmla="*/ 3805 h 6007"/>
                <a:gd name="T20" fmla="*/ 530 w 6033"/>
                <a:gd name="T21" fmla="*/ 4577 h 6007"/>
                <a:gd name="T22" fmla="*/ 1100 w 6033"/>
                <a:gd name="T23" fmla="*/ 4807 h 6007"/>
                <a:gd name="T24" fmla="*/ 1944 w 6033"/>
                <a:gd name="T25" fmla="*/ 4589 h 6007"/>
                <a:gd name="T26" fmla="*/ 2426 w 6033"/>
                <a:gd name="T27" fmla="*/ 5051 h 6007"/>
                <a:gd name="T28" fmla="*/ 3626 w 6033"/>
                <a:gd name="T29" fmla="*/ 5607 h 6007"/>
                <a:gd name="T30" fmla="*/ 4058 w 6033"/>
                <a:gd name="T31" fmla="*/ 3903 h 6007"/>
                <a:gd name="T32" fmla="*/ 3626 w 6033"/>
                <a:gd name="T33" fmla="*/ 4311 h 6007"/>
                <a:gd name="T34" fmla="*/ 2426 w 6033"/>
                <a:gd name="T35" fmla="*/ 4707 h 6007"/>
                <a:gd name="T36" fmla="*/ 3005 w 6033"/>
                <a:gd name="T37" fmla="*/ 608 h 6007"/>
                <a:gd name="T38" fmla="*/ 3262 w 6033"/>
                <a:gd name="T39" fmla="*/ 1119 h 6007"/>
                <a:gd name="T40" fmla="*/ 2660 w 6033"/>
                <a:gd name="T41" fmla="*/ 1196 h 6007"/>
                <a:gd name="T42" fmla="*/ 3049 w 6033"/>
                <a:gd name="T43" fmla="*/ 1959 h 6007"/>
                <a:gd name="T44" fmla="*/ 2760 w 6033"/>
                <a:gd name="T45" fmla="*/ 2513 h 6007"/>
                <a:gd name="T46" fmla="*/ 3715 w 6033"/>
                <a:gd name="T47" fmla="*/ 2798 h 6007"/>
                <a:gd name="T48" fmla="*/ 3763 w 6033"/>
                <a:gd name="T49" fmla="*/ 3374 h 6007"/>
                <a:gd name="T50" fmla="*/ 4525 w 6033"/>
                <a:gd name="T51" fmla="*/ 2985 h 6007"/>
                <a:gd name="T52" fmla="*/ 5080 w 6033"/>
                <a:gd name="T53" fmla="*/ 3273 h 6007"/>
                <a:gd name="T54" fmla="*/ 5339 w 6033"/>
                <a:gd name="T55" fmla="*/ 2348 h 6007"/>
                <a:gd name="T56" fmla="*/ 5941 w 6033"/>
                <a:gd name="T57" fmla="*/ 2271 h 6007"/>
                <a:gd name="T58" fmla="*/ 3426 w 6033"/>
                <a:gd name="T59" fmla="*/ 5107 h 6007"/>
                <a:gd name="T60" fmla="*/ 2626 w 6033"/>
                <a:gd name="T61" fmla="*/ 5507 h 6007"/>
                <a:gd name="T62" fmla="*/ 2826 w 6033"/>
                <a:gd name="T63" fmla="*/ 5807 h 6007"/>
                <a:gd name="T64" fmla="*/ 2001 w 6033"/>
                <a:gd name="T65" fmla="*/ 3907 h 6007"/>
                <a:gd name="T66" fmla="*/ 1502 w 6033"/>
                <a:gd name="T67" fmla="*/ 4285 h 6007"/>
                <a:gd name="T68" fmla="*/ 1129 w 6033"/>
                <a:gd name="T69" fmla="*/ 4357 h 6007"/>
                <a:gd name="T70" fmla="*/ 430 w 6033"/>
                <a:gd name="T71" fmla="*/ 4195 h 6007"/>
                <a:gd name="T72" fmla="*/ 200 w 6033"/>
                <a:gd name="T73" fmla="*/ 3626 h 6007"/>
                <a:gd name="T74" fmla="*/ 573 w 6033"/>
                <a:gd name="T75" fmla="*/ 3027 h 6007"/>
                <a:gd name="T76" fmla="*/ 1098 w 6033"/>
                <a:gd name="T77" fmla="*/ 2729 h 6007"/>
                <a:gd name="T78" fmla="*/ 701 w 6033"/>
                <a:gd name="T79" fmla="*/ 3579 h 6007"/>
                <a:gd name="T80" fmla="*/ 1164 w 6033"/>
                <a:gd name="T81" fmla="*/ 3882 h 6007"/>
                <a:gd name="T82" fmla="*/ 1675 w 6033"/>
                <a:gd name="T83" fmla="*/ 3641 h 6007"/>
                <a:gd name="T84" fmla="*/ 5184 w 6033"/>
                <a:gd name="T85" fmla="*/ 2579 h 6007"/>
                <a:gd name="T86" fmla="*/ 4444 w 6033"/>
                <a:gd name="T87" fmla="*/ 2759 h 6007"/>
                <a:gd name="T88" fmla="*/ 3932 w 6033"/>
                <a:gd name="T89" fmla="*/ 2900 h 6007"/>
                <a:gd name="T90" fmla="*/ 2981 w 6033"/>
                <a:gd name="T91" fmla="*/ 2473 h 6007"/>
                <a:gd name="T92" fmla="*/ 2787 w 6033"/>
                <a:gd name="T93" fmla="*/ 1719 h 6007"/>
                <a:gd name="T94" fmla="*/ 3416 w 6033"/>
                <a:gd name="T95" fmla="*/ 888 h 6007"/>
                <a:gd name="T96" fmla="*/ 4156 w 6033"/>
                <a:gd name="T97" fmla="*/ 707 h 6007"/>
                <a:gd name="T98" fmla="*/ 4669 w 6033"/>
                <a:gd name="T99" fmla="*/ 566 h 6007"/>
                <a:gd name="T100" fmla="*/ 5620 w 6033"/>
                <a:gd name="T101" fmla="*/ 993 h 6007"/>
                <a:gd name="T102" fmla="*/ 5813 w 6033"/>
                <a:gd name="T103" fmla="*/ 1747 h 6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033" h="6007">
                  <a:moveTo>
                    <a:pt x="5941" y="1564"/>
                  </a:moveTo>
                  <a:lnTo>
                    <a:pt x="5941" y="1564"/>
                  </a:lnTo>
                  <a:lnTo>
                    <a:pt x="5941" y="1563"/>
                  </a:lnTo>
                  <a:lnTo>
                    <a:pt x="5552" y="1508"/>
                  </a:lnTo>
                  <a:cubicBezTo>
                    <a:pt x="5497" y="1500"/>
                    <a:pt x="5459" y="1449"/>
                    <a:pt x="5467" y="1395"/>
                  </a:cubicBezTo>
                  <a:cubicBezTo>
                    <a:pt x="5470" y="1368"/>
                    <a:pt x="5484" y="1345"/>
                    <a:pt x="5506" y="1329"/>
                  </a:cubicBezTo>
                  <a:lnTo>
                    <a:pt x="5820" y="1093"/>
                  </a:lnTo>
                  <a:cubicBezTo>
                    <a:pt x="5864" y="1060"/>
                    <a:pt x="5873" y="997"/>
                    <a:pt x="5840" y="953"/>
                  </a:cubicBezTo>
                  <a:lnTo>
                    <a:pt x="5480" y="473"/>
                  </a:lnTo>
                  <a:cubicBezTo>
                    <a:pt x="5447" y="429"/>
                    <a:pt x="5384" y="420"/>
                    <a:pt x="5340" y="453"/>
                  </a:cubicBezTo>
                  <a:lnTo>
                    <a:pt x="5026" y="689"/>
                  </a:lnTo>
                  <a:cubicBezTo>
                    <a:pt x="4982" y="722"/>
                    <a:pt x="4919" y="714"/>
                    <a:pt x="4886" y="670"/>
                  </a:cubicBezTo>
                  <a:cubicBezTo>
                    <a:pt x="4869" y="648"/>
                    <a:pt x="4863" y="621"/>
                    <a:pt x="4866" y="595"/>
                  </a:cubicBezTo>
                  <a:lnTo>
                    <a:pt x="4922" y="206"/>
                  </a:lnTo>
                  <a:cubicBezTo>
                    <a:pt x="4930" y="151"/>
                    <a:pt x="4892" y="100"/>
                    <a:pt x="4837" y="93"/>
                  </a:cubicBezTo>
                  <a:cubicBezTo>
                    <a:pt x="4837" y="93"/>
                    <a:pt x="4837" y="93"/>
                    <a:pt x="4837" y="93"/>
                  </a:cubicBezTo>
                  <a:lnTo>
                    <a:pt x="4244" y="8"/>
                  </a:lnTo>
                  <a:cubicBezTo>
                    <a:pt x="4189" y="0"/>
                    <a:pt x="4138" y="38"/>
                    <a:pt x="4130" y="93"/>
                  </a:cubicBezTo>
                  <a:lnTo>
                    <a:pt x="4130" y="93"/>
                  </a:lnTo>
                  <a:lnTo>
                    <a:pt x="4075" y="482"/>
                  </a:lnTo>
                  <a:cubicBezTo>
                    <a:pt x="4067" y="536"/>
                    <a:pt x="4016" y="574"/>
                    <a:pt x="3962" y="566"/>
                  </a:cubicBezTo>
                  <a:cubicBezTo>
                    <a:pt x="3935" y="563"/>
                    <a:pt x="3912" y="549"/>
                    <a:pt x="3896" y="527"/>
                  </a:cubicBezTo>
                  <a:lnTo>
                    <a:pt x="3660" y="213"/>
                  </a:lnTo>
                  <a:cubicBezTo>
                    <a:pt x="3627" y="169"/>
                    <a:pt x="3564" y="160"/>
                    <a:pt x="3520" y="193"/>
                  </a:cubicBezTo>
                  <a:lnTo>
                    <a:pt x="3220" y="419"/>
                  </a:lnTo>
                  <a:cubicBezTo>
                    <a:pt x="3084" y="404"/>
                    <a:pt x="2946" y="404"/>
                    <a:pt x="2811" y="419"/>
                  </a:cubicBezTo>
                  <a:cubicBezTo>
                    <a:pt x="1920" y="520"/>
                    <a:pt x="1222" y="1230"/>
                    <a:pt x="1135" y="2122"/>
                  </a:cubicBezTo>
                  <a:cubicBezTo>
                    <a:pt x="1133" y="2151"/>
                    <a:pt x="1132" y="2179"/>
                    <a:pt x="1130" y="2207"/>
                  </a:cubicBezTo>
                  <a:lnTo>
                    <a:pt x="1100" y="2207"/>
                  </a:lnTo>
                  <a:cubicBezTo>
                    <a:pt x="1053" y="2207"/>
                    <a:pt x="1012" y="2240"/>
                    <a:pt x="1002" y="2287"/>
                  </a:cubicBezTo>
                  <a:lnTo>
                    <a:pt x="933" y="2615"/>
                  </a:lnTo>
                  <a:lnTo>
                    <a:pt x="656" y="2424"/>
                  </a:lnTo>
                  <a:cubicBezTo>
                    <a:pt x="617" y="2397"/>
                    <a:pt x="563" y="2402"/>
                    <a:pt x="529" y="2436"/>
                  </a:cubicBezTo>
                  <a:lnTo>
                    <a:pt x="229" y="2736"/>
                  </a:lnTo>
                  <a:cubicBezTo>
                    <a:pt x="195" y="2770"/>
                    <a:pt x="190" y="2824"/>
                    <a:pt x="217" y="2863"/>
                  </a:cubicBezTo>
                  <a:lnTo>
                    <a:pt x="407" y="3140"/>
                  </a:lnTo>
                  <a:lnTo>
                    <a:pt x="79" y="3209"/>
                  </a:lnTo>
                  <a:cubicBezTo>
                    <a:pt x="33" y="3219"/>
                    <a:pt x="0" y="3260"/>
                    <a:pt x="0" y="3307"/>
                  </a:cubicBezTo>
                  <a:lnTo>
                    <a:pt x="0" y="3707"/>
                  </a:lnTo>
                  <a:cubicBezTo>
                    <a:pt x="0" y="3754"/>
                    <a:pt x="33" y="3795"/>
                    <a:pt x="79" y="3805"/>
                  </a:cubicBezTo>
                  <a:lnTo>
                    <a:pt x="408" y="3874"/>
                  </a:lnTo>
                  <a:lnTo>
                    <a:pt x="218" y="4150"/>
                  </a:lnTo>
                  <a:cubicBezTo>
                    <a:pt x="191" y="4190"/>
                    <a:pt x="196" y="4243"/>
                    <a:pt x="230" y="4277"/>
                  </a:cubicBezTo>
                  <a:lnTo>
                    <a:pt x="530" y="4577"/>
                  </a:lnTo>
                  <a:cubicBezTo>
                    <a:pt x="564" y="4612"/>
                    <a:pt x="617" y="4616"/>
                    <a:pt x="657" y="4589"/>
                  </a:cubicBezTo>
                  <a:lnTo>
                    <a:pt x="933" y="4399"/>
                  </a:lnTo>
                  <a:lnTo>
                    <a:pt x="1003" y="4727"/>
                  </a:lnTo>
                  <a:cubicBezTo>
                    <a:pt x="1012" y="4774"/>
                    <a:pt x="1053" y="4807"/>
                    <a:pt x="1100" y="4807"/>
                  </a:cubicBezTo>
                  <a:lnTo>
                    <a:pt x="1500" y="4807"/>
                  </a:lnTo>
                  <a:cubicBezTo>
                    <a:pt x="1548" y="4807"/>
                    <a:pt x="1589" y="4774"/>
                    <a:pt x="1598" y="4728"/>
                  </a:cubicBezTo>
                  <a:lnTo>
                    <a:pt x="1667" y="4399"/>
                  </a:lnTo>
                  <a:lnTo>
                    <a:pt x="1944" y="4589"/>
                  </a:lnTo>
                  <a:cubicBezTo>
                    <a:pt x="1983" y="4616"/>
                    <a:pt x="2037" y="4612"/>
                    <a:pt x="2071" y="4578"/>
                  </a:cubicBezTo>
                  <a:lnTo>
                    <a:pt x="2226" y="4422"/>
                  </a:lnTo>
                  <a:lnTo>
                    <a:pt x="2226" y="4707"/>
                  </a:lnTo>
                  <a:cubicBezTo>
                    <a:pt x="2227" y="4849"/>
                    <a:pt x="2303" y="4980"/>
                    <a:pt x="2426" y="5051"/>
                  </a:cubicBezTo>
                  <a:lnTo>
                    <a:pt x="2426" y="5607"/>
                  </a:lnTo>
                  <a:cubicBezTo>
                    <a:pt x="2426" y="5828"/>
                    <a:pt x="2605" y="6007"/>
                    <a:pt x="2826" y="6007"/>
                  </a:cubicBezTo>
                  <a:lnTo>
                    <a:pt x="3226" y="6007"/>
                  </a:lnTo>
                  <a:cubicBezTo>
                    <a:pt x="3447" y="6007"/>
                    <a:pt x="3626" y="5828"/>
                    <a:pt x="3626" y="5607"/>
                  </a:cubicBezTo>
                  <a:lnTo>
                    <a:pt x="3626" y="5051"/>
                  </a:lnTo>
                  <a:cubicBezTo>
                    <a:pt x="3750" y="4980"/>
                    <a:pt x="3826" y="4849"/>
                    <a:pt x="3826" y="4707"/>
                  </a:cubicBezTo>
                  <a:lnTo>
                    <a:pt x="3826" y="4311"/>
                  </a:lnTo>
                  <a:cubicBezTo>
                    <a:pt x="3829" y="4144"/>
                    <a:pt x="3916" y="3991"/>
                    <a:pt x="4058" y="3903"/>
                  </a:cubicBezTo>
                  <a:cubicBezTo>
                    <a:pt x="4141" y="3849"/>
                    <a:pt x="4219" y="3789"/>
                    <a:pt x="4293" y="3723"/>
                  </a:cubicBezTo>
                  <a:lnTo>
                    <a:pt x="4160" y="3574"/>
                  </a:lnTo>
                  <a:cubicBezTo>
                    <a:pt x="4094" y="3633"/>
                    <a:pt x="4023" y="3687"/>
                    <a:pt x="3949" y="3735"/>
                  </a:cubicBezTo>
                  <a:cubicBezTo>
                    <a:pt x="3750" y="3859"/>
                    <a:pt x="3629" y="4077"/>
                    <a:pt x="3626" y="4311"/>
                  </a:cubicBezTo>
                  <a:lnTo>
                    <a:pt x="3626" y="4707"/>
                  </a:lnTo>
                  <a:cubicBezTo>
                    <a:pt x="3626" y="4817"/>
                    <a:pt x="3537" y="4907"/>
                    <a:pt x="3426" y="4907"/>
                  </a:cubicBezTo>
                  <a:lnTo>
                    <a:pt x="2626" y="4907"/>
                  </a:lnTo>
                  <a:cubicBezTo>
                    <a:pt x="2516" y="4907"/>
                    <a:pt x="2426" y="4817"/>
                    <a:pt x="2426" y="4707"/>
                  </a:cubicBezTo>
                  <a:lnTo>
                    <a:pt x="2426" y="4303"/>
                  </a:lnTo>
                  <a:cubicBezTo>
                    <a:pt x="2424" y="4073"/>
                    <a:pt x="2304" y="3860"/>
                    <a:pt x="2109" y="3738"/>
                  </a:cubicBezTo>
                  <a:cubicBezTo>
                    <a:pt x="1317" y="3240"/>
                    <a:pt x="1078" y="2194"/>
                    <a:pt x="1576" y="1401"/>
                  </a:cubicBezTo>
                  <a:cubicBezTo>
                    <a:pt x="1885" y="910"/>
                    <a:pt x="2424" y="610"/>
                    <a:pt x="3005" y="608"/>
                  </a:cubicBezTo>
                  <a:cubicBezTo>
                    <a:pt x="3003" y="612"/>
                    <a:pt x="3002" y="615"/>
                    <a:pt x="3001" y="619"/>
                  </a:cubicBezTo>
                  <a:cubicBezTo>
                    <a:pt x="2997" y="645"/>
                    <a:pt x="3004" y="672"/>
                    <a:pt x="3020" y="693"/>
                  </a:cubicBezTo>
                  <a:lnTo>
                    <a:pt x="3256" y="1008"/>
                  </a:lnTo>
                  <a:cubicBezTo>
                    <a:pt x="3281" y="1040"/>
                    <a:pt x="3283" y="1084"/>
                    <a:pt x="3262" y="1119"/>
                  </a:cubicBezTo>
                  <a:cubicBezTo>
                    <a:pt x="3241" y="1153"/>
                    <a:pt x="3202" y="1172"/>
                    <a:pt x="3162" y="1167"/>
                  </a:cubicBezTo>
                  <a:lnTo>
                    <a:pt x="2773" y="1111"/>
                  </a:lnTo>
                  <a:cubicBezTo>
                    <a:pt x="2718" y="1103"/>
                    <a:pt x="2667" y="1141"/>
                    <a:pt x="2660" y="1196"/>
                  </a:cubicBezTo>
                  <a:cubicBezTo>
                    <a:pt x="2660" y="1196"/>
                    <a:pt x="2660" y="1196"/>
                    <a:pt x="2660" y="1196"/>
                  </a:cubicBezTo>
                  <a:lnTo>
                    <a:pt x="2575" y="1790"/>
                  </a:lnTo>
                  <a:cubicBezTo>
                    <a:pt x="2567" y="1844"/>
                    <a:pt x="2605" y="1895"/>
                    <a:pt x="2659" y="1903"/>
                  </a:cubicBezTo>
                  <a:cubicBezTo>
                    <a:pt x="2660" y="1903"/>
                    <a:pt x="2660" y="1903"/>
                    <a:pt x="2660" y="1903"/>
                  </a:cubicBezTo>
                  <a:lnTo>
                    <a:pt x="3049" y="1959"/>
                  </a:lnTo>
                  <a:cubicBezTo>
                    <a:pt x="3103" y="1966"/>
                    <a:pt x="3141" y="2017"/>
                    <a:pt x="3133" y="2072"/>
                  </a:cubicBezTo>
                  <a:cubicBezTo>
                    <a:pt x="3130" y="2098"/>
                    <a:pt x="3116" y="2122"/>
                    <a:pt x="3094" y="2138"/>
                  </a:cubicBezTo>
                  <a:lnTo>
                    <a:pt x="2780" y="2373"/>
                  </a:lnTo>
                  <a:cubicBezTo>
                    <a:pt x="2736" y="2406"/>
                    <a:pt x="2727" y="2469"/>
                    <a:pt x="2760" y="2513"/>
                  </a:cubicBezTo>
                  <a:lnTo>
                    <a:pt x="3120" y="2993"/>
                  </a:lnTo>
                  <a:cubicBezTo>
                    <a:pt x="3153" y="3038"/>
                    <a:pt x="3216" y="3046"/>
                    <a:pt x="3260" y="3013"/>
                  </a:cubicBezTo>
                  <a:lnTo>
                    <a:pt x="3575" y="2778"/>
                  </a:lnTo>
                  <a:cubicBezTo>
                    <a:pt x="3619" y="2745"/>
                    <a:pt x="3681" y="2754"/>
                    <a:pt x="3715" y="2798"/>
                  </a:cubicBezTo>
                  <a:cubicBezTo>
                    <a:pt x="3730" y="2819"/>
                    <a:pt x="3737" y="2846"/>
                    <a:pt x="3733" y="2872"/>
                  </a:cubicBezTo>
                  <a:lnTo>
                    <a:pt x="3678" y="3261"/>
                  </a:lnTo>
                  <a:cubicBezTo>
                    <a:pt x="3670" y="3315"/>
                    <a:pt x="3708" y="3366"/>
                    <a:pt x="3763" y="3374"/>
                  </a:cubicBezTo>
                  <a:lnTo>
                    <a:pt x="3763" y="3374"/>
                  </a:lnTo>
                  <a:lnTo>
                    <a:pt x="4357" y="3459"/>
                  </a:lnTo>
                  <a:cubicBezTo>
                    <a:pt x="4361" y="3459"/>
                    <a:pt x="4366" y="3460"/>
                    <a:pt x="4371" y="3460"/>
                  </a:cubicBezTo>
                  <a:cubicBezTo>
                    <a:pt x="4421" y="3460"/>
                    <a:pt x="4463" y="3423"/>
                    <a:pt x="4470" y="3374"/>
                  </a:cubicBezTo>
                  <a:lnTo>
                    <a:pt x="4525" y="2985"/>
                  </a:lnTo>
                  <a:cubicBezTo>
                    <a:pt x="4533" y="2930"/>
                    <a:pt x="4584" y="2892"/>
                    <a:pt x="4639" y="2900"/>
                  </a:cubicBezTo>
                  <a:cubicBezTo>
                    <a:pt x="4665" y="2904"/>
                    <a:pt x="4689" y="2918"/>
                    <a:pt x="4704" y="2939"/>
                  </a:cubicBezTo>
                  <a:lnTo>
                    <a:pt x="4940" y="3253"/>
                  </a:lnTo>
                  <a:cubicBezTo>
                    <a:pt x="4973" y="3298"/>
                    <a:pt x="5036" y="3306"/>
                    <a:pt x="5080" y="3273"/>
                  </a:cubicBezTo>
                  <a:lnTo>
                    <a:pt x="5560" y="2913"/>
                  </a:lnTo>
                  <a:cubicBezTo>
                    <a:pt x="5604" y="2880"/>
                    <a:pt x="5613" y="2818"/>
                    <a:pt x="5580" y="2773"/>
                  </a:cubicBezTo>
                  <a:lnTo>
                    <a:pt x="5345" y="2459"/>
                  </a:lnTo>
                  <a:cubicBezTo>
                    <a:pt x="5320" y="2427"/>
                    <a:pt x="5317" y="2383"/>
                    <a:pt x="5339" y="2348"/>
                  </a:cubicBezTo>
                  <a:cubicBezTo>
                    <a:pt x="5359" y="2313"/>
                    <a:pt x="5399" y="2294"/>
                    <a:pt x="5439" y="2300"/>
                  </a:cubicBezTo>
                  <a:lnTo>
                    <a:pt x="5828" y="2356"/>
                  </a:lnTo>
                  <a:cubicBezTo>
                    <a:pt x="5882" y="2363"/>
                    <a:pt x="5933" y="2325"/>
                    <a:pt x="5941" y="2271"/>
                  </a:cubicBezTo>
                  <a:lnTo>
                    <a:pt x="5941" y="2271"/>
                  </a:lnTo>
                  <a:lnTo>
                    <a:pt x="6026" y="1677"/>
                  </a:lnTo>
                  <a:cubicBezTo>
                    <a:pt x="6033" y="1622"/>
                    <a:pt x="5996" y="1571"/>
                    <a:pt x="5941" y="1564"/>
                  </a:cubicBezTo>
                  <a:close/>
                  <a:moveTo>
                    <a:pt x="2626" y="5107"/>
                  </a:moveTo>
                  <a:lnTo>
                    <a:pt x="3426" y="5107"/>
                  </a:lnTo>
                  <a:lnTo>
                    <a:pt x="3426" y="5307"/>
                  </a:lnTo>
                  <a:lnTo>
                    <a:pt x="2626" y="5307"/>
                  </a:lnTo>
                  <a:lnTo>
                    <a:pt x="2626" y="5107"/>
                  </a:lnTo>
                  <a:close/>
                  <a:moveTo>
                    <a:pt x="2626" y="5507"/>
                  </a:moveTo>
                  <a:lnTo>
                    <a:pt x="3426" y="5507"/>
                  </a:lnTo>
                  <a:lnTo>
                    <a:pt x="3426" y="5607"/>
                  </a:lnTo>
                  <a:cubicBezTo>
                    <a:pt x="3426" y="5717"/>
                    <a:pt x="3337" y="5807"/>
                    <a:pt x="3226" y="5807"/>
                  </a:cubicBezTo>
                  <a:lnTo>
                    <a:pt x="2826" y="5807"/>
                  </a:lnTo>
                  <a:cubicBezTo>
                    <a:pt x="2716" y="5807"/>
                    <a:pt x="2626" y="5717"/>
                    <a:pt x="2626" y="5607"/>
                  </a:cubicBezTo>
                  <a:lnTo>
                    <a:pt x="2626" y="5507"/>
                  </a:lnTo>
                  <a:close/>
                  <a:moveTo>
                    <a:pt x="1830" y="3782"/>
                  </a:moveTo>
                  <a:cubicBezTo>
                    <a:pt x="1885" y="3827"/>
                    <a:pt x="1942" y="3868"/>
                    <a:pt x="2001" y="3907"/>
                  </a:cubicBezTo>
                  <a:cubicBezTo>
                    <a:pt x="2096" y="3966"/>
                    <a:pt x="2167" y="4057"/>
                    <a:pt x="2203" y="4163"/>
                  </a:cubicBezTo>
                  <a:lnTo>
                    <a:pt x="1988" y="4377"/>
                  </a:lnTo>
                  <a:lnTo>
                    <a:pt x="1781" y="4234"/>
                  </a:lnTo>
                  <a:cubicBezTo>
                    <a:pt x="1690" y="4171"/>
                    <a:pt x="1565" y="4194"/>
                    <a:pt x="1502" y="4285"/>
                  </a:cubicBezTo>
                  <a:cubicBezTo>
                    <a:pt x="1487" y="4307"/>
                    <a:pt x="1477" y="4331"/>
                    <a:pt x="1471" y="4357"/>
                  </a:cubicBezTo>
                  <a:lnTo>
                    <a:pt x="1419" y="4607"/>
                  </a:lnTo>
                  <a:lnTo>
                    <a:pt x="1181" y="4607"/>
                  </a:lnTo>
                  <a:lnTo>
                    <a:pt x="1129" y="4357"/>
                  </a:lnTo>
                  <a:cubicBezTo>
                    <a:pt x="1106" y="4249"/>
                    <a:pt x="1000" y="4180"/>
                    <a:pt x="892" y="4203"/>
                  </a:cubicBezTo>
                  <a:cubicBezTo>
                    <a:pt x="866" y="4208"/>
                    <a:pt x="841" y="4219"/>
                    <a:pt x="820" y="4234"/>
                  </a:cubicBezTo>
                  <a:lnTo>
                    <a:pt x="612" y="4377"/>
                  </a:lnTo>
                  <a:lnTo>
                    <a:pt x="430" y="4195"/>
                  </a:lnTo>
                  <a:lnTo>
                    <a:pt x="573" y="3987"/>
                  </a:lnTo>
                  <a:cubicBezTo>
                    <a:pt x="635" y="3896"/>
                    <a:pt x="613" y="3772"/>
                    <a:pt x="522" y="3709"/>
                  </a:cubicBezTo>
                  <a:cubicBezTo>
                    <a:pt x="500" y="3694"/>
                    <a:pt x="475" y="3683"/>
                    <a:pt x="449" y="3678"/>
                  </a:cubicBezTo>
                  <a:lnTo>
                    <a:pt x="200" y="3626"/>
                  </a:lnTo>
                  <a:lnTo>
                    <a:pt x="200" y="3388"/>
                  </a:lnTo>
                  <a:lnTo>
                    <a:pt x="449" y="3335"/>
                  </a:lnTo>
                  <a:cubicBezTo>
                    <a:pt x="557" y="3313"/>
                    <a:pt x="626" y="3206"/>
                    <a:pt x="603" y="3098"/>
                  </a:cubicBezTo>
                  <a:cubicBezTo>
                    <a:pt x="598" y="3073"/>
                    <a:pt x="588" y="3048"/>
                    <a:pt x="573" y="3027"/>
                  </a:cubicBezTo>
                  <a:lnTo>
                    <a:pt x="430" y="2819"/>
                  </a:lnTo>
                  <a:lnTo>
                    <a:pt x="612" y="2637"/>
                  </a:lnTo>
                  <a:lnTo>
                    <a:pt x="820" y="2780"/>
                  </a:lnTo>
                  <a:cubicBezTo>
                    <a:pt x="911" y="2843"/>
                    <a:pt x="1035" y="2820"/>
                    <a:pt x="1098" y="2729"/>
                  </a:cubicBezTo>
                  <a:cubicBezTo>
                    <a:pt x="1113" y="2707"/>
                    <a:pt x="1123" y="2682"/>
                    <a:pt x="1129" y="2656"/>
                  </a:cubicBezTo>
                  <a:lnTo>
                    <a:pt x="1146" y="2573"/>
                  </a:lnTo>
                  <a:cubicBezTo>
                    <a:pt x="1162" y="2688"/>
                    <a:pt x="1189" y="2802"/>
                    <a:pt x="1226" y="2912"/>
                  </a:cubicBezTo>
                  <a:cubicBezTo>
                    <a:pt x="897" y="2951"/>
                    <a:pt x="662" y="3250"/>
                    <a:pt x="701" y="3579"/>
                  </a:cubicBezTo>
                  <a:cubicBezTo>
                    <a:pt x="740" y="3908"/>
                    <a:pt x="1039" y="4143"/>
                    <a:pt x="1368" y="4104"/>
                  </a:cubicBezTo>
                  <a:cubicBezTo>
                    <a:pt x="1566" y="4080"/>
                    <a:pt x="1739" y="3960"/>
                    <a:pt x="1830" y="3782"/>
                  </a:cubicBezTo>
                  <a:close/>
                  <a:moveTo>
                    <a:pt x="1675" y="3641"/>
                  </a:moveTo>
                  <a:cubicBezTo>
                    <a:pt x="1600" y="3849"/>
                    <a:pt x="1372" y="3957"/>
                    <a:pt x="1164" y="3882"/>
                  </a:cubicBezTo>
                  <a:cubicBezTo>
                    <a:pt x="956" y="3807"/>
                    <a:pt x="849" y="3579"/>
                    <a:pt x="923" y="3371"/>
                  </a:cubicBezTo>
                  <a:cubicBezTo>
                    <a:pt x="980" y="3212"/>
                    <a:pt x="1131" y="3106"/>
                    <a:pt x="1300" y="3107"/>
                  </a:cubicBezTo>
                  <a:lnTo>
                    <a:pt x="1304" y="3107"/>
                  </a:lnTo>
                  <a:cubicBezTo>
                    <a:pt x="1396" y="3305"/>
                    <a:pt x="1521" y="3486"/>
                    <a:pt x="1675" y="3641"/>
                  </a:cubicBezTo>
                  <a:close/>
                  <a:moveTo>
                    <a:pt x="5756" y="2143"/>
                  </a:moveTo>
                  <a:lnTo>
                    <a:pt x="5466" y="2102"/>
                  </a:lnTo>
                  <a:cubicBezTo>
                    <a:pt x="5302" y="2078"/>
                    <a:pt x="5150" y="2192"/>
                    <a:pt x="5127" y="2356"/>
                  </a:cubicBezTo>
                  <a:cubicBezTo>
                    <a:pt x="5116" y="2435"/>
                    <a:pt x="5136" y="2515"/>
                    <a:pt x="5184" y="2579"/>
                  </a:cubicBezTo>
                  <a:lnTo>
                    <a:pt x="5360" y="2813"/>
                  </a:lnTo>
                  <a:lnTo>
                    <a:pt x="5040" y="3053"/>
                  </a:lnTo>
                  <a:lnTo>
                    <a:pt x="4864" y="2819"/>
                  </a:lnTo>
                  <a:cubicBezTo>
                    <a:pt x="4765" y="2686"/>
                    <a:pt x="4576" y="2659"/>
                    <a:pt x="4444" y="2759"/>
                  </a:cubicBezTo>
                  <a:cubicBezTo>
                    <a:pt x="4380" y="2807"/>
                    <a:pt x="4338" y="2878"/>
                    <a:pt x="4327" y="2956"/>
                  </a:cubicBezTo>
                  <a:lnTo>
                    <a:pt x="4286" y="3247"/>
                  </a:lnTo>
                  <a:lnTo>
                    <a:pt x="3890" y="3190"/>
                  </a:lnTo>
                  <a:lnTo>
                    <a:pt x="3932" y="2900"/>
                  </a:lnTo>
                  <a:cubicBezTo>
                    <a:pt x="3955" y="2736"/>
                    <a:pt x="3841" y="2584"/>
                    <a:pt x="3677" y="2561"/>
                  </a:cubicBezTo>
                  <a:cubicBezTo>
                    <a:pt x="3599" y="2549"/>
                    <a:pt x="3519" y="2570"/>
                    <a:pt x="3455" y="2618"/>
                  </a:cubicBezTo>
                  <a:lnTo>
                    <a:pt x="3221" y="2793"/>
                  </a:lnTo>
                  <a:lnTo>
                    <a:pt x="2981" y="2473"/>
                  </a:lnTo>
                  <a:lnTo>
                    <a:pt x="3215" y="2298"/>
                  </a:lnTo>
                  <a:cubicBezTo>
                    <a:pt x="3347" y="2198"/>
                    <a:pt x="3374" y="2010"/>
                    <a:pt x="3275" y="1878"/>
                  </a:cubicBezTo>
                  <a:cubicBezTo>
                    <a:pt x="3227" y="1814"/>
                    <a:pt x="3156" y="1772"/>
                    <a:pt x="3077" y="1761"/>
                  </a:cubicBezTo>
                  <a:lnTo>
                    <a:pt x="2787" y="1719"/>
                  </a:lnTo>
                  <a:lnTo>
                    <a:pt x="2844" y="1323"/>
                  </a:lnTo>
                  <a:lnTo>
                    <a:pt x="3134" y="1365"/>
                  </a:lnTo>
                  <a:cubicBezTo>
                    <a:pt x="3298" y="1388"/>
                    <a:pt x="3450" y="1274"/>
                    <a:pt x="3473" y="1110"/>
                  </a:cubicBezTo>
                  <a:cubicBezTo>
                    <a:pt x="3485" y="1031"/>
                    <a:pt x="3464" y="951"/>
                    <a:pt x="3416" y="888"/>
                  </a:cubicBezTo>
                  <a:lnTo>
                    <a:pt x="3240" y="653"/>
                  </a:lnTo>
                  <a:lnTo>
                    <a:pt x="3560" y="413"/>
                  </a:lnTo>
                  <a:lnTo>
                    <a:pt x="3736" y="647"/>
                  </a:lnTo>
                  <a:cubicBezTo>
                    <a:pt x="3835" y="780"/>
                    <a:pt x="4023" y="807"/>
                    <a:pt x="4156" y="707"/>
                  </a:cubicBezTo>
                  <a:cubicBezTo>
                    <a:pt x="4220" y="660"/>
                    <a:pt x="4262" y="589"/>
                    <a:pt x="4273" y="510"/>
                  </a:cubicBezTo>
                  <a:lnTo>
                    <a:pt x="4314" y="220"/>
                  </a:lnTo>
                  <a:lnTo>
                    <a:pt x="4710" y="276"/>
                  </a:lnTo>
                  <a:lnTo>
                    <a:pt x="4669" y="566"/>
                  </a:lnTo>
                  <a:cubicBezTo>
                    <a:pt x="4645" y="730"/>
                    <a:pt x="4759" y="882"/>
                    <a:pt x="4923" y="906"/>
                  </a:cubicBezTo>
                  <a:cubicBezTo>
                    <a:pt x="5002" y="917"/>
                    <a:pt x="5082" y="897"/>
                    <a:pt x="5146" y="849"/>
                  </a:cubicBezTo>
                  <a:lnTo>
                    <a:pt x="5380" y="673"/>
                  </a:lnTo>
                  <a:lnTo>
                    <a:pt x="5620" y="993"/>
                  </a:lnTo>
                  <a:lnTo>
                    <a:pt x="5386" y="1169"/>
                  </a:lnTo>
                  <a:cubicBezTo>
                    <a:pt x="5253" y="1268"/>
                    <a:pt x="5226" y="1456"/>
                    <a:pt x="5326" y="1589"/>
                  </a:cubicBezTo>
                  <a:cubicBezTo>
                    <a:pt x="5373" y="1653"/>
                    <a:pt x="5445" y="1695"/>
                    <a:pt x="5523" y="1706"/>
                  </a:cubicBezTo>
                  <a:lnTo>
                    <a:pt x="5813" y="1747"/>
                  </a:lnTo>
                  <a:lnTo>
                    <a:pt x="5756" y="2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5"/>
            <p:cNvSpPr>
              <a:spLocks noEditPoints="1"/>
            </p:cNvSpPr>
            <p:nvPr/>
          </p:nvSpPr>
          <p:spPr bwMode="auto">
            <a:xfrm>
              <a:off x="6335710" y="-1482725"/>
              <a:ext cx="239713" cy="238125"/>
            </a:xfrm>
            <a:custGeom>
              <a:avLst/>
              <a:gdLst>
                <a:gd name="T0" fmla="*/ 800 w 1600"/>
                <a:gd name="T1" fmla="*/ 0 h 1600"/>
                <a:gd name="T2" fmla="*/ 0 w 1600"/>
                <a:gd name="T3" fmla="*/ 800 h 1600"/>
                <a:gd name="T4" fmla="*/ 800 w 1600"/>
                <a:gd name="T5" fmla="*/ 1600 h 1600"/>
                <a:gd name="T6" fmla="*/ 1600 w 1600"/>
                <a:gd name="T7" fmla="*/ 800 h 1600"/>
                <a:gd name="T8" fmla="*/ 800 w 1600"/>
                <a:gd name="T9" fmla="*/ 0 h 1600"/>
                <a:gd name="T10" fmla="*/ 800 w 1600"/>
                <a:gd name="T11" fmla="*/ 1400 h 1600"/>
                <a:gd name="T12" fmla="*/ 200 w 1600"/>
                <a:gd name="T13" fmla="*/ 800 h 1600"/>
                <a:gd name="T14" fmla="*/ 800 w 1600"/>
                <a:gd name="T15" fmla="*/ 200 h 1600"/>
                <a:gd name="T16" fmla="*/ 1400 w 1600"/>
                <a:gd name="T17" fmla="*/ 800 h 1600"/>
                <a:gd name="T18" fmla="*/ 800 w 1600"/>
                <a:gd name="T19" fmla="*/ 1400 h 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0" h="1600">
                  <a:moveTo>
                    <a:pt x="800" y="0"/>
                  </a:moveTo>
                  <a:cubicBezTo>
                    <a:pt x="358" y="0"/>
                    <a:pt x="0" y="358"/>
                    <a:pt x="0" y="800"/>
                  </a:cubicBezTo>
                  <a:cubicBezTo>
                    <a:pt x="0" y="1242"/>
                    <a:pt x="358" y="1600"/>
                    <a:pt x="800" y="1600"/>
                  </a:cubicBezTo>
                  <a:cubicBezTo>
                    <a:pt x="1242" y="1600"/>
                    <a:pt x="1600" y="1242"/>
                    <a:pt x="1600" y="800"/>
                  </a:cubicBezTo>
                  <a:cubicBezTo>
                    <a:pt x="1600" y="359"/>
                    <a:pt x="1242" y="1"/>
                    <a:pt x="800" y="0"/>
                  </a:cubicBezTo>
                  <a:close/>
                  <a:moveTo>
                    <a:pt x="800" y="1400"/>
                  </a:moveTo>
                  <a:cubicBezTo>
                    <a:pt x="469" y="1400"/>
                    <a:pt x="200" y="1132"/>
                    <a:pt x="200" y="800"/>
                  </a:cubicBezTo>
                  <a:cubicBezTo>
                    <a:pt x="200" y="469"/>
                    <a:pt x="469" y="200"/>
                    <a:pt x="800" y="200"/>
                  </a:cubicBezTo>
                  <a:cubicBezTo>
                    <a:pt x="1131" y="200"/>
                    <a:pt x="1400" y="469"/>
                    <a:pt x="1400" y="800"/>
                  </a:cubicBezTo>
                  <a:cubicBezTo>
                    <a:pt x="1400" y="1131"/>
                    <a:pt x="1131" y="1400"/>
                    <a:pt x="800" y="14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Rectangle 26"/>
            <p:cNvSpPr>
              <a:spLocks noChangeArrowheads="1"/>
            </p:cNvSpPr>
            <p:nvPr/>
          </p:nvSpPr>
          <p:spPr bwMode="auto">
            <a:xfrm>
              <a:off x="6249985" y="-965200"/>
              <a:ext cx="30163" cy="460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7"/>
            <p:cNvSpPr>
              <a:spLocks/>
            </p:cNvSpPr>
            <p:nvPr/>
          </p:nvSpPr>
          <p:spPr bwMode="auto">
            <a:xfrm>
              <a:off x="6026147" y="-1455738"/>
              <a:ext cx="254000" cy="461962"/>
            </a:xfrm>
            <a:custGeom>
              <a:avLst/>
              <a:gdLst>
                <a:gd name="T0" fmla="*/ 1160 w 1698"/>
                <a:gd name="T1" fmla="*/ 2303 h 3085"/>
                <a:gd name="T2" fmla="*/ 479 w 1698"/>
                <a:gd name="T3" fmla="*/ 748 h 3085"/>
                <a:gd name="T4" fmla="*/ 957 w 1698"/>
                <a:gd name="T5" fmla="*/ 169 h 3085"/>
                <a:gd name="T6" fmla="*/ 851 w 1698"/>
                <a:gd name="T7" fmla="*/ 0 h 3085"/>
                <a:gd name="T8" fmla="*/ 412 w 1698"/>
                <a:gd name="T9" fmla="*/ 1931 h 3085"/>
                <a:gd name="T10" fmla="*/ 1087 w 1698"/>
                <a:gd name="T11" fmla="*/ 2489 h 3085"/>
                <a:gd name="T12" fmla="*/ 1497 w 1698"/>
                <a:gd name="T13" fmla="*/ 3085 h 3085"/>
                <a:gd name="T14" fmla="*/ 1697 w 1698"/>
                <a:gd name="T15" fmla="*/ 3085 h 3085"/>
                <a:gd name="T16" fmla="*/ 1160 w 1698"/>
                <a:gd name="T17" fmla="*/ 2303 h 3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8" h="3085">
                  <a:moveTo>
                    <a:pt x="1160" y="2303"/>
                  </a:moveTo>
                  <a:cubicBezTo>
                    <a:pt x="543" y="2061"/>
                    <a:pt x="238" y="1366"/>
                    <a:pt x="479" y="748"/>
                  </a:cubicBezTo>
                  <a:cubicBezTo>
                    <a:pt x="572" y="509"/>
                    <a:pt x="740" y="306"/>
                    <a:pt x="957" y="169"/>
                  </a:cubicBezTo>
                  <a:lnTo>
                    <a:pt x="851" y="0"/>
                  </a:lnTo>
                  <a:cubicBezTo>
                    <a:pt x="196" y="412"/>
                    <a:pt x="0" y="1277"/>
                    <a:pt x="412" y="1931"/>
                  </a:cubicBezTo>
                  <a:cubicBezTo>
                    <a:pt x="572" y="2184"/>
                    <a:pt x="808" y="2380"/>
                    <a:pt x="1087" y="2489"/>
                  </a:cubicBezTo>
                  <a:cubicBezTo>
                    <a:pt x="1334" y="2583"/>
                    <a:pt x="1497" y="2820"/>
                    <a:pt x="1497" y="3085"/>
                  </a:cubicBezTo>
                  <a:lnTo>
                    <a:pt x="1697" y="3085"/>
                  </a:lnTo>
                  <a:cubicBezTo>
                    <a:pt x="1698" y="2738"/>
                    <a:pt x="1484" y="2427"/>
                    <a:pt x="1160" y="230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28"/>
            <p:cNvSpPr>
              <a:spLocks noChangeArrowheads="1"/>
            </p:cNvSpPr>
            <p:nvPr/>
          </p:nvSpPr>
          <p:spPr bwMode="auto">
            <a:xfrm>
              <a:off x="6550022" y="-1068388"/>
              <a:ext cx="103188" cy="285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9"/>
            <p:cNvSpPr>
              <a:spLocks/>
            </p:cNvSpPr>
            <p:nvPr/>
          </p:nvSpPr>
          <p:spPr bwMode="auto">
            <a:xfrm>
              <a:off x="6524622" y="-990600"/>
              <a:ext cx="109538" cy="96837"/>
            </a:xfrm>
            <a:custGeom>
              <a:avLst/>
              <a:gdLst>
                <a:gd name="T0" fmla="*/ 0 w 728"/>
                <a:gd name="T1" fmla="*/ 154 h 653"/>
                <a:gd name="T2" fmla="*/ 128 w 728"/>
                <a:gd name="T3" fmla="*/ 0 h 653"/>
                <a:gd name="T4" fmla="*/ 728 w 728"/>
                <a:gd name="T5" fmla="*/ 500 h 653"/>
                <a:gd name="T6" fmla="*/ 600 w 728"/>
                <a:gd name="T7" fmla="*/ 653 h 653"/>
                <a:gd name="T8" fmla="*/ 0 w 728"/>
                <a:gd name="T9" fmla="*/ 154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8" h="653">
                  <a:moveTo>
                    <a:pt x="0" y="154"/>
                  </a:moveTo>
                  <a:lnTo>
                    <a:pt x="128" y="0"/>
                  </a:lnTo>
                  <a:lnTo>
                    <a:pt x="728" y="500"/>
                  </a:lnTo>
                  <a:lnTo>
                    <a:pt x="600" y="653"/>
                  </a:lnTo>
                  <a:lnTo>
                    <a:pt x="0" y="15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30"/>
            <p:cNvSpPr>
              <a:spLocks noChangeArrowheads="1"/>
            </p:cNvSpPr>
            <p:nvPr/>
          </p:nvSpPr>
          <p:spPr bwMode="auto">
            <a:xfrm>
              <a:off x="6459535" y="-949325"/>
              <a:ext cx="30163" cy="1047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1"/>
            <p:cNvSpPr>
              <a:spLocks/>
            </p:cNvSpPr>
            <p:nvPr/>
          </p:nvSpPr>
          <p:spPr bwMode="auto">
            <a:xfrm>
              <a:off x="5829297" y="-1397000"/>
              <a:ext cx="125413" cy="58737"/>
            </a:xfrm>
            <a:custGeom>
              <a:avLst/>
              <a:gdLst>
                <a:gd name="T0" fmla="*/ 0 w 849"/>
                <a:gd name="T1" fmla="*/ 200 h 394"/>
                <a:gd name="T2" fmla="*/ 800 w 849"/>
                <a:gd name="T3" fmla="*/ 0 h 394"/>
                <a:gd name="T4" fmla="*/ 849 w 849"/>
                <a:gd name="T5" fmla="*/ 194 h 394"/>
                <a:gd name="T6" fmla="*/ 49 w 849"/>
                <a:gd name="T7" fmla="*/ 394 h 394"/>
                <a:gd name="T8" fmla="*/ 0 w 849"/>
                <a:gd name="T9" fmla="*/ 20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9" h="394">
                  <a:moveTo>
                    <a:pt x="0" y="200"/>
                  </a:moveTo>
                  <a:lnTo>
                    <a:pt x="800" y="0"/>
                  </a:lnTo>
                  <a:lnTo>
                    <a:pt x="849" y="194"/>
                  </a:lnTo>
                  <a:lnTo>
                    <a:pt x="49" y="394"/>
                  </a:lnTo>
                  <a:lnTo>
                    <a:pt x="0" y="2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2"/>
            <p:cNvSpPr>
              <a:spLocks/>
            </p:cNvSpPr>
            <p:nvPr/>
          </p:nvSpPr>
          <p:spPr bwMode="auto">
            <a:xfrm>
              <a:off x="5853110" y="-1544638"/>
              <a:ext cx="122238" cy="100012"/>
            </a:xfrm>
            <a:custGeom>
              <a:avLst/>
              <a:gdLst>
                <a:gd name="T0" fmla="*/ 0 w 816"/>
                <a:gd name="T1" fmla="*/ 163 h 663"/>
                <a:gd name="T2" fmla="*/ 116 w 816"/>
                <a:gd name="T3" fmla="*/ 0 h 663"/>
                <a:gd name="T4" fmla="*/ 816 w 816"/>
                <a:gd name="T5" fmla="*/ 500 h 663"/>
                <a:gd name="T6" fmla="*/ 700 w 816"/>
                <a:gd name="T7" fmla="*/ 663 h 663"/>
                <a:gd name="T8" fmla="*/ 0 w 816"/>
                <a:gd name="T9" fmla="*/ 163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6" h="663">
                  <a:moveTo>
                    <a:pt x="0" y="163"/>
                  </a:moveTo>
                  <a:lnTo>
                    <a:pt x="116" y="0"/>
                  </a:lnTo>
                  <a:lnTo>
                    <a:pt x="816" y="500"/>
                  </a:lnTo>
                  <a:lnTo>
                    <a:pt x="700" y="663"/>
                  </a:lnTo>
                  <a:lnTo>
                    <a:pt x="0" y="16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3"/>
            <p:cNvSpPr>
              <a:spLocks/>
            </p:cNvSpPr>
            <p:nvPr/>
          </p:nvSpPr>
          <p:spPr bwMode="auto">
            <a:xfrm>
              <a:off x="5981697" y="-1625600"/>
              <a:ext cx="58738" cy="127000"/>
            </a:xfrm>
            <a:custGeom>
              <a:avLst/>
              <a:gdLst>
                <a:gd name="T0" fmla="*/ 0 w 398"/>
                <a:gd name="T1" fmla="*/ 49 h 849"/>
                <a:gd name="T2" fmla="*/ 194 w 398"/>
                <a:gd name="T3" fmla="*/ 0 h 849"/>
                <a:gd name="T4" fmla="*/ 398 w 398"/>
                <a:gd name="T5" fmla="*/ 800 h 849"/>
                <a:gd name="T6" fmla="*/ 205 w 398"/>
                <a:gd name="T7" fmla="*/ 849 h 849"/>
                <a:gd name="T8" fmla="*/ 0 w 398"/>
                <a:gd name="T9" fmla="*/ 49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849">
                  <a:moveTo>
                    <a:pt x="0" y="49"/>
                  </a:moveTo>
                  <a:lnTo>
                    <a:pt x="194" y="0"/>
                  </a:lnTo>
                  <a:lnTo>
                    <a:pt x="398" y="800"/>
                  </a:lnTo>
                  <a:lnTo>
                    <a:pt x="205" y="8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7" name="Groupe 66"/>
          <p:cNvGrpSpPr/>
          <p:nvPr/>
        </p:nvGrpSpPr>
        <p:grpSpPr>
          <a:xfrm>
            <a:off x="10227573" y="2319141"/>
            <a:ext cx="705470" cy="705470"/>
            <a:chOff x="633412" y="-1870075"/>
            <a:chExt cx="2044700" cy="2044700"/>
          </a:xfrm>
          <a:gradFill>
            <a:gsLst>
              <a:gs pos="0">
                <a:srgbClr val="A136A0">
                  <a:alpha val="90000"/>
                </a:srgbClr>
              </a:gs>
              <a:gs pos="100000">
                <a:srgbClr val="7030A0">
                  <a:alpha val="89000"/>
                </a:srgbClr>
              </a:gs>
            </a:gsLst>
            <a:lin ang="12600000" scaled="0"/>
          </a:gradFill>
        </p:grpSpPr>
        <p:sp>
          <p:nvSpPr>
            <p:cNvPr id="43" name="Freeform 37"/>
            <p:cNvSpPr>
              <a:spLocks noEditPoints="1"/>
            </p:cNvSpPr>
            <p:nvPr/>
          </p:nvSpPr>
          <p:spPr bwMode="auto">
            <a:xfrm>
              <a:off x="1358900" y="-419100"/>
              <a:ext cx="593725" cy="593725"/>
            </a:xfrm>
            <a:custGeom>
              <a:avLst/>
              <a:gdLst>
                <a:gd name="T0" fmla="*/ 900 w 1800"/>
                <a:gd name="T1" fmla="*/ 0 h 1800"/>
                <a:gd name="T2" fmla="*/ 0 w 1800"/>
                <a:gd name="T3" fmla="*/ 900 h 1800"/>
                <a:gd name="T4" fmla="*/ 900 w 1800"/>
                <a:gd name="T5" fmla="*/ 1800 h 1800"/>
                <a:gd name="T6" fmla="*/ 1800 w 1800"/>
                <a:gd name="T7" fmla="*/ 900 h 1800"/>
                <a:gd name="T8" fmla="*/ 900 w 1800"/>
                <a:gd name="T9" fmla="*/ 0 h 1800"/>
                <a:gd name="T10" fmla="*/ 518 w 1800"/>
                <a:gd name="T11" fmla="*/ 1486 h 1800"/>
                <a:gd name="T12" fmla="*/ 900 w 1800"/>
                <a:gd name="T13" fmla="*/ 1200 h 1800"/>
                <a:gd name="T14" fmla="*/ 1282 w 1800"/>
                <a:gd name="T15" fmla="*/ 1486 h 1800"/>
                <a:gd name="T16" fmla="*/ 900 w 1800"/>
                <a:gd name="T17" fmla="*/ 1600 h 1800"/>
                <a:gd name="T18" fmla="*/ 518 w 1800"/>
                <a:gd name="T19" fmla="*/ 1486 h 1800"/>
                <a:gd name="T20" fmla="*/ 700 w 1800"/>
                <a:gd name="T21" fmla="*/ 800 h 1800"/>
                <a:gd name="T22" fmla="*/ 900 w 1800"/>
                <a:gd name="T23" fmla="*/ 600 h 1800"/>
                <a:gd name="T24" fmla="*/ 1100 w 1800"/>
                <a:gd name="T25" fmla="*/ 800 h 1800"/>
                <a:gd name="T26" fmla="*/ 900 w 1800"/>
                <a:gd name="T27" fmla="*/ 1000 h 1800"/>
                <a:gd name="T28" fmla="*/ 700 w 1800"/>
                <a:gd name="T29" fmla="*/ 800 h 1800"/>
                <a:gd name="T30" fmla="*/ 1440 w 1800"/>
                <a:gd name="T31" fmla="*/ 1345 h 1800"/>
                <a:gd name="T32" fmla="*/ 1188 w 1800"/>
                <a:gd name="T33" fmla="*/ 1076 h 1800"/>
                <a:gd name="T34" fmla="*/ 1300 w 1800"/>
                <a:gd name="T35" fmla="*/ 800 h 1800"/>
                <a:gd name="T36" fmla="*/ 900 w 1800"/>
                <a:gd name="T37" fmla="*/ 400 h 1800"/>
                <a:gd name="T38" fmla="*/ 500 w 1800"/>
                <a:gd name="T39" fmla="*/ 800 h 1800"/>
                <a:gd name="T40" fmla="*/ 612 w 1800"/>
                <a:gd name="T41" fmla="*/ 1076 h 1800"/>
                <a:gd name="T42" fmla="*/ 360 w 1800"/>
                <a:gd name="T43" fmla="*/ 1345 h 1800"/>
                <a:gd name="T44" fmla="*/ 200 w 1800"/>
                <a:gd name="T45" fmla="*/ 900 h 1800"/>
                <a:gd name="T46" fmla="*/ 900 w 1800"/>
                <a:gd name="T47" fmla="*/ 200 h 1800"/>
                <a:gd name="T48" fmla="*/ 1600 w 1800"/>
                <a:gd name="T49" fmla="*/ 900 h 1800"/>
                <a:gd name="T50" fmla="*/ 1440 w 1800"/>
                <a:gd name="T51" fmla="*/ 1345 h 1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00" h="1800">
                  <a:moveTo>
                    <a:pt x="900" y="0"/>
                  </a:moveTo>
                  <a:cubicBezTo>
                    <a:pt x="404" y="0"/>
                    <a:pt x="0" y="404"/>
                    <a:pt x="0" y="900"/>
                  </a:cubicBezTo>
                  <a:cubicBezTo>
                    <a:pt x="0" y="1396"/>
                    <a:pt x="404" y="1800"/>
                    <a:pt x="900" y="1800"/>
                  </a:cubicBezTo>
                  <a:cubicBezTo>
                    <a:pt x="1396" y="1800"/>
                    <a:pt x="1800" y="1396"/>
                    <a:pt x="1800" y="900"/>
                  </a:cubicBezTo>
                  <a:cubicBezTo>
                    <a:pt x="1800" y="404"/>
                    <a:pt x="1396" y="0"/>
                    <a:pt x="900" y="0"/>
                  </a:cubicBezTo>
                  <a:close/>
                  <a:moveTo>
                    <a:pt x="518" y="1486"/>
                  </a:moveTo>
                  <a:cubicBezTo>
                    <a:pt x="568" y="1320"/>
                    <a:pt x="722" y="1200"/>
                    <a:pt x="900" y="1200"/>
                  </a:cubicBezTo>
                  <a:cubicBezTo>
                    <a:pt x="1078" y="1200"/>
                    <a:pt x="1232" y="1320"/>
                    <a:pt x="1282" y="1486"/>
                  </a:cubicBezTo>
                  <a:cubicBezTo>
                    <a:pt x="1172" y="1558"/>
                    <a:pt x="1041" y="1600"/>
                    <a:pt x="900" y="1600"/>
                  </a:cubicBezTo>
                  <a:cubicBezTo>
                    <a:pt x="759" y="1600"/>
                    <a:pt x="628" y="1558"/>
                    <a:pt x="518" y="1486"/>
                  </a:cubicBezTo>
                  <a:close/>
                  <a:moveTo>
                    <a:pt x="700" y="800"/>
                  </a:moveTo>
                  <a:cubicBezTo>
                    <a:pt x="700" y="690"/>
                    <a:pt x="790" y="600"/>
                    <a:pt x="900" y="600"/>
                  </a:cubicBezTo>
                  <a:cubicBezTo>
                    <a:pt x="1010" y="600"/>
                    <a:pt x="1100" y="690"/>
                    <a:pt x="1100" y="800"/>
                  </a:cubicBezTo>
                  <a:cubicBezTo>
                    <a:pt x="1100" y="910"/>
                    <a:pt x="1010" y="1000"/>
                    <a:pt x="900" y="1000"/>
                  </a:cubicBezTo>
                  <a:cubicBezTo>
                    <a:pt x="790" y="1000"/>
                    <a:pt x="700" y="910"/>
                    <a:pt x="700" y="800"/>
                  </a:cubicBezTo>
                  <a:close/>
                  <a:moveTo>
                    <a:pt x="1440" y="1345"/>
                  </a:moveTo>
                  <a:cubicBezTo>
                    <a:pt x="1386" y="1230"/>
                    <a:pt x="1298" y="1137"/>
                    <a:pt x="1188" y="1076"/>
                  </a:cubicBezTo>
                  <a:cubicBezTo>
                    <a:pt x="1257" y="1004"/>
                    <a:pt x="1300" y="907"/>
                    <a:pt x="1300" y="800"/>
                  </a:cubicBezTo>
                  <a:cubicBezTo>
                    <a:pt x="1300" y="579"/>
                    <a:pt x="1121" y="400"/>
                    <a:pt x="900" y="400"/>
                  </a:cubicBezTo>
                  <a:cubicBezTo>
                    <a:pt x="679" y="400"/>
                    <a:pt x="500" y="579"/>
                    <a:pt x="500" y="800"/>
                  </a:cubicBezTo>
                  <a:cubicBezTo>
                    <a:pt x="500" y="907"/>
                    <a:pt x="543" y="1004"/>
                    <a:pt x="612" y="1076"/>
                  </a:cubicBezTo>
                  <a:cubicBezTo>
                    <a:pt x="502" y="1137"/>
                    <a:pt x="414" y="1230"/>
                    <a:pt x="360" y="1345"/>
                  </a:cubicBezTo>
                  <a:cubicBezTo>
                    <a:pt x="260" y="1224"/>
                    <a:pt x="200" y="1069"/>
                    <a:pt x="200" y="900"/>
                  </a:cubicBezTo>
                  <a:cubicBezTo>
                    <a:pt x="200" y="514"/>
                    <a:pt x="514" y="200"/>
                    <a:pt x="900" y="200"/>
                  </a:cubicBezTo>
                  <a:cubicBezTo>
                    <a:pt x="1286" y="200"/>
                    <a:pt x="1600" y="514"/>
                    <a:pt x="1600" y="900"/>
                  </a:cubicBezTo>
                  <a:cubicBezTo>
                    <a:pt x="1600" y="1069"/>
                    <a:pt x="1540" y="1224"/>
                    <a:pt x="1440" y="13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8"/>
            <p:cNvSpPr>
              <a:spLocks noEditPoints="1"/>
            </p:cNvSpPr>
            <p:nvPr/>
          </p:nvSpPr>
          <p:spPr bwMode="auto">
            <a:xfrm>
              <a:off x="633412" y="-1870075"/>
              <a:ext cx="1319213" cy="1385888"/>
            </a:xfrm>
            <a:custGeom>
              <a:avLst/>
              <a:gdLst>
                <a:gd name="T0" fmla="*/ 2200 w 4000"/>
                <a:gd name="T1" fmla="*/ 900 h 4200"/>
                <a:gd name="T2" fmla="*/ 2100 w 4000"/>
                <a:gd name="T3" fmla="*/ 1200 h 4200"/>
                <a:gd name="T4" fmla="*/ 1800 w 4000"/>
                <a:gd name="T5" fmla="*/ 1747 h 4200"/>
                <a:gd name="T6" fmla="*/ 1232 w 4000"/>
                <a:gd name="T7" fmla="*/ 2587 h 4200"/>
                <a:gd name="T8" fmla="*/ 0 w 4000"/>
                <a:gd name="T9" fmla="*/ 2491 h 4200"/>
                <a:gd name="T10" fmla="*/ 3100 w 4000"/>
                <a:gd name="T11" fmla="*/ 4200 h 4200"/>
                <a:gd name="T12" fmla="*/ 3378 w 4000"/>
                <a:gd name="T13" fmla="*/ 3789 h 4200"/>
                <a:gd name="T14" fmla="*/ 3522 w 4000"/>
                <a:gd name="T15" fmla="*/ 3300 h 4200"/>
                <a:gd name="T16" fmla="*/ 3522 w 4000"/>
                <a:gd name="T17" fmla="*/ 2900 h 4200"/>
                <a:gd name="T18" fmla="*/ 3300 w 4000"/>
                <a:gd name="T19" fmla="*/ 2400 h 4200"/>
                <a:gd name="T20" fmla="*/ 2600 w 4000"/>
                <a:gd name="T21" fmla="*/ 2200 h 4200"/>
                <a:gd name="T22" fmla="*/ 2594 w 4000"/>
                <a:gd name="T23" fmla="*/ 1644 h 4200"/>
                <a:gd name="T24" fmla="*/ 4000 w 4000"/>
                <a:gd name="T25" fmla="*/ 900 h 4200"/>
                <a:gd name="T26" fmla="*/ 1200 w 4000"/>
                <a:gd name="T27" fmla="*/ 4000 h 4200"/>
                <a:gd name="T28" fmla="*/ 200 w 4000"/>
                <a:gd name="T29" fmla="*/ 2709 h 4200"/>
                <a:gd name="T30" fmla="*/ 1200 w 4000"/>
                <a:gd name="T31" fmla="*/ 4000 h 4200"/>
                <a:gd name="T32" fmla="*/ 3300 w 4000"/>
                <a:gd name="T33" fmla="*/ 2600 h 4200"/>
                <a:gd name="T34" fmla="*/ 3300 w 4000"/>
                <a:gd name="T35" fmla="*/ 2800 h 4200"/>
                <a:gd name="T36" fmla="*/ 2600 w 4000"/>
                <a:gd name="T37" fmla="*/ 3000 h 4200"/>
                <a:gd name="T38" fmla="*/ 3400 w 4000"/>
                <a:gd name="T39" fmla="*/ 3100 h 4200"/>
                <a:gd name="T40" fmla="*/ 2600 w 4000"/>
                <a:gd name="T41" fmla="*/ 3200 h 4200"/>
                <a:gd name="T42" fmla="*/ 3300 w 4000"/>
                <a:gd name="T43" fmla="*/ 3400 h 4200"/>
                <a:gd name="T44" fmla="*/ 3300 w 4000"/>
                <a:gd name="T45" fmla="*/ 3600 h 4200"/>
                <a:gd name="T46" fmla="*/ 2600 w 4000"/>
                <a:gd name="T47" fmla="*/ 3800 h 4200"/>
                <a:gd name="T48" fmla="*/ 3200 w 4000"/>
                <a:gd name="T49" fmla="*/ 3900 h 4200"/>
                <a:gd name="T50" fmla="*/ 1400 w 4000"/>
                <a:gd name="T51" fmla="*/ 4000 h 4200"/>
                <a:gd name="T52" fmla="*/ 1422 w 4000"/>
                <a:gd name="T53" fmla="*/ 2650 h 4200"/>
                <a:gd name="T54" fmla="*/ 2000 w 4000"/>
                <a:gd name="T55" fmla="*/ 1747 h 4200"/>
                <a:gd name="T56" fmla="*/ 2100 w 4000"/>
                <a:gd name="T57" fmla="*/ 1400 h 4200"/>
                <a:gd name="T58" fmla="*/ 2400 w 4000"/>
                <a:gd name="T59" fmla="*/ 2200 h 4200"/>
                <a:gd name="T60" fmla="*/ 3100 w 4000"/>
                <a:gd name="T61" fmla="*/ 1600 h 4200"/>
                <a:gd name="T62" fmla="*/ 3100 w 4000"/>
                <a:gd name="T63" fmla="*/ 200 h 4200"/>
                <a:gd name="T64" fmla="*/ 3100 w 4000"/>
                <a:gd name="T65" fmla="*/ 1600 h 4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00" h="4200">
                  <a:moveTo>
                    <a:pt x="3100" y="0"/>
                  </a:moveTo>
                  <a:cubicBezTo>
                    <a:pt x="2604" y="0"/>
                    <a:pt x="2200" y="404"/>
                    <a:pt x="2200" y="900"/>
                  </a:cubicBezTo>
                  <a:cubicBezTo>
                    <a:pt x="2200" y="1017"/>
                    <a:pt x="2223" y="1128"/>
                    <a:pt x="2263" y="1230"/>
                  </a:cubicBezTo>
                  <a:cubicBezTo>
                    <a:pt x="2212" y="1212"/>
                    <a:pt x="2158" y="1200"/>
                    <a:pt x="2100" y="1200"/>
                  </a:cubicBezTo>
                  <a:cubicBezTo>
                    <a:pt x="1935" y="1200"/>
                    <a:pt x="1800" y="1335"/>
                    <a:pt x="1800" y="1500"/>
                  </a:cubicBezTo>
                  <a:lnTo>
                    <a:pt x="1800" y="1747"/>
                  </a:lnTo>
                  <a:cubicBezTo>
                    <a:pt x="1800" y="1930"/>
                    <a:pt x="1703" y="2102"/>
                    <a:pt x="1546" y="2196"/>
                  </a:cubicBezTo>
                  <a:cubicBezTo>
                    <a:pt x="1398" y="2284"/>
                    <a:pt x="1287" y="2423"/>
                    <a:pt x="1232" y="2587"/>
                  </a:cubicBezTo>
                  <a:lnTo>
                    <a:pt x="1230" y="2594"/>
                  </a:lnTo>
                  <a:lnTo>
                    <a:pt x="0" y="2491"/>
                  </a:lnTo>
                  <a:lnTo>
                    <a:pt x="0" y="4200"/>
                  </a:lnTo>
                  <a:lnTo>
                    <a:pt x="3100" y="4200"/>
                  </a:lnTo>
                  <a:cubicBezTo>
                    <a:pt x="3265" y="4200"/>
                    <a:pt x="3400" y="4065"/>
                    <a:pt x="3400" y="3900"/>
                  </a:cubicBezTo>
                  <a:cubicBezTo>
                    <a:pt x="3400" y="3860"/>
                    <a:pt x="3392" y="3823"/>
                    <a:pt x="3378" y="3789"/>
                  </a:cubicBezTo>
                  <a:cubicBezTo>
                    <a:pt x="3506" y="3754"/>
                    <a:pt x="3600" y="3638"/>
                    <a:pt x="3600" y="3500"/>
                  </a:cubicBezTo>
                  <a:cubicBezTo>
                    <a:pt x="3600" y="3423"/>
                    <a:pt x="3570" y="3353"/>
                    <a:pt x="3522" y="3300"/>
                  </a:cubicBezTo>
                  <a:cubicBezTo>
                    <a:pt x="3570" y="3247"/>
                    <a:pt x="3600" y="3177"/>
                    <a:pt x="3600" y="3100"/>
                  </a:cubicBezTo>
                  <a:cubicBezTo>
                    <a:pt x="3600" y="3023"/>
                    <a:pt x="3570" y="2953"/>
                    <a:pt x="3522" y="2900"/>
                  </a:cubicBezTo>
                  <a:cubicBezTo>
                    <a:pt x="3570" y="2847"/>
                    <a:pt x="3600" y="2777"/>
                    <a:pt x="3600" y="2700"/>
                  </a:cubicBezTo>
                  <a:cubicBezTo>
                    <a:pt x="3600" y="2535"/>
                    <a:pt x="3466" y="2400"/>
                    <a:pt x="3300" y="2400"/>
                  </a:cubicBezTo>
                  <a:lnTo>
                    <a:pt x="2800" y="2400"/>
                  </a:lnTo>
                  <a:cubicBezTo>
                    <a:pt x="2690" y="2400"/>
                    <a:pt x="2600" y="2310"/>
                    <a:pt x="2600" y="2200"/>
                  </a:cubicBezTo>
                  <a:lnTo>
                    <a:pt x="2600" y="1700"/>
                  </a:lnTo>
                  <a:cubicBezTo>
                    <a:pt x="2600" y="1681"/>
                    <a:pt x="2596" y="1663"/>
                    <a:pt x="2594" y="1644"/>
                  </a:cubicBezTo>
                  <a:cubicBezTo>
                    <a:pt x="2739" y="1742"/>
                    <a:pt x="2913" y="1800"/>
                    <a:pt x="3100" y="1800"/>
                  </a:cubicBezTo>
                  <a:cubicBezTo>
                    <a:pt x="3596" y="1800"/>
                    <a:pt x="4000" y="1396"/>
                    <a:pt x="4000" y="900"/>
                  </a:cubicBezTo>
                  <a:cubicBezTo>
                    <a:pt x="4000" y="404"/>
                    <a:pt x="3596" y="0"/>
                    <a:pt x="3100" y="0"/>
                  </a:cubicBezTo>
                  <a:close/>
                  <a:moveTo>
                    <a:pt x="1200" y="4000"/>
                  </a:moveTo>
                  <a:lnTo>
                    <a:pt x="200" y="4000"/>
                  </a:lnTo>
                  <a:lnTo>
                    <a:pt x="200" y="2709"/>
                  </a:lnTo>
                  <a:lnTo>
                    <a:pt x="1200" y="2792"/>
                  </a:lnTo>
                  <a:lnTo>
                    <a:pt x="1200" y="4000"/>
                  </a:lnTo>
                  <a:close/>
                  <a:moveTo>
                    <a:pt x="2800" y="2600"/>
                  </a:moveTo>
                  <a:lnTo>
                    <a:pt x="3300" y="2600"/>
                  </a:lnTo>
                  <a:cubicBezTo>
                    <a:pt x="3355" y="2600"/>
                    <a:pt x="3400" y="2645"/>
                    <a:pt x="3400" y="2700"/>
                  </a:cubicBezTo>
                  <a:cubicBezTo>
                    <a:pt x="3400" y="2755"/>
                    <a:pt x="3355" y="2800"/>
                    <a:pt x="3300" y="2800"/>
                  </a:cubicBezTo>
                  <a:lnTo>
                    <a:pt x="2600" y="2800"/>
                  </a:lnTo>
                  <a:lnTo>
                    <a:pt x="2600" y="3000"/>
                  </a:lnTo>
                  <a:lnTo>
                    <a:pt x="3300" y="3000"/>
                  </a:lnTo>
                  <a:cubicBezTo>
                    <a:pt x="3355" y="3000"/>
                    <a:pt x="3400" y="3045"/>
                    <a:pt x="3400" y="3100"/>
                  </a:cubicBezTo>
                  <a:cubicBezTo>
                    <a:pt x="3400" y="3155"/>
                    <a:pt x="3355" y="3200"/>
                    <a:pt x="3300" y="3200"/>
                  </a:cubicBezTo>
                  <a:lnTo>
                    <a:pt x="2600" y="3200"/>
                  </a:lnTo>
                  <a:lnTo>
                    <a:pt x="2600" y="3400"/>
                  </a:lnTo>
                  <a:lnTo>
                    <a:pt x="3300" y="3400"/>
                  </a:lnTo>
                  <a:cubicBezTo>
                    <a:pt x="3355" y="3400"/>
                    <a:pt x="3400" y="3445"/>
                    <a:pt x="3400" y="3500"/>
                  </a:cubicBezTo>
                  <a:cubicBezTo>
                    <a:pt x="3400" y="3555"/>
                    <a:pt x="3355" y="3600"/>
                    <a:pt x="3300" y="3600"/>
                  </a:cubicBezTo>
                  <a:lnTo>
                    <a:pt x="2600" y="3600"/>
                  </a:lnTo>
                  <a:lnTo>
                    <a:pt x="2600" y="3800"/>
                  </a:lnTo>
                  <a:lnTo>
                    <a:pt x="3100" y="3800"/>
                  </a:lnTo>
                  <a:cubicBezTo>
                    <a:pt x="3155" y="3800"/>
                    <a:pt x="3200" y="3845"/>
                    <a:pt x="3200" y="3900"/>
                  </a:cubicBezTo>
                  <a:cubicBezTo>
                    <a:pt x="3200" y="3955"/>
                    <a:pt x="3155" y="4000"/>
                    <a:pt x="3100" y="4000"/>
                  </a:cubicBezTo>
                  <a:lnTo>
                    <a:pt x="1400" y="4000"/>
                  </a:lnTo>
                  <a:lnTo>
                    <a:pt x="1400" y="2716"/>
                  </a:lnTo>
                  <a:lnTo>
                    <a:pt x="1422" y="2650"/>
                  </a:lnTo>
                  <a:cubicBezTo>
                    <a:pt x="1462" y="2532"/>
                    <a:pt x="1542" y="2431"/>
                    <a:pt x="1649" y="2367"/>
                  </a:cubicBezTo>
                  <a:cubicBezTo>
                    <a:pt x="1866" y="2237"/>
                    <a:pt x="2000" y="2000"/>
                    <a:pt x="2000" y="1747"/>
                  </a:cubicBezTo>
                  <a:lnTo>
                    <a:pt x="2000" y="1500"/>
                  </a:lnTo>
                  <a:cubicBezTo>
                    <a:pt x="2000" y="1445"/>
                    <a:pt x="2045" y="1400"/>
                    <a:pt x="2100" y="1400"/>
                  </a:cubicBezTo>
                  <a:cubicBezTo>
                    <a:pt x="2265" y="1400"/>
                    <a:pt x="2400" y="1535"/>
                    <a:pt x="2400" y="1700"/>
                  </a:cubicBezTo>
                  <a:lnTo>
                    <a:pt x="2400" y="2200"/>
                  </a:lnTo>
                  <a:cubicBezTo>
                    <a:pt x="2400" y="2421"/>
                    <a:pt x="2579" y="2600"/>
                    <a:pt x="2800" y="2600"/>
                  </a:cubicBezTo>
                  <a:close/>
                  <a:moveTo>
                    <a:pt x="3100" y="1600"/>
                  </a:moveTo>
                  <a:cubicBezTo>
                    <a:pt x="2714" y="1600"/>
                    <a:pt x="2400" y="1286"/>
                    <a:pt x="2400" y="900"/>
                  </a:cubicBezTo>
                  <a:cubicBezTo>
                    <a:pt x="2400" y="514"/>
                    <a:pt x="2714" y="200"/>
                    <a:pt x="3100" y="200"/>
                  </a:cubicBezTo>
                  <a:cubicBezTo>
                    <a:pt x="3486" y="200"/>
                    <a:pt x="3800" y="514"/>
                    <a:pt x="3800" y="900"/>
                  </a:cubicBezTo>
                  <a:cubicBezTo>
                    <a:pt x="3800" y="1286"/>
                    <a:pt x="3486" y="1600"/>
                    <a:pt x="3100" y="16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9"/>
            <p:cNvSpPr>
              <a:spLocks noEditPoints="1"/>
            </p:cNvSpPr>
            <p:nvPr/>
          </p:nvSpPr>
          <p:spPr bwMode="auto">
            <a:xfrm>
              <a:off x="2084387" y="-1144588"/>
              <a:ext cx="593725" cy="593725"/>
            </a:xfrm>
            <a:custGeom>
              <a:avLst/>
              <a:gdLst>
                <a:gd name="T0" fmla="*/ 900 w 1800"/>
                <a:gd name="T1" fmla="*/ 0 h 1800"/>
                <a:gd name="T2" fmla="*/ 0 w 1800"/>
                <a:gd name="T3" fmla="*/ 900 h 1800"/>
                <a:gd name="T4" fmla="*/ 900 w 1800"/>
                <a:gd name="T5" fmla="*/ 1800 h 1800"/>
                <a:gd name="T6" fmla="*/ 1800 w 1800"/>
                <a:gd name="T7" fmla="*/ 900 h 1800"/>
                <a:gd name="T8" fmla="*/ 900 w 1800"/>
                <a:gd name="T9" fmla="*/ 0 h 1800"/>
                <a:gd name="T10" fmla="*/ 900 w 1800"/>
                <a:gd name="T11" fmla="*/ 1600 h 1800"/>
                <a:gd name="T12" fmla="*/ 200 w 1800"/>
                <a:gd name="T13" fmla="*/ 900 h 1800"/>
                <a:gd name="T14" fmla="*/ 900 w 1800"/>
                <a:gd name="T15" fmla="*/ 200 h 1800"/>
                <a:gd name="T16" fmla="*/ 1600 w 1800"/>
                <a:gd name="T17" fmla="*/ 900 h 1800"/>
                <a:gd name="T18" fmla="*/ 900 w 1800"/>
                <a:gd name="T19" fmla="*/ 1600 h 1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0" h="1800">
                  <a:moveTo>
                    <a:pt x="900" y="0"/>
                  </a:moveTo>
                  <a:cubicBezTo>
                    <a:pt x="404" y="0"/>
                    <a:pt x="0" y="404"/>
                    <a:pt x="0" y="900"/>
                  </a:cubicBezTo>
                  <a:cubicBezTo>
                    <a:pt x="0" y="1396"/>
                    <a:pt x="404" y="1800"/>
                    <a:pt x="900" y="1800"/>
                  </a:cubicBezTo>
                  <a:cubicBezTo>
                    <a:pt x="1396" y="1800"/>
                    <a:pt x="1800" y="1396"/>
                    <a:pt x="1800" y="900"/>
                  </a:cubicBezTo>
                  <a:cubicBezTo>
                    <a:pt x="1800" y="404"/>
                    <a:pt x="1396" y="0"/>
                    <a:pt x="900" y="0"/>
                  </a:cubicBezTo>
                  <a:close/>
                  <a:moveTo>
                    <a:pt x="900" y="1600"/>
                  </a:moveTo>
                  <a:cubicBezTo>
                    <a:pt x="514" y="1600"/>
                    <a:pt x="200" y="1286"/>
                    <a:pt x="200" y="900"/>
                  </a:cubicBezTo>
                  <a:cubicBezTo>
                    <a:pt x="200" y="514"/>
                    <a:pt x="514" y="200"/>
                    <a:pt x="900" y="200"/>
                  </a:cubicBezTo>
                  <a:cubicBezTo>
                    <a:pt x="1286" y="200"/>
                    <a:pt x="1600" y="514"/>
                    <a:pt x="1600" y="900"/>
                  </a:cubicBezTo>
                  <a:cubicBezTo>
                    <a:pt x="1600" y="1286"/>
                    <a:pt x="1286" y="1600"/>
                    <a:pt x="900" y="16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0"/>
            <p:cNvSpPr>
              <a:spLocks/>
            </p:cNvSpPr>
            <p:nvPr/>
          </p:nvSpPr>
          <p:spPr bwMode="auto">
            <a:xfrm>
              <a:off x="2216150" y="-1012825"/>
              <a:ext cx="330200" cy="263525"/>
            </a:xfrm>
            <a:custGeom>
              <a:avLst/>
              <a:gdLst>
                <a:gd name="T0" fmla="*/ 800 w 1000"/>
                <a:gd name="T1" fmla="*/ 200 h 800"/>
                <a:gd name="T2" fmla="*/ 800 w 1000"/>
                <a:gd name="T3" fmla="*/ 600 h 800"/>
                <a:gd name="T4" fmla="*/ 600 w 1000"/>
                <a:gd name="T5" fmla="*/ 600 h 800"/>
                <a:gd name="T6" fmla="*/ 600 w 1000"/>
                <a:gd name="T7" fmla="*/ 0 h 800"/>
                <a:gd name="T8" fmla="*/ 400 w 1000"/>
                <a:gd name="T9" fmla="*/ 0 h 800"/>
                <a:gd name="T10" fmla="*/ 400 w 1000"/>
                <a:gd name="T11" fmla="*/ 600 h 800"/>
                <a:gd name="T12" fmla="*/ 200 w 1000"/>
                <a:gd name="T13" fmla="*/ 600 h 800"/>
                <a:gd name="T14" fmla="*/ 200 w 1000"/>
                <a:gd name="T15" fmla="*/ 400 h 800"/>
                <a:gd name="T16" fmla="*/ 0 w 1000"/>
                <a:gd name="T17" fmla="*/ 400 h 800"/>
                <a:gd name="T18" fmla="*/ 0 w 1000"/>
                <a:gd name="T19" fmla="*/ 800 h 800"/>
                <a:gd name="T20" fmla="*/ 1000 w 1000"/>
                <a:gd name="T21" fmla="*/ 800 h 800"/>
                <a:gd name="T22" fmla="*/ 1000 w 1000"/>
                <a:gd name="T23" fmla="*/ 200 h 800"/>
                <a:gd name="T24" fmla="*/ 800 w 1000"/>
                <a:gd name="T25" fmla="*/ 20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0" h="800">
                  <a:moveTo>
                    <a:pt x="800" y="200"/>
                  </a:moveTo>
                  <a:lnTo>
                    <a:pt x="800" y="600"/>
                  </a:lnTo>
                  <a:lnTo>
                    <a:pt x="600" y="600"/>
                  </a:lnTo>
                  <a:lnTo>
                    <a:pt x="600" y="0"/>
                  </a:lnTo>
                  <a:lnTo>
                    <a:pt x="400" y="0"/>
                  </a:lnTo>
                  <a:lnTo>
                    <a:pt x="400" y="600"/>
                  </a:lnTo>
                  <a:lnTo>
                    <a:pt x="200" y="600"/>
                  </a:lnTo>
                  <a:lnTo>
                    <a:pt x="200" y="400"/>
                  </a:lnTo>
                  <a:lnTo>
                    <a:pt x="0" y="400"/>
                  </a:lnTo>
                  <a:lnTo>
                    <a:pt x="0" y="800"/>
                  </a:lnTo>
                  <a:lnTo>
                    <a:pt x="1000" y="800"/>
                  </a:lnTo>
                  <a:lnTo>
                    <a:pt x="1000" y="200"/>
                  </a:lnTo>
                  <a:lnTo>
                    <a:pt x="800" y="2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41"/>
            <p:cNvSpPr>
              <a:spLocks noChangeArrowheads="1"/>
            </p:cNvSpPr>
            <p:nvPr/>
          </p:nvSpPr>
          <p:spPr bwMode="auto">
            <a:xfrm>
              <a:off x="1622425" y="-1606550"/>
              <a:ext cx="66675" cy="666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Rectangle 42"/>
            <p:cNvSpPr>
              <a:spLocks noChangeArrowheads="1"/>
            </p:cNvSpPr>
            <p:nvPr/>
          </p:nvSpPr>
          <p:spPr bwMode="auto">
            <a:xfrm>
              <a:off x="1754187" y="-1606550"/>
              <a:ext cx="66675" cy="666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43"/>
            <p:cNvSpPr>
              <a:spLocks noChangeArrowheads="1"/>
            </p:cNvSpPr>
            <p:nvPr/>
          </p:nvSpPr>
          <p:spPr bwMode="auto">
            <a:xfrm>
              <a:off x="1490662" y="-1606550"/>
              <a:ext cx="66675" cy="6667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4"/>
            <p:cNvSpPr>
              <a:spLocks/>
            </p:cNvSpPr>
            <p:nvPr/>
          </p:nvSpPr>
          <p:spPr bwMode="auto">
            <a:xfrm>
              <a:off x="2005012" y="-1655763"/>
              <a:ext cx="441325" cy="433388"/>
            </a:xfrm>
            <a:custGeom>
              <a:avLst/>
              <a:gdLst>
                <a:gd name="T0" fmla="*/ 1057 w 1340"/>
                <a:gd name="T1" fmla="*/ 1100 h 1313"/>
                <a:gd name="T2" fmla="*/ 1191 w 1340"/>
                <a:gd name="T3" fmla="*/ 1313 h 1313"/>
                <a:gd name="T4" fmla="*/ 1340 w 1340"/>
                <a:gd name="T5" fmla="*/ 567 h 1313"/>
                <a:gd name="T6" fmla="*/ 1144 w 1340"/>
                <a:gd name="T7" fmla="*/ 527 h 1313"/>
                <a:gd name="T8" fmla="*/ 1090 w 1340"/>
                <a:gd name="T9" fmla="*/ 796 h 1313"/>
                <a:gd name="T10" fmla="*/ 84 w 1340"/>
                <a:gd name="T11" fmla="*/ 0 h 1313"/>
                <a:gd name="T12" fmla="*/ 0 w 1340"/>
                <a:gd name="T13" fmla="*/ 181 h 1313"/>
                <a:gd name="T14" fmla="*/ 1057 w 1340"/>
                <a:gd name="T15" fmla="*/ 1100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40" h="1313">
                  <a:moveTo>
                    <a:pt x="1057" y="1100"/>
                  </a:moveTo>
                  <a:lnTo>
                    <a:pt x="1191" y="1313"/>
                  </a:lnTo>
                  <a:lnTo>
                    <a:pt x="1340" y="567"/>
                  </a:lnTo>
                  <a:lnTo>
                    <a:pt x="1144" y="527"/>
                  </a:lnTo>
                  <a:lnTo>
                    <a:pt x="1090" y="796"/>
                  </a:lnTo>
                  <a:cubicBezTo>
                    <a:pt x="832" y="454"/>
                    <a:pt x="507" y="198"/>
                    <a:pt x="84" y="0"/>
                  </a:cubicBezTo>
                  <a:lnTo>
                    <a:pt x="0" y="181"/>
                  </a:lnTo>
                  <a:cubicBezTo>
                    <a:pt x="464" y="398"/>
                    <a:pt x="800" y="690"/>
                    <a:pt x="1057" y="1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5"/>
            <p:cNvSpPr>
              <a:spLocks/>
            </p:cNvSpPr>
            <p:nvPr/>
          </p:nvSpPr>
          <p:spPr bwMode="auto">
            <a:xfrm>
              <a:off x="847725" y="-1638300"/>
              <a:ext cx="433388" cy="441325"/>
            </a:xfrm>
            <a:custGeom>
              <a:avLst/>
              <a:gdLst>
                <a:gd name="T0" fmla="*/ 0 w 1313"/>
                <a:gd name="T1" fmla="*/ 1256 h 1340"/>
                <a:gd name="T2" fmla="*/ 181 w 1313"/>
                <a:gd name="T3" fmla="*/ 1340 h 1340"/>
                <a:gd name="T4" fmla="*/ 1100 w 1313"/>
                <a:gd name="T5" fmla="*/ 283 h 1340"/>
                <a:gd name="T6" fmla="*/ 1313 w 1313"/>
                <a:gd name="T7" fmla="*/ 149 h 1340"/>
                <a:gd name="T8" fmla="*/ 567 w 1313"/>
                <a:gd name="T9" fmla="*/ 0 h 1340"/>
                <a:gd name="T10" fmla="*/ 527 w 1313"/>
                <a:gd name="T11" fmla="*/ 196 h 1340"/>
                <a:gd name="T12" fmla="*/ 796 w 1313"/>
                <a:gd name="T13" fmla="*/ 250 h 1340"/>
                <a:gd name="T14" fmla="*/ 0 w 1313"/>
                <a:gd name="T15" fmla="*/ 1256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3" h="1340">
                  <a:moveTo>
                    <a:pt x="0" y="1256"/>
                  </a:moveTo>
                  <a:lnTo>
                    <a:pt x="181" y="1340"/>
                  </a:lnTo>
                  <a:cubicBezTo>
                    <a:pt x="398" y="876"/>
                    <a:pt x="690" y="540"/>
                    <a:pt x="1100" y="283"/>
                  </a:cubicBezTo>
                  <a:lnTo>
                    <a:pt x="1313" y="149"/>
                  </a:lnTo>
                  <a:lnTo>
                    <a:pt x="567" y="0"/>
                  </a:lnTo>
                  <a:lnTo>
                    <a:pt x="527" y="196"/>
                  </a:lnTo>
                  <a:lnTo>
                    <a:pt x="796" y="250"/>
                  </a:lnTo>
                  <a:cubicBezTo>
                    <a:pt x="453" y="508"/>
                    <a:pt x="198" y="833"/>
                    <a:pt x="0" y="125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6"/>
            <p:cNvSpPr>
              <a:spLocks/>
            </p:cNvSpPr>
            <p:nvPr/>
          </p:nvSpPr>
          <p:spPr bwMode="auto">
            <a:xfrm>
              <a:off x="865187" y="-473075"/>
              <a:ext cx="441325" cy="431800"/>
            </a:xfrm>
            <a:custGeom>
              <a:avLst/>
              <a:gdLst>
                <a:gd name="T0" fmla="*/ 283 w 1340"/>
                <a:gd name="T1" fmla="*/ 213 h 1313"/>
                <a:gd name="T2" fmla="*/ 149 w 1340"/>
                <a:gd name="T3" fmla="*/ 0 h 1313"/>
                <a:gd name="T4" fmla="*/ 0 w 1340"/>
                <a:gd name="T5" fmla="*/ 746 h 1313"/>
                <a:gd name="T6" fmla="*/ 196 w 1340"/>
                <a:gd name="T7" fmla="*/ 786 h 1313"/>
                <a:gd name="T8" fmla="*/ 250 w 1340"/>
                <a:gd name="T9" fmla="*/ 517 h 1313"/>
                <a:gd name="T10" fmla="*/ 1256 w 1340"/>
                <a:gd name="T11" fmla="*/ 1313 h 1313"/>
                <a:gd name="T12" fmla="*/ 1340 w 1340"/>
                <a:gd name="T13" fmla="*/ 1132 h 1313"/>
                <a:gd name="T14" fmla="*/ 283 w 1340"/>
                <a:gd name="T15" fmla="*/ 2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40" h="1313">
                  <a:moveTo>
                    <a:pt x="283" y="213"/>
                  </a:moveTo>
                  <a:lnTo>
                    <a:pt x="149" y="0"/>
                  </a:lnTo>
                  <a:lnTo>
                    <a:pt x="0" y="746"/>
                  </a:lnTo>
                  <a:lnTo>
                    <a:pt x="196" y="786"/>
                  </a:lnTo>
                  <a:lnTo>
                    <a:pt x="250" y="517"/>
                  </a:lnTo>
                  <a:cubicBezTo>
                    <a:pt x="508" y="859"/>
                    <a:pt x="833" y="1115"/>
                    <a:pt x="1256" y="1313"/>
                  </a:cubicBezTo>
                  <a:lnTo>
                    <a:pt x="1340" y="1132"/>
                  </a:lnTo>
                  <a:cubicBezTo>
                    <a:pt x="876" y="915"/>
                    <a:pt x="540" y="623"/>
                    <a:pt x="283" y="2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7"/>
            <p:cNvSpPr>
              <a:spLocks/>
            </p:cNvSpPr>
            <p:nvPr/>
          </p:nvSpPr>
          <p:spPr bwMode="auto">
            <a:xfrm>
              <a:off x="2030412" y="-498475"/>
              <a:ext cx="431800" cy="441325"/>
            </a:xfrm>
            <a:custGeom>
              <a:avLst/>
              <a:gdLst>
                <a:gd name="T0" fmla="*/ 1313 w 1313"/>
                <a:gd name="T1" fmla="*/ 84 h 1340"/>
                <a:gd name="T2" fmla="*/ 1132 w 1313"/>
                <a:gd name="T3" fmla="*/ 0 h 1340"/>
                <a:gd name="T4" fmla="*/ 213 w 1313"/>
                <a:gd name="T5" fmla="*/ 1057 h 1340"/>
                <a:gd name="T6" fmla="*/ 0 w 1313"/>
                <a:gd name="T7" fmla="*/ 1191 h 1340"/>
                <a:gd name="T8" fmla="*/ 746 w 1313"/>
                <a:gd name="T9" fmla="*/ 1340 h 1340"/>
                <a:gd name="T10" fmla="*/ 786 w 1313"/>
                <a:gd name="T11" fmla="*/ 1144 h 1340"/>
                <a:gd name="T12" fmla="*/ 517 w 1313"/>
                <a:gd name="T13" fmla="*/ 1090 h 1340"/>
                <a:gd name="T14" fmla="*/ 1313 w 1313"/>
                <a:gd name="T15" fmla="*/ 84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3" h="1340">
                  <a:moveTo>
                    <a:pt x="1313" y="84"/>
                  </a:moveTo>
                  <a:lnTo>
                    <a:pt x="1132" y="0"/>
                  </a:lnTo>
                  <a:cubicBezTo>
                    <a:pt x="915" y="464"/>
                    <a:pt x="623" y="800"/>
                    <a:pt x="213" y="1057"/>
                  </a:cubicBezTo>
                  <a:lnTo>
                    <a:pt x="0" y="1191"/>
                  </a:lnTo>
                  <a:lnTo>
                    <a:pt x="746" y="1340"/>
                  </a:lnTo>
                  <a:lnTo>
                    <a:pt x="786" y="1144"/>
                  </a:lnTo>
                  <a:lnTo>
                    <a:pt x="517" y="1090"/>
                  </a:lnTo>
                  <a:cubicBezTo>
                    <a:pt x="860" y="832"/>
                    <a:pt x="1115" y="507"/>
                    <a:pt x="1313" y="8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" name="Group 50"/>
          <p:cNvGrpSpPr>
            <a:grpSpLocks noChangeAspect="1"/>
          </p:cNvGrpSpPr>
          <p:nvPr/>
        </p:nvGrpSpPr>
        <p:grpSpPr bwMode="auto">
          <a:xfrm>
            <a:off x="1340937" y="2370327"/>
            <a:ext cx="582509" cy="603098"/>
            <a:chOff x="5351" y="-1178"/>
            <a:chExt cx="679" cy="703"/>
          </a:xfrm>
          <a:gradFill>
            <a:gsLst>
              <a:gs pos="0">
                <a:srgbClr val="A136A0">
                  <a:alpha val="90000"/>
                </a:srgbClr>
              </a:gs>
              <a:gs pos="100000">
                <a:srgbClr val="7030A0">
                  <a:alpha val="89000"/>
                </a:srgbClr>
              </a:gs>
            </a:gsLst>
            <a:lin ang="12600000" scaled="0"/>
          </a:gradFill>
        </p:grpSpPr>
        <p:sp>
          <p:nvSpPr>
            <p:cNvPr id="56" name="Rectangle 51"/>
            <p:cNvSpPr>
              <a:spLocks noChangeArrowheads="1"/>
            </p:cNvSpPr>
            <p:nvPr/>
          </p:nvSpPr>
          <p:spPr bwMode="auto">
            <a:xfrm>
              <a:off x="5655" y="-1073"/>
              <a:ext cx="317" cy="24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52"/>
            <p:cNvSpPr>
              <a:spLocks noChangeArrowheads="1"/>
            </p:cNvSpPr>
            <p:nvPr/>
          </p:nvSpPr>
          <p:spPr bwMode="auto">
            <a:xfrm>
              <a:off x="5655" y="-1026"/>
              <a:ext cx="200" cy="24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53"/>
            <p:cNvSpPr>
              <a:spLocks noChangeArrowheads="1"/>
            </p:cNvSpPr>
            <p:nvPr/>
          </p:nvSpPr>
          <p:spPr bwMode="auto">
            <a:xfrm>
              <a:off x="5655" y="-979"/>
              <a:ext cx="200" cy="24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54"/>
            <p:cNvSpPr>
              <a:spLocks noChangeArrowheads="1"/>
            </p:cNvSpPr>
            <p:nvPr/>
          </p:nvSpPr>
          <p:spPr bwMode="auto">
            <a:xfrm>
              <a:off x="5749" y="-1119"/>
              <a:ext cx="223" cy="2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Rectangle 55"/>
            <p:cNvSpPr>
              <a:spLocks noChangeArrowheads="1"/>
            </p:cNvSpPr>
            <p:nvPr/>
          </p:nvSpPr>
          <p:spPr bwMode="auto">
            <a:xfrm>
              <a:off x="5702" y="-1119"/>
              <a:ext cx="24" cy="2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Rectangle 56"/>
            <p:cNvSpPr>
              <a:spLocks noChangeArrowheads="1"/>
            </p:cNvSpPr>
            <p:nvPr/>
          </p:nvSpPr>
          <p:spPr bwMode="auto">
            <a:xfrm>
              <a:off x="5679" y="-709"/>
              <a:ext cx="23" cy="2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7"/>
            <p:cNvSpPr>
              <a:spLocks/>
            </p:cNvSpPr>
            <p:nvPr/>
          </p:nvSpPr>
          <p:spPr bwMode="auto">
            <a:xfrm>
              <a:off x="5490" y="-1116"/>
              <a:ext cx="45" cy="63"/>
            </a:xfrm>
            <a:custGeom>
              <a:avLst/>
              <a:gdLst>
                <a:gd name="T0" fmla="*/ 381 w 381"/>
                <a:gd name="T1" fmla="*/ 142 h 542"/>
                <a:gd name="T2" fmla="*/ 239 w 381"/>
                <a:gd name="T3" fmla="*/ 0 h 542"/>
                <a:gd name="T4" fmla="*/ 39 w 381"/>
                <a:gd name="T5" fmla="*/ 200 h 542"/>
                <a:gd name="T6" fmla="*/ 39 w 381"/>
                <a:gd name="T7" fmla="*/ 342 h 542"/>
                <a:gd name="T8" fmla="*/ 239 w 381"/>
                <a:gd name="T9" fmla="*/ 542 h 542"/>
                <a:gd name="T10" fmla="*/ 381 w 381"/>
                <a:gd name="T11" fmla="*/ 400 h 542"/>
                <a:gd name="T12" fmla="*/ 251 w 381"/>
                <a:gd name="T13" fmla="*/ 271 h 542"/>
                <a:gd name="T14" fmla="*/ 381 w 381"/>
                <a:gd name="T15" fmla="*/ 142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1" h="542">
                  <a:moveTo>
                    <a:pt x="381" y="142"/>
                  </a:moveTo>
                  <a:lnTo>
                    <a:pt x="239" y="0"/>
                  </a:lnTo>
                  <a:lnTo>
                    <a:pt x="39" y="200"/>
                  </a:lnTo>
                  <a:cubicBezTo>
                    <a:pt x="0" y="239"/>
                    <a:pt x="0" y="303"/>
                    <a:pt x="39" y="342"/>
                  </a:cubicBezTo>
                  <a:lnTo>
                    <a:pt x="239" y="542"/>
                  </a:lnTo>
                  <a:lnTo>
                    <a:pt x="381" y="400"/>
                  </a:lnTo>
                  <a:lnTo>
                    <a:pt x="251" y="271"/>
                  </a:lnTo>
                  <a:lnTo>
                    <a:pt x="381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8"/>
            <p:cNvSpPr>
              <a:spLocks/>
            </p:cNvSpPr>
            <p:nvPr/>
          </p:nvSpPr>
          <p:spPr bwMode="auto">
            <a:xfrm>
              <a:off x="5588" y="-1116"/>
              <a:ext cx="45" cy="63"/>
            </a:xfrm>
            <a:custGeom>
              <a:avLst/>
              <a:gdLst>
                <a:gd name="T0" fmla="*/ 342 w 381"/>
                <a:gd name="T1" fmla="*/ 200 h 542"/>
                <a:gd name="T2" fmla="*/ 142 w 381"/>
                <a:gd name="T3" fmla="*/ 0 h 542"/>
                <a:gd name="T4" fmla="*/ 0 w 381"/>
                <a:gd name="T5" fmla="*/ 142 h 542"/>
                <a:gd name="T6" fmla="*/ 130 w 381"/>
                <a:gd name="T7" fmla="*/ 271 h 542"/>
                <a:gd name="T8" fmla="*/ 0 w 381"/>
                <a:gd name="T9" fmla="*/ 400 h 542"/>
                <a:gd name="T10" fmla="*/ 142 w 381"/>
                <a:gd name="T11" fmla="*/ 542 h 542"/>
                <a:gd name="T12" fmla="*/ 342 w 381"/>
                <a:gd name="T13" fmla="*/ 342 h 542"/>
                <a:gd name="T14" fmla="*/ 342 w 381"/>
                <a:gd name="T15" fmla="*/ 20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1" h="542">
                  <a:moveTo>
                    <a:pt x="342" y="200"/>
                  </a:moveTo>
                  <a:lnTo>
                    <a:pt x="142" y="0"/>
                  </a:lnTo>
                  <a:lnTo>
                    <a:pt x="0" y="142"/>
                  </a:lnTo>
                  <a:lnTo>
                    <a:pt x="130" y="271"/>
                  </a:lnTo>
                  <a:lnTo>
                    <a:pt x="0" y="400"/>
                  </a:lnTo>
                  <a:lnTo>
                    <a:pt x="142" y="542"/>
                  </a:lnTo>
                  <a:lnTo>
                    <a:pt x="342" y="342"/>
                  </a:lnTo>
                  <a:cubicBezTo>
                    <a:pt x="381" y="303"/>
                    <a:pt x="381" y="239"/>
                    <a:pt x="342" y="2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9"/>
            <p:cNvSpPr>
              <a:spLocks/>
            </p:cNvSpPr>
            <p:nvPr/>
          </p:nvSpPr>
          <p:spPr bwMode="auto">
            <a:xfrm>
              <a:off x="5539" y="-1123"/>
              <a:ext cx="45" cy="78"/>
            </a:xfrm>
            <a:custGeom>
              <a:avLst/>
              <a:gdLst>
                <a:gd name="T0" fmla="*/ 0 w 390"/>
                <a:gd name="T1" fmla="*/ 600 h 664"/>
                <a:gd name="T2" fmla="*/ 200 w 390"/>
                <a:gd name="T3" fmla="*/ 0 h 664"/>
                <a:gd name="T4" fmla="*/ 390 w 390"/>
                <a:gd name="T5" fmla="*/ 64 h 664"/>
                <a:gd name="T6" fmla="*/ 190 w 390"/>
                <a:gd name="T7" fmla="*/ 664 h 664"/>
                <a:gd name="T8" fmla="*/ 0 w 390"/>
                <a:gd name="T9" fmla="*/ 600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0" h="664">
                  <a:moveTo>
                    <a:pt x="0" y="600"/>
                  </a:moveTo>
                  <a:lnTo>
                    <a:pt x="200" y="0"/>
                  </a:lnTo>
                  <a:lnTo>
                    <a:pt x="390" y="64"/>
                  </a:lnTo>
                  <a:lnTo>
                    <a:pt x="190" y="664"/>
                  </a:lnTo>
                  <a:lnTo>
                    <a:pt x="0" y="6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60"/>
            <p:cNvSpPr>
              <a:spLocks/>
            </p:cNvSpPr>
            <p:nvPr/>
          </p:nvSpPr>
          <p:spPr bwMode="auto">
            <a:xfrm>
              <a:off x="5714" y="-932"/>
              <a:ext cx="258" cy="141"/>
            </a:xfrm>
            <a:custGeom>
              <a:avLst/>
              <a:gdLst>
                <a:gd name="T0" fmla="*/ 2000 w 2200"/>
                <a:gd name="T1" fmla="*/ 1000 h 1200"/>
                <a:gd name="T2" fmla="*/ 2000 w 2200"/>
                <a:gd name="T3" fmla="*/ 200 h 1200"/>
                <a:gd name="T4" fmla="*/ 1800 w 2200"/>
                <a:gd name="T5" fmla="*/ 200 h 1200"/>
                <a:gd name="T6" fmla="*/ 1800 w 2200"/>
                <a:gd name="T7" fmla="*/ 1000 h 1200"/>
                <a:gd name="T8" fmla="*/ 1600 w 2200"/>
                <a:gd name="T9" fmla="*/ 1000 h 1200"/>
                <a:gd name="T10" fmla="*/ 1600 w 2200"/>
                <a:gd name="T11" fmla="*/ 0 h 1200"/>
                <a:gd name="T12" fmla="*/ 1400 w 2200"/>
                <a:gd name="T13" fmla="*/ 0 h 1200"/>
                <a:gd name="T14" fmla="*/ 1400 w 2200"/>
                <a:gd name="T15" fmla="*/ 1000 h 1200"/>
                <a:gd name="T16" fmla="*/ 1200 w 2200"/>
                <a:gd name="T17" fmla="*/ 1000 h 1200"/>
                <a:gd name="T18" fmla="*/ 1200 w 2200"/>
                <a:gd name="T19" fmla="*/ 500 h 1200"/>
                <a:gd name="T20" fmla="*/ 1000 w 2200"/>
                <a:gd name="T21" fmla="*/ 500 h 1200"/>
                <a:gd name="T22" fmla="*/ 1000 w 2200"/>
                <a:gd name="T23" fmla="*/ 1000 h 1200"/>
                <a:gd name="T24" fmla="*/ 800 w 2200"/>
                <a:gd name="T25" fmla="*/ 1000 h 1200"/>
                <a:gd name="T26" fmla="*/ 800 w 2200"/>
                <a:gd name="T27" fmla="*/ 400 h 1200"/>
                <a:gd name="T28" fmla="*/ 600 w 2200"/>
                <a:gd name="T29" fmla="*/ 400 h 1200"/>
                <a:gd name="T30" fmla="*/ 600 w 2200"/>
                <a:gd name="T31" fmla="*/ 1000 h 1200"/>
                <a:gd name="T32" fmla="*/ 400 w 2200"/>
                <a:gd name="T33" fmla="*/ 1000 h 1200"/>
                <a:gd name="T34" fmla="*/ 400 w 2200"/>
                <a:gd name="T35" fmla="*/ 600 h 1200"/>
                <a:gd name="T36" fmla="*/ 200 w 2200"/>
                <a:gd name="T37" fmla="*/ 600 h 1200"/>
                <a:gd name="T38" fmla="*/ 200 w 2200"/>
                <a:gd name="T39" fmla="*/ 1000 h 1200"/>
                <a:gd name="T40" fmla="*/ 0 w 2200"/>
                <a:gd name="T41" fmla="*/ 1000 h 1200"/>
                <a:gd name="T42" fmla="*/ 0 w 2200"/>
                <a:gd name="T43" fmla="*/ 1200 h 1200"/>
                <a:gd name="T44" fmla="*/ 2200 w 2200"/>
                <a:gd name="T45" fmla="*/ 1200 h 1200"/>
                <a:gd name="T46" fmla="*/ 2200 w 2200"/>
                <a:gd name="T47" fmla="*/ 1000 h 1200"/>
                <a:gd name="T48" fmla="*/ 2000 w 2200"/>
                <a:gd name="T49" fmla="*/ 1000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00" h="1200">
                  <a:moveTo>
                    <a:pt x="2000" y="1000"/>
                  </a:moveTo>
                  <a:lnTo>
                    <a:pt x="2000" y="200"/>
                  </a:lnTo>
                  <a:lnTo>
                    <a:pt x="1800" y="200"/>
                  </a:lnTo>
                  <a:lnTo>
                    <a:pt x="1800" y="1000"/>
                  </a:lnTo>
                  <a:lnTo>
                    <a:pt x="1600" y="1000"/>
                  </a:lnTo>
                  <a:lnTo>
                    <a:pt x="1600" y="0"/>
                  </a:lnTo>
                  <a:lnTo>
                    <a:pt x="1400" y="0"/>
                  </a:lnTo>
                  <a:lnTo>
                    <a:pt x="1400" y="1000"/>
                  </a:lnTo>
                  <a:lnTo>
                    <a:pt x="1200" y="1000"/>
                  </a:lnTo>
                  <a:lnTo>
                    <a:pt x="1200" y="500"/>
                  </a:lnTo>
                  <a:lnTo>
                    <a:pt x="1000" y="500"/>
                  </a:lnTo>
                  <a:lnTo>
                    <a:pt x="1000" y="1000"/>
                  </a:lnTo>
                  <a:lnTo>
                    <a:pt x="800" y="1000"/>
                  </a:lnTo>
                  <a:lnTo>
                    <a:pt x="800" y="400"/>
                  </a:lnTo>
                  <a:lnTo>
                    <a:pt x="600" y="400"/>
                  </a:lnTo>
                  <a:lnTo>
                    <a:pt x="600" y="1000"/>
                  </a:lnTo>
                  <a:lnTo>
                    <a:pt x="400" y="1000"/>
                  </a:lnTo>
                  <a:lnTo>
                    <a:pt x="400" y="600"/>
                  </a:lnTo>
                  <a:lnTo>
                    <a:pt x="200" y="600"/>
                  </a:lnTo>
                  <a:lnTo>
                    <a:pt x="200" y="1000"/>
                  </a:lnTo>
                  <a:lnTo>
                    <a:pt x="0" y="1000"/>
                  </a:lnTo>
                  <a:lnTo>
                    <a:pt x="0" y="1200"/>
                  </a:lnTo>
                  <a:lnTo>
                    <a:pt x="2200" y="1200"/>
                  </a:lnTo>
                  <a:lnTo>
                    <a:pt x="2200" y="1000"/>
                  </a:lnTo>
                  <a:lnTo>
                    <a:pt x="2000" y="10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61"/>
            <p:cNvSpPr>
              <a:spLocks noEditPoints="1"/>
            </p:cNvSpPr>
            <p:nvPr/>
          </p:nvSpPr>
          <p:spPr bwMode="auto">
            <a:xfrm>
              <a:off x="5351" y="-1178"/>
              <a:ext cx="679" cy="703"/>
            </a:xfrm>
            <a:custGeom>
              <a:avLst/>
              <a:gdLst>
                <a:gd name="T0" fmla="*/ 600 w 5800"/>
                <a:gd name="T1" fmla="*/ 0 h 6000"/>
                <a:gd name="T2" fmla="*/ 0 w 5800"/>
                <a:gd name="T3" fmla="*/ 2563 h 6000"/>
                <a:gd name="T4" fmla="*/ 0 w 5800"/>
                <a:gd name="T5" fmla="*/ 3700 h 6000"/>
                <a:gd name="T6" fmla="*/ 600 w 5800"/>
                <a:gd name="T7" fmla="*/ 4600 h 6000"/>
                <a:gd name="T8" fmla="*/ 1438 w 5800"/>
                <a:gd name="T9" fmla="*/ 5400 h 6000"/>
                <a:gd name="T10" fmla="*/ 600 w 5800"/>
                <a:gd name="T11" fmla="*/ 5700 h 6000"/>
                <a:gd name="T12" fmla="*/ 4900 w 5800"/>
                <a:gd name="T13" fmla="*/ 6000 h 6000"/>
                <a:gd name="T14" fmla="*/ 4900 w 5800"/>
                <a:gd name="T15" fmla="*/ 5400 h 6000"/>
                <a:gd name="T16" fmla="*/ 3962 w 5800"/>
                <a:gd name="T17" fmla="*/ 4600 h 6000"/>
                <a:gd name="T18" fmla="*/ 5800 w 5800"/>
                <a:gd name="T19" fmla="*/ 4000 h 6000"/>
                <a:gd name="T20" fmla="*/ 5200 w 5800"/>
                <a:gd name="T21" fmla="*/ 0 h 6000"/>
                <a:gd name="T22" fmla="*/ 427 w 5800"/>
                <a:gd name="T23" fmla="*/ 1678 h 6000"/>
                <a:gd name="T24" fmla="*/ 810 w 5800"/>
                <a:gd name="T25" fmla="*/ 1713 h 6000"/>
                <a:gd name="T26" fmla="*/ 1114 w 5800"/>
                <a:gd name="T27" fmla="*/ 1407 h 6000"/>
                <a:gd name="T28" fmla="*/ 1363 w 5800"/>
                <a:gd name="T29" fmla="*/ 1832 h 6000"/>
                <a:gd name="T30" fmla="*/ 1652 w 5800"/>
                <a:gd name="T31" fmla="*/ 2086 h 6000"/>
                <a:gd name="T32" fmla="*/ 2078 w 5800"/>
                <a:gd name="T33" fmla="*/ 2017 h 6000"/>
                <a:gd name="T34" fmla="*/ 2030 w 5800"/>
                <a:gd name="T35" fmla="*/ 2508 h 6000"/>
                <a:gd name="T36" fmla="*/ 2115 w 5800"/>
                <a:gd name="T37" fmla="*/ 2883 h 6000"/>
                <a:gd name="T38" fmla="*/ 2500 w 5800"/>
                <a:gd name="T39" fmla="*/ 3078 h 6000"/>
                <a:gd name="T40" fmla="*/ 2172 w 5800"/>
                <a:gd name="T41" fmla="*/ 3446 h 6000"/>
                <a:gd name="T42" fmla="*/ 2085 w 5800"/>
                <a:gd name="T43" fmla="*/ 3600 h 6000"/>
                <a:gd name="T44" fmla="*/ 1065 w 5800"/>
                <a:gd name="T45" fmla="*/ 2345 h 6000"/>
                <a:gd name="T46" fmla="*/ 200 w 5800"/>
                <a:gd name="T47" fmla="*/ 1407 h 6000"/>
                <a:gd name="T48" fmla="*/ 1243 w 5800"/>
                <a:gd name="T49" fmla="*/ 2739 h 6000"/>
                <a:gd name="T50" fmla="*/ 200 w 5800"/>
                <a:gd name="T51" fmla="*/ 3600 h 6000"/>
                <a:gd name="T52" fmla="*/ 4900 w 5800"/>
                <a:gd name="T53" fmla="*/ 5600 h 6000"/>
                <a:gd name="T54" fmla="*/ 4900 w 5800"/>
                <a:gd name="T55" fmla="*/ 5800 h 6000"/>
                <a:gd name="T56" fmla="*/ 800 w 5800"/>
                <a:gd name="T57" fmla="*/ 5700 h 6000"/>
                <a:gd name="T58" fmla="*/ 4900 w 5800"/>
                <a:gd name="T59" fmla="*/ 5600 h 6000"/>
                <a:gd name="T60" fmla="*/ 1662 w 5800"/>
                <a:gd name="T61" fmla="*/ 5400 h 6000"/>
                <a:gd name="T62" fmla="*/ 3738 w 5800"/>
                <a:gd name="T63" fmla="*/ 4600 h 6000"/>
                <a:gd name="T64" fmla="*/ 5600 w 5800"/>
                <a:gd name="T65" fmla="*/ 4000 h 6000"/>
                <a:gd name="T66" fmla="*/ 600 w 5800"/>
                <a:gd name="T67" fmla="*/ 4400 h 6000"/>
                <a:gd name="T68" fmla="*/ 200 w 5800"/>
                <a:gd name="T69" fmla="*/ 3800 h 6000"/>
                <a:gd name="T70" fmla="*/ 1333 w 5800"/>
                <a:gd name="T71" fmla="*/ 3800 h 6000"/>
                <a:gd name="T72" fmla="*/ 5600 w 5800"/>
                <a:gd name="T73" fmla="*/ 4000 h 6000"/>
                <a:gd name="T74" fmla="*/ 2326 w 5800"/>
                <a:gd name="T75" fmla="*/ 3600 h 6000"/>
                <a:gd name="T76" fmla="*/ 2700 w 5800"/>
                <a:gd name="T77" fmla="*/ 3381 h 6000"/>
                <a:gd name="T78" fmla="*/ 2638 w 5800"/>
                <a:gd name="T79" fmla="*/ 2917 h 6000"/>
                <a:gd name="T80" fmla="*/ 2224 w 5800"/>
                <a:gd name="T81" fmla="*/ 2574 h 6000"/>
                <a:gd name="T82" fmla="*/ 2418 w 5800"/>
                <a:gd name="T83" fmla="*/ 2145 h 6000"/>
                <a:gd name="T84" fmla="*/ 2095 w 5800"/>
                <a:gd name="T85" fmla="*/ 1806 h 6000"/>
                <a:gd name="T86" fmla="*/ 1560 w 5800"/>
                <a:gd name="T87" fmla="*/ 1772 h 6000"/>
                <a:gd name="T88" fmla="*/ 1465 w 5800"/>
                <a:gd name="T89" fmla="*/ 1310 h 6000"/>
                <a:gd name="T90" fmla="*/ 1005 w 5800"/>
                <a:gd name="T91" fmla="*/ 1227 h 6000"/>
                <a:gd name="T92" fmla="*/ 551 w 5800"/>
                <a:gd name="T93" fmla="*/ 1513 h 6000"/>
                <a:gd name="T94" fmla="*/ 202 w 5800"/>
                <a:gd name="T95" fmla="*/ 1196 h 6000"/>
                <a:gd name="T96" fmla="*/ 200 w 5800"/>
                <a:gd name="T97" fmla="*/ 600 h 6000"/>
                <a:gd name="T98" fmla="*/ 5200 w 5800"/>
                <a:gd name="T99" fmla="*/ 200 h 6000"/>
                <a:gd name="T100" fmla="*/ 5600 w 5800"/>
                <a:gd name="T101" fmla="*/ 3600 h 6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800" h="6000">
                  <a:moveTo>
                    <a:pt x="5200" y="0"/>
                  </a:moveTo>
                  <a:lnTo>
                    <a:pt x="600" y="0"/>
                  </a:lnTo>
                  <a:cubicBezTo>
                    <a:pt x="269" y="0"/>
                    <a:pt x="0" y="269"/>
                    <a:pt x="0" y="600"/>
                  </a:cubicBezTo>
                  <a:lnTo>
                    <a:pt x="0" y="2563"/>
                  </a:lnTo>
                  <a:lnTo>
                    <a:pt x="0" y="2564"/>
                  </a:lnTo>
                  <a:lnTo>
                    <a:pt x="0" y="3700"/>
                  </a:lnTo>
                  <a:lnTo>
                    <a:pt x="0" y="4000"/>
                  </a:lnTo>
                  <a:cubicBezTo>
                    <a:pt x="0" y="4331"/>
                    <a:pt x="269" y="4600"/>
                    <a:pt x="600" y="4600"/>
                  </a:cubicBezTo>
                  <a:lnTo>
                    <a:pt x="1838" y="4600"/>
                  </a:lnTo>
                  <a:lnTo>
                    <a:pt x="1438" y="5400"/>
                  </a:lnTo>
                  <a:lnTo>
                    <a:pt x="900" y="5400"/>
                  </a:lnTo>
                  <a:cubicBezTo>
                    <a:pt x="734" y="5400"/>
                    <a:pt x="600" y="5534"/>
                    <a:pt x="600" y="5700"/>
                  </a:cubicBezTo>
                  <a:cubicBezTo>
                    <a:pt x="600" y="5866"/>
                    <a:pt x="734" y="6000"/>
                    <a:pt x="900" y="6000"/>
                  </a:cubicBezTo>
                  <a:lnTo>
                    <a:pt x="4900" y="6000"/>
                  </a:lnTo>
                  <a:cubicBezTo>
                    <a:pt x="5066" y="6000"/>
                    <a:pt x="5200" y="5866"/>
                    <a:pt x="5200" y="5700"/>
                  </a:cubicBezTo>
                  <a:cubicBezTo>
                    <a:pt x="5200" y="5534"/>
                    <a:pt x="5066" y="5400"/>
                    <a:pt x="4900" y="5400"/>
                  </a:cubicBezTo>
                  <a:lnTo>
                    <a:pt x="4362" y="5400"/>
                  </a:lnTo>
                  <a:lnTo>
                    <a:pt x="3962" y="4600"/>
                  </a:lnTo>
                  <a:lnTo>
                    <a:pt x="5200" y="4600"/>
                  </a:lnTo>
                  <a:cubicBezTo>
                    <a:pt x="5531" y="4600"/>
                    <a:pt x="5800" y="4331"/>
                    <a:pt x="5800" y="4000"/>
                  </a:cubicBezTo>
                  <a:lnTo>
                    <a:pt x="5800" y="600"/>
                  </a:lnTo>
                  <a:cubicBezTo>
                    <a:pt x="5800" y="269"/>
                    <a:pt x="5531" y="0"/>
                    <a:pt x="5200" y="0"/>
                  </a:cubicBezTo>
                  <a:close/>
                  <a:moveTo>
                    <a:pt x="200" y="1407"/>
                  </a:moveTo>
                  <a:lnTo>
                    <a:pt x="427" y="1678"/>
                  </a:lnTo>
                  <a:cubicBezTo>
                    <a:pt x="446" y="1700"/>
                    <a:pt x="474" y="1713"/>
                    <a:pt x="504" y="1713"/>
                  </a:cubicBezTo>
                  <a:lnTo>
                    <a:pt x="810" y="1713"/>
                  </a:lnTo>
                  <a:cubicBezTo>
                    <a:pt x="840" y="1713"/>
                    <a:pt x="868" y="1700"/>
                    <a:pt x="887" y="1678"/>
                  </a:cubicBezTo>
                  <a:lnTo>
                    <a:pt x="1114" y="1407"/>
                  </a:lnTo>
                  <a:lnTo>
                    <a:pt x="1338" y="1480"/>
                  </a:lnTo>
                  <a:lnTo>
                    <a:pt x="1363" y="1832"/>
                  </a:lnTo>
                  <a:cubicBezTo>
                    <a:pt x="1365" y="1862"/>
                    <a:pt x="1380" y="1889"/>
                    <a:pt x="1404" y="1906"/>
                  </a:cubicBezTo>
                  <a:lnTo>
                    <a:pt x="1652" y="2086"/>
                  </a:lnTo>
                  <a:cubicBezTo>
                    <a:pt x="1676" y="2103"/>
                    <a:pt x="1706" y="2109"/>
                    <a:pt x="1735" y="2102"/>
                  </a:cubicBezTo>
                  <a:lnTo>
                    <a:pt x="2078" y="2017"/>
                  </a:lnTo>
                  <a:lnTo>
                    <a:pt x="2217" y="2208"/>
                  </a:lnTo>
                  <a:lnTo>
                    <a:pt x="2030" y="2508"/>
                  </a:lnTo>
                  <a:cubicBezTo>
                    <a:pt x="2014" y="2533"/>
                    <a:pt x="2011" y="2564"/>
                    <a:pt x="2020" y="2592"/>
                  </a:cubicBezTo>
                  <a:lnTo>
                    <a:pt x="2115" y="2883"/>
                  </a:lnTo>
                  <a:cubicBezTo>
                    <a:pt x="2124" y="2911"/>
                    <a:pt x="2145" y="2934"/>
                    <a:pt x="2172" y="2945"/>
                  </a:cubicBezTo>
                  <a:lnTo>
                    <a:pt x="2500" y="3078"/>
                  </a:lnTo>
                  <a:lnTo>
                    <a:pt x="2500" y="3314"/>
                  </a:lnTo>
                  <a:lnTo>
                    <a:pt x="2172" y="3446"/>
                  </a:lnTo>
                  <a:cubicBezTo>
                    <a:pt x="2145" y="3457"/>
                    <a:pt x="2124" y="3480"/>
                    <a:pt x="2115" y="3508"/>
                  </a:cubicBezTo>
                  <a:lnTo>
                    <a:pt x="2085" y="3600"/>
                  </a:lnTo>
                  <a:lnTo>
                    <a:pt x="1508" y="3600"/>
                  </a:lnTo>
                  <a:cubicBezTo>
                    <a:pt x="1733" y="3131"/>
                    <a:pt x="1534" y="2569"/>
                    <a:pt x="1065" y="2345"/>
                  </a:cubicBezTo>
                  <a:cubicBezTo>
                    <a:pt x="789" y="2213"/>
                    <a:pt x="467" y="2223"/>
                    <a:pt x="200" y="2372"/>
                  </a:cubicBezTo>
                  <a:lnTo>
                    <a:pt x="200" y="1407"/>
                  </a:lnTo>
                  <a:close/>
                  <a:moveTo>
                    <a:pt x="200" y="2610"/>
                  </a:moveTo>
                  <a:cubicBezTo>
                    <a:pt x="523" y="2358"/>
                    <a:pt x="990" y="2415"/>
                    <a:pt x="1243" y="2739"/>
                  </a:cubicBezTo>
                  <a:cubicBezTo>
                    <a:pt x="1437" y="2989"/>
                    <a:pt x="1452" y="3334"/>
                    <a:pt x="1280" y="3600"/>
                  </a:cubicBezTo>
                  <a:lnTo>
                    <a:pt x="200" y="3600"/>
                  </a:lnTo>
                  <a:lnTo>
                    <a:pt x="200" y="2610"/>
                  </a:lnTo>
                  <a:close/>
                  <a:moveTo>
                    <a:pt x="4900" y="5600"/>
                  </a:moveTo>
                  <a:cubicBezTo>
                    <a:pt x="4955" y="5600"/>
                    <a:pt x="5000" y="5645"/>
                    <a:pt x="5000" y="5700"/>
                  </a:cubicBezTo>
                  <a:cubicBezTo>
                    <a:pt x="5000" y="5755"/>
                    <a:pt x="4955" y="5800"/>
                    <a:pt x="4900" y="5800"/>
                  </a:cubicBezTo>
                  <a:lnTo>
                    <a:pt x="900" y="5800"/>
                  </a:lnTo>
                  <a:cubicBezTo>
                    <a:pt x="845" y="5800"/>
                    <a:pt x="800" y="5755"/>
                    <a:pt x="800" y="5700"/>
                  </a:cubicBezTo>
                  <a:cubicBezTo>
                    <a:pt x="800" y="5645"/>
                    <a:pt x="845" y="5600"/>
                    <a:pt x="900" y="5600"/>
                  </a:cubicBezTo>
                  <a:lnTo>
                    <a:pt x="4900" y="5600"/>
                  </a:lnTo>
                  <a:close/>
                  <a:moveTo>
                    <a:pt x="4138" y="5400"/>
                  </a:moveTo>
                  <a:lnTo>
                    <a:pt x="1662" y="5400"/>
                  </a:lnTo>
                  <a:lnTo>
                    <a:pt x="2062" y="4600"/>
                  </a:lnTo>
                  <a:lnTo>
                    <a:pt x="3738" y="4600"/>
                  </a:lnTo>
                  <a:lnTo>
                    <a:pt x="4138" y="5400"/>
                  </a:lnTo>
                  <a:close/>
                  <a:moveTo>
                    <a:pt x="5600" y="4000"/>
                  </a:moveTo>
                  <a:cubicBezTo>
                    <a:pt x="5600" y="4221"/>
                    <a:pt x="5421" y="4400"/>
                    <a:pt x="5200" y="4400"/>
                  </a:cubicBezTo>
                  <a:lnTo>
                    <a:pt x="600" y="4400"/>
                  </a:lnTo>
                  <a:cubicBezTo>
                    <a:pt x="379" y="4400"/>
                    <a:pt x="200" y="4221"/>
                    <a:pt x="200" y="4000"/>
                  </a:cubicBezTo>
                  <a:lnTo>
                    <a:pt x="200" y="3800"/>
                  </a:lnTo>
                  <a:lnTo>
                    <a:pt x="1332" y="3800"/>
                  </a:lnTo>
                  <a:lnTo>
                    <a:pt x="1333" y="3800"/>
                  </a:lnTo>
                  <a:lnTo>
                    <a:pt x="5600" y="3800"/>
                  </a:lnTo>
                  <a:lnTo>
                    <a:pt x="5600" y="4000"/>
                  </a:lnTo>
                  <a:close/>
                  <a:moveTo>
                    <a:pt x="5600" y="3600"/>
                  </a:moveTo>
                  <a:lnTo>
                    <a:pt x="2326" y="3600"/>
                  </a:lnTo>
                  <a:lnTo>
                    <a:pt x="2638" y="3474"/>
                  </a:lnTo>
                  <a:cubicBezTo>
                    <a:pt x="2675" y="3458"/>
                    <a:pt x="2700" y="3422"/>
                    <a:pt x="2700" y="3381"/>
                  </a:cubicBezTo>
                  <a:lnTo>
                    <a:pt x="2700" y="3010"/>
                  </a:lnTo>
                  <a:cubicBezTo>
                    <a:pt x="2700" y="2969"/>
                    <a:pt x="2675" y="2933"/>
                    <a:pt x="2638" y="2917"/>
                  </a:cubicBezTo>
                  <a:lnTo>
                    <a:pt x="2290" y="2777"/>
                  </a:lnTo>
                  <a:lnTo>
                    <a:pt x="2224" y="2574"/>
                  </a:lnTo>
                  <a:lnTo>
                    <a:pt x="2422" y="2256"/>
                  </a:lnTo>
                  <a:cubicBezTo>
                    <a:pt x="2444" y="2222"/>
                    <a:pt x="2442" y="2178"/>
                    <a:pt x="2418" y="2145"/>
                  </a:cubicBezTo>
                  <a:lnTo>
                    <a:pt x="2200" y="1845"/>
                  </a:lnTo>
                  <a:cubicBezTo>
                    <a:pt x="2176" y="1812"/>
                    <a:pt x="2135" y="1796"/>
                    <a:pt x="2095" y="1806"/>
                  </a:cubicBezTo>
                  <a:lnTo>
                    <a:pt x="1732" y="1896"/>
                  </a:lnTo>
                  <a:lnTo>
                    <a:pt x="1560" y="1772"/>
                  </a:lnTo>
                  <a:lnTo>
                    <a:pt x="1534" y="1399"/>
                  </a:lnTo>
                  <a:cubicBezTo>
                    <a:pt x="1531" y="1358"/>
                    <a:pt x="1504" y="1323"/>
                    <a:pt x="1465" y="1310"/>
                  </a:cubicBezTo>
                  <a:lnTo>
                    <a:pt x="1112" y="1196"/>
                  </a:lnTo>
                  <a:cubicBezTo>
                    <a:pt x="1074" y="1183"/>
                    <a:pt x="1031" y="1196"/>
                    <a:pt x="1005" y="1227"/>
                  </a:cubicBezTo>
                  <a:lnTo>
                    <a:pt x="764" y="1513"/>
                  </a:lnTo>
                  <a:lnTo>
                    <a:pt x="551" y="1513"/>
                  </a:lnTo>
                  <a:lnTo>
                    <a:pt x="310" y="1227"/>
                  </a:lnTo>
                  <a:cubicBezTo>
                    <a:pt x="284" y="1196"/>
                    <a:pt x="241" y="1183"/>
                    <a:pt x="202" y="1196"/>
                  </a:cubicBezTo>
                  <a:lnTo>
                    <a:pt x="200" y="1197"/>
                  </a:lnTo>
                  <a:lnTo>
                    <a:pt x="200" y="600"/>
                  </a:lnTo>
                  <a:cubicBezTo>
                    <a:pt x="200" y="379"/>
                    <a:pt x="379" y="200"/>
                    <a:pt x="600" y="200"/>
                  </a:cubicBezTo>
                  <a:lnTo>
                    <a:pt x="5200" y="200"/>
                  </a:lnTo>
                  <a:cubicBezTo>
                    <a:pt x="5421" y="200"/>
                    <a:pt x="5600" y="379"/>
                    <a:pt x="5600" y="600"/>
                  </a:cubicBezTo>
                  <a:lnTo>
                    <a:pt x="5600" y="36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" name="Group 65"/>
          <p:cNvGrpSpPr>
            <a:grpSpLocks noChangeAspect="1"/>
          </p:cNvGrpSpPr>
          <p:nvPr/>
        </p:nvGrpSpPr>
        <p:grpSpPr bwMode="auto">
          <a:xfrm>
            <a:off x="5818118" y="2319141"/>
            <a:ext cx="576263" cy="614363"/>
            <a:chOff x="5636" y="61"/>
            <a:chExt cx="363" cy="387"/>
          </a:xfrm>
          <a:gradFill>
            <a:gsLst>
              <a:gs pos="0">
                <a:srgbClr val="A136A0">
                  <a:alpha val="90000"/>
                </a:srgbClr>
              </a:gs>
              <a:gs pos="100000">
                <a:srgbClr val="7030A0">
                  <a:alpha val="89000"/>
                </a:srgbClr>
              </a:gs>
            </a:gsLst>
            <a:lin ang="12600000" scaled="0"/>
          </a:gradFill>
        </p:grpSpPr>
        <p:sp>
          <p:nvSpPr>
            <p:cNvPr id="72" name="Freeform 66"/>
            <p:cNvSpPr>
              <a:spLocks noEditPoints="1"/>
            </p:cNvSpPr>
            <p:nvPr/>
          </p:nvSpPr>
          <p:spPr bwMode="auto">
            <a:xfrm>
              <a:off x="5636" y="61"/>
              <a:ext cx="363" cy="387"/>
            </a:xfrm>
            <a:custGeom>
              <a:avLst/>
              <a:gdLst>
                <a:gd name="T0" fmla="*/ 6009 w 6017"/>
                <a:gd name="T1" fmla="*/ 1596 h 6400"/>
                <a:gd name="T2" fmla="*/ 5308 w 6017"/>
                <a:gd name="T3" fmla="*/ 844 h 6400"/>
                <a:gd name="T4" fmla="*/ 4845 w 6017"/>
                <a:gd name="T5" fmla="*/ 1010 h 6400"/>
                <a:gd name="T6" fmla="*/ 1753 w 6017"/>
                <a:gd name="T7" fmla="*/ 658 h 6400"/>
                <a:gd name="T8" fmla="*/ 1054 w 6017"/>
                <a:gd name="T9" fmla="*/ 0 h 6400"/>
                <a:gd name="T10" fmla="*/ 548 w 6017"/>
                <a:gd name="T11" fmla="*/ 205 h 6400"/>
                <a:gd name="T12" fmla="*/ 645 w 6017"/>
                <a:gd name="T13" fmla="*/ 1530 h 6400"/>
                <a:gd name="T14" fmla="*/ 253 w 6017"/>
                <a:gd name="T15" fmla="*/ 2435 h 6400"/>
                <a:gd name="T16" fmla="*/ 374 w 6017"/>
                <a:gd name="T17" fmla="*/ 2381 h 6400"/>
                <a:gd name="T18" fmla="*/ 758 w 6017"/>
                <a:gd name="T19" fmla="*/ 1752 h 6400"/>
                <a:gd name="T20" fmla="*/ 887 w 6017"/>
                <a:gd name="T21" fmla="*/ 2419 h 6400"/>
                <a:gd name="T22" fmla="*/ 1135 w 6017"/>
                <a:gd name="T23" fmla="*/ 2404 h 6400"/>
                <a:gd name="T24" fmla="*/ 1789 w 6017"/>
                <a:gd name="T25" fmla="*/ 2071 h 6400"/>
                <a:gd name="T26" fmla="*/ 2664 w 6017"/>
                <a:gd name="T27" fmla="*/ 1888 h 6400"/>
                <a:gd name="T28" fmla="*/ 3108 w 6017"/>
                <a:gd name="T29" fmla="*/ 934 h 6400"/>
                <a:gd name="T30" fmla="*/ 2867 w 6017"/>
                <a:gd name="T31" fmla="*/ 575 h 6400"/>
                <a:gd name="T32" fmla="*/ 4718 w 6017"/>
                <a:gd name="T33" fmla="*/ 1148 h 6400"/>
                <a:gd name="T34" fmla="*/ 4656 w 6017"/>
                <a:gd name="T35" fmla="*/ 1926 h 6400"/>
                <a:gd name="T36" fmla="*/ 4925 w 6017"/>
                <a:gd name="T37" fmla="*/ 2929 h 6400"/>
                <a:gd name="T38" fmla="*/ 5815 w 6017"/>
                <a:gd name="T39" fmla="*/ 3184 h 6400"/>
                <a:gd name="T40" fmla="*/ 5829 w 6017"/>
                <a:gd name="T41" fmla="*/ 3392 h 6400"/>
                <a:gd name="T42" fmla="*/ 187 w 6017"/>
                <a:gd name="T43" fmla="*/ 3392 h 6400"/>
                <a:gd name="T44" fmla="*/ 192 w 6017"/>
                <a:gd name="T45" fmla="*/ 2633 h 6400"/>
                <a:gd name="T46" fmla="*/ 0 w 6017"/>
                <a:gd name="T47" fmla="*/ 3392 h 6400"/>
                <a:gd name="T48" fmla="*/ 3008 w 6017"/>
                <a:gd name="T49" fmla="*/ 6400 h 6400"/>
                <a:gd name="T50" fmla="*/ 6016 w 6017"/>
                <a:gd name="T51" fmla="*/ 3392 h 6400"/>
                <a:gd name="T52" fmla="*/ 679 w 6017"/>
                <a:gd name="T53" fmla="*/ 338 h 6400"/>
                <a:gd name="T54" fmla="*/ 1052 w 6017"/>
                <a:gd name="T55" fmla="*/ 187 h 6400"/>
                <a:gd name="T56" fmla="*/ 1568 w 6017"/>
                <a:gd name="T57" fmla="*/ 744 h 6400"/>
                <a:gd name="T58" fmla="*/ 1021 w 6017"/>
                <a:gd name="T59" fmla="*/ 1678 h 6400"/>
                <a:gd name="T60" fmla="*/ 679 w 6017"/>
                <a:gd name="T61" fmla="*/ 338 h 6400"/>
                <a:gd name="T62" fmla="*/ 2967 w 6017"/>
                <a:gd name="T63" fmla="*/ 1057 h 6400"/>
                <a:gd name="T64" fmla="*/ 2532 w 6017"/>
                <a:gd name="T65" fmla="*/ 1755 h 6400"/>
                <a:gd name="T66" fmla="*/ 1789 w 6017"/>
                <a:gd name="T67" fmla="*/ 1884 h 6400"/>
                <a:gd name="T68" fmla="*/ 1028 w 6017"/>
                <a:gd name="T69" fmla="*/ 2250 h 6400"/>
                <a:gd name="T70" fmla="*/ 945 w 6017"/>
                <a:gd name="T71" fmla="*/ 2207 h 6400"/>
                <a:gd name="T72" fmla="*/ 1047 w 6017"/>
                <a:gd name="T73" fmla="*/ 1876 h 6400"/>
                <a:gd name="T74" fmla="*/ 1744 w 6017"/>
                <a:gd name="T75" fmla="*/ 870 h 6400"/>
                <a:gd name="T76" fmla="*/ 2759 w 6017"/>
                <a:gd name="T77" fmla="*/ 819 h 6400"/>
                <a:gd name="T78" fmla="*/ 5306 w 6017"/>
                <a:gd name="T79" fmla="*/ 1032 h 6400"/>
                <a:gd name="T80" fmla="*/ 5822 w 6017"/>
                <a:gd name="T81" fmla="*/ 1588 h 6400"/>
                <a:gd name="T82" fmla="*/ 5275 w 6017"/>
                <a:gd name="T83" fmla="*/ 2523 h 6400"/>
                <a:gd name="T84" fmla="*/ 4933 w 6017"/>
                <a:gd name="T85" fmla="*/ 1183 h 6400"/>
                <a:gd name="T86" fmla="*/ 5711 w 6017"/>
                <a:gd name="T87" fmla="*/ 3028 h 6400"/>
                <a:gd name="T88" fmla="*/ 5096 w 6017"/>
                <a:gd name="T89" fmla="*/ 2852 h 6400"/>
                <a:gd name="T90" fmla="*/ 4873 w 6017"/>
                <a:gd name="T91" fmla="*/ 2338 h 6400"/>
                <a:gd name="T92" fmla="*/ 5300 w 6017"/>
                <a:gd name="T93" fmla="*/ 2720 h 6400"/>
                <a:gd name="T94" fmla="*/ 5660 w 6017"/>
                <a:gd name="T95" fmla="*/ 2428 h 6400"/>
                <a:gd name="T96" fmla="*/ 5711 w 6017"/>
                <a:gd name="T97" fmla="*/ 3028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017" h="6400">
                  <a:moveTo>
                    <a:pt x="5789" y="2244"/>
                  </a:moveTo>
                  <a:cubicBezTo>
                    <a:pt x="5905" y="2059"/>
                    <a:pt x="5999" y="1836"/>
                    <a:pt x="6009" y="1596"/>
                  </a:cubicBezTo>
                  <a:cubicBezTo>
                    <a:pt x="6017" y="1400"/>
                    <a:pt x="5945" y="1206"/>
                    <a:pt x="5810" y="1065"/>
                  </a:cubicBezTo>
                  <a:cubicBezTo>
                    <a:pt x="5677" y="925"/>
                    <a:pt x="5499" y="847"/>
                    <a:pt x="5308" y="844"/>
                  </a:cubicBezTo>
                  <a:cubicBezTo>
                    <a:pt x="5305" y="844"/>
                    <a:pt x="5303" y="844"/>
                    <a:pt x="5300" y="844"/>
                  </a:cubicBezTo>
                  <a:cubicBezTo>
                    <a:pt x="5132" y="844"/>
                    <a:pt x="4973" y="903"/>
                    <a:pt x="4845" y="1010"/>
                  </a:cubicBezTo>
                  <a:cubicBezTo>
                    <a:pt x="4321" y="606"/>
                    <a:pt x="3672" y="384"/>
                    <a:pt x="3008" y="384"/>
                  </a:cubicBezTo>
                  <a:cubicBezTo>
                    <a:pt x="2575" y="384"/>
                    <a:pt x="2144" y="478"/>
                    <a:pt x="1753" y="658"/>
                  </a:cubicBezTo>
                  <a:cubicBezTo>
                    <a:pt x="1739" y="495"/>
                    <a:pt x="1670" y="339"/>
                    <a:pt x="1557" y="220"/>
                  </a:cubicBezTo>
                  <a:cubicBezTo>
                    <a:pt x="1424" y="80"/>
                    <a:pt x="1246" y="2"/>
                    <a:pt x="1054" y="0"/>
                  </a:cubicBezTo>
                  <a:cubicBezTo>
                    <a:pt x="1052" y="0"/>
                    <a:pt x="1049" y="0"/>
                    <a:pt x="1047" y="0"/>
                  </a:cubicBezTo>
                  <a:cubicBezTo>
                    <a:pt x="858" y="0"/>
                    <a:pt x="681" y="73"/>
                    <a:pt x="548" y="205"/>
                  </a:cubicBezTo>
                  <a:cubicBezTo>
                    <a:pt x="412" y="339"/>
                    <a:pt x="337" y="519"/>
                    <a:pt x="337" y="710"/>
                  </a:cubicBezTo>
                  <a:cubicBezTo>
                    <a:pt x="337" y="1025"/>
                    <a:pt x="485" y="1312"/>
                    <a:pt x="645" y="1530"/>
                  </a:cubicBezTo>
                  <a:cubicBezTo>
                    <a:pt x="457" y="1768"/>
                    <a:pt x="307" y="2032"/>
                    <a:pt x="199" y="2314"/>
                  </a:cubicBezTo>
                  <a:cubicBezTo>
                    <a:pt x="180" y="2362"/>
                    <a:pt x="204" y="2416"/>
                    <a:pt x="253" y="2435"/>
                  </a:cubicBezTo>
                  <a:cubicBezTo>
                    <a:pt x="264" y="2439"/>
                    <a:pt x="275" y="2441"/>
                    <a:pt x="286" y="2441"/>
                  </a:cubicBezTo>
                  <a:cubicBezTo>
                    <a:pt x="324" y="2441"/>
                    <a:pt x="359" y="2418"/>
                    <a:pt x="374" y="2381"/>
                  </a:cubicBezTo>
                  <a:cubicBezTo>
                    <a:pt x="469" y="2132"/>
                    <a:pt x="600" y="1898"/>
                    <a:pt x="762" y="1685"/>
                  </a:cubicBezTo>
                  <a:cubicBezTo>
                    <a:pt x="759" y="1708"/>
                    <a:pt x="758" y="1730"/>
                    <a:pt x="758" y="1752"/>
                  </a:cubicBezTo>
                  <a:lnTo>
                    <a:pt x="758" y="2207"/>
                  </a:lnTo>
                  <a:cubicBezTo>
                    <a:pt x="758" y="2296"/>
                    <a:pt x="807" y="2378"/>
                    <a:pt x="887" y="2419"/>
                  </a:cubicBezTo>
                  <a:cubicBezTo>
                    <a:pt x="922" y="2438"/>
                    <a:pt x="960" y="2447"/>
                    <a:pt x="998" y="2447"/>
                  </a:cubicBezTo>
                  <a:cubicBezTo>
                    <a:pt x="1046" y="2447"/>
                    <a:pt x="1094" y="2432"/>
                    <a:pt x="1135" y="2404"/>
                  </a:cubicBezTo>
                  <a:lnTo>
                    <a:pt x="1470" y="2171"/>
                  </a:lnTo>
                  <a:cubicBezTo>
                    <a:pt x="1564" y="2106"/>
                    <a:pt x="1674" y="2071"/>
                    <a:pt x="1789" y="2071"/>
                  </a:cubicBezTo>
                  <a:lnTo>
                    <a:pt x="2221" y="2071"/>
                  </a:lnTo>
                  <a:cubicBezTo>
                    <a:pt x="2388" y="2071"/>
                    <a:pt x="2546" y="2006"/>
                    <a:pt x="2664" y="1888"/>
                  </a:cubicBezTo>
                  <a:lnTo>
                    <a:pt x="3090" y="1461"/>
                  </a:lnTo>
                  <a:cubicBezTo>
                    <a:pt x="3233" y="1318"/>
                    <a:pt x="3241" y="1086"/>
                    <a:pt x="3108" y="934"/>
                  </a:cubicBezTo>
                  <a:lnTo>
                    <a:pt x="2901" y="696"/>
                  </a:lnTo>
                  <a:cubicBezTo>
                    <a:pt x="2871" y="662"/>
                    <a:pt x="2860" y="618"/>
                    <a:pt x="2867" y="575"/>
                  </a:cubicBezTo>
                  <a:cubicBezTo>
                    <a:pt x="2914" y="573"/>
                    <a:pt x="2961" y="571"/>
                    <a:pt x="3008" y="571"/>
                  </a:cubicBezTo>
                  <a:cubicBezTo>
                    <a:pt x="3625" y="571"/>
                    <a:pt x="4229" y="776"/>
                    <a:pt x="4718" y="1148"/>
                  </a:cubicBezTo>
                  <a:cubicBezTo>
                    <a:pt x="4635" y="1266"/>
                    <a:pt x="4590" y="1407"/>
                    <a:pt x="4590" y="1554"/>
                  </a:cubicBezTo>
                  <a:cubicBezTo>
                    <a:pt x="4590" y="1684"/>
                    <a:pt x="4616" y="1809"/>
                    <a:pt x="4656" y="1926"/>
                  </a:cubicBezTo>
                  <a:cubicBezTo>
                    <a:pt x="4629" y="2129"/>
                    <a:pt x="4658" y="2336"/>
                    <a:pt x="4743" y="2524"/>
                  </a:cubicBezTo>
                  <a:lnTo>
                    <a:pt x="4925" y="2929"/>
                  </a:lnTo>
                  <a:cubicBezTo>
                    <a:pt x="5022" y="3146"/>
                    <a:pt x="5239" y="3287"/>
                    <a:pt x="5477" y="3287"/>
                  </a:cubicBezTo>
                  <a:cubicBezTo>
                    <a:pt x="5598" y="3287"/>
                    <a:pt x="5715" y="3251"/>
                    <a:pt x="5815" y="3184"/>
                  </a:cubicBezTo>
                  <a:lnTo>
                    <a:pt x="5821" y="3180"/>
                  </a:lnTo>
                  <a:cubicBezTo>
                    <a:pt x="5826" y="3250"/>
                    <a:pt x="5829" y="3321"/>
                    <a:pt x="5829" y="3392"/>
                  </a:cubicBezTo>
                  <a:cubicBezTo>
                    <a:pt x="5829" y="4947"/>
                    <a:pt x="4563" y="6213"/>
                    <a:pt x="3008" y="6213"/>
                  </a:cubicBezTo>
                  <a:cubicBezTo>
                    <a:pt x="1453" y="6213"/>
                    <a:pt x="187" y="4947"/>
                    <a:pt x="187" y="3392"/>
                  </a:cubicBezTo>
                  <a:cubicBezTo>
                    <a:pt x="187" y="3174"/>
                    <a:pt x="212" y="2956"/>
                    <a:pt x="262" y="2746"/>
                  </a:cubicBezTo>
                  <a:cubicBezTo>
                    <a:pt x="273" y="2695"/>
                    <a:pt x="242" y="2645"/>
                    <a:pt x="192" y="2633"/>
                  </a:cubicBezTo>
                  <a:cubicBezTo>
                    <a:pt x="141" y="2621"/>
                    <a:pt x="91" y="2653"/>
                    <a:pt x="79" y="2703"/>
                  </a:cubicBezTo>
                  <a:cubicBezTo>
                    <a:pt x="27" y="2927"/>
                    <a:pt x="0" y="3159"/>
                    <a:pt x="0" y="3392"/>
                  </a:cubicBezTo>
                  <a:cubicBezTo>
                    <a:pt x="0" y="4195"/>
                    <a:pt x="313" y="4951"/>
                    <a:pt x="881" y="5519"/>
                  </a:cubicBezTo>
                  <a:cubicBezTo>
                    <a:pt x="1449" y="6087"/>
                    <a:pt x="2205" y="6400"/>
                    <a:pt x="3008" y="6400"/>
                  </a:cubicBezTo>
                  <a:cubicBezTo>
                    <a:pt x="3811" y="6400"/>
                    <a:pt x="4567" y="6087"/>
                    <a:pt x="5135" y="5519"/>
                  </a:cubicBezTo>
                  <a:cubicBezTo>
                    <a:pt x="5703" y="4951"/>
                    <a:pt x="6016" y="4195"/>
                    <a:pt x="6016" y="3392"/>
                  </a:cubicBezTo>
                  <a:cubicBezTo>
                    <a:pt x="6016" y="2994"/>
                    <a:pt x="5940" y="2608"/>
                    <a:pt x="5789" y="2244"/>
                  </a:cubicBezTo>
                  <a:close/>
                  <a:moveTo>
                    <a:pt x="679" y="338"/>
                  </a:moveTo>
                  <a:cubicBezTo>
                    <a:pt x="778" y="241"/>
                    <a:pt x="908" y="187"/>
                    <a:pt x="1047" y="187"/>
                  </a:cubicBezTo>
                  <a:cubicBezTo>
                    <a:pt x="1049" y="187"/>
                    <a:pt x="1050" y="187"/>
                    <a:pt x="1052" y="187"/>
                  </a:cubicBezTo>
                  <a:cubicBezTo>
                    <a:pt x="1192" y="189"/>
                    <a:pt x="1323" y="246"/>
                    <a:pt x="1421" y="349"/>
                  </a:cubicBezTo>
                  <a:cubicBezTo>
                    <a:pt x="1521" y="454"/>
                    <a:pt x="1574" y="598"/>
                    <a:pt x="1568" y="744"/>
                  </a:cubicBezTo>
                  <a:cubicBezTo>
                    <a:pt x="1551" y="1161"/>
                    <a:pt x="1216" y="1536"/>
                    <a:pt x="1072" y="1678"/>
                  </a:cubicBezTo>
                  <a:cubicBezTo>
                    <a:pt x="1058" y="1692"/>
                    <a:pt x="1035" y="1692"/>
                    <a:pt x="1021" y="1678"/>
                  </a:cubicBezTo>
                  <a:cubicBezTo>
                    <a:pt x="872" y="1530"/>
                    <a:pt x="524" y="1140"/>
                    <a:pt x="524" y="710"/>
                  </a:cubicBezTo>
                  <a:cubicBezTo>
                    <a:pt x="524" y="569"/>
                    <a:pt x="579" y="437"/>
                    <a:pt x="679" y="338"/>
                  </a:cubicBezTo>
                  <a:close/>
                  <a:moveTo>
                    <a:pt x="2759" y="819"/>
                  </a:moveTo>
                  <a:lnTo>
                    <a:pt x="2967" y="1057"/>
                  </a:lnTo>
                  <a:cubicBezTo>
                    <a:pt x="3036" y="1136"/>
                    <a:pt x="3032" y="1255"/>
                    <a:pt x="2958" y="1329"/>
                  </a:cubicBezTo>
                  <a:lnTo>
                    <a:pt x="2532" y="1755"/>
                  </a:lnTo>
                  <a:cubicBezTo>
                    <a:pt x="2448" y="1838"/>
                    <a:pt x="2338" y="1884"/>
                    <a:pt x="2221" y="1884"/>
                  </a:cubicBezTo>
                  <a:lnTo>
                    <a:pt x="1789" y="1884"/>
                  </a:lnTo>
                  <a:cubicBezTo>
                    <a:pt x="1636" y="1884"/>
                    <a:pt x="1489" y="1930"/>
                    <a:pt x="1364" y="2017"/>
                  </a:cubicBezTo>
                  <a:lnTo>
                    <a:pt x="1028" y="2250"/>
                  </a:lnTo>
                  <a:cubicBezTo>
                    <a:pt x="1004" y="2266"/>
                    <a:pt x="982" y="2258"/>
                    <a:pt x="974" y="2253"/>
                  </a:cubicBezTo>
                  <a:cubicBezTo>
                    <a:pt x="965" y="2249"/>
                    <a:pt x="945" y="2236"/>
                    <a:pt x="945" y="2207"/>
                  </a:cubicBezTo>
                  <a:lnTo>
                    <a:pt x="945" y="1852"/>
                  </a:lnTo>
                  <a:cubicBezTo>
                    <a:pt x="977" y="1868"/>
                    <a:pt x="1012" y="1876"/>
                    <a:pt x="1047" y="1876"/>
                  </a:cubicBezTo>
                  <a:cubicBezTo>
                    <a:pt x="1104" y="1876"/>
                    <a:pt x="1161" y="1854"/>
                    <a:pt x="1204" y="1811"/>
                  </a:cubicBezTo>
                  <a:cubicBezTo>
                    <a:pt x="1385" y="1632"/>
                    <a:pt x="1679" y="1284"/>
                    <a:pt x="1744" y="870"/>
                  </a:cubicBezTo>
                  <a:cubicBezTo>
                    <a:pt x="2035" y="724"/>
                    <a:pt x="2352" y="629"/>
                    <a:pt x="2678" y="591"/>
                  </a:cubicBezTo>
                  <a:cubicBezTo>
                    <a:pt x="2676" y="673"/>
                    <a:pt x="2704" y="755"/>
                    <a:pt x="2759" y="819"/>
                  </a:cubicBezTo>
                  <a:close/>
                  <a:moveTo>
                    <a:pt x="5300" y="1032"/>
                  </a:moveTo>
                  <a:cubicBezTo>
                    <a:pt x="5302" y="1032"/>
                    <a:pt x="5304" y="1032"/>
                    <a:pt x="5306" y="1032"/>
                  </a:cubicBezTo>
                  <a:cubicBezTo>
                    <a:pt x="5446" y="1033"/>
                    <a:pt x="5577" y="1091"/>
                    <a:pt x="5674" y="1194"/>
                  </a:cubicBezTo>
                  <a:cubicBezTo>
                    <a:pt x="5774" y="1299"/>
                    <a:pt x="5828" y="1443"/>
                    <a:pt x="5822" y="1588"/>
                  </a:cubicBezTo>
                  <a:cubicBezTo>
                    <a:pt x="5804" y="2005"/>
                    <a:pt x="5469" y="2381"/>
                    <a:pt x="5326" y="2523"/>
                  </a:cubicBezTo>
                  <a:cubicBezTo>
                    <a:pt x="5312" y="2537"/>
                    <a:pt x="5289" y="2537"/>
                    <a:pt x="5275" y="2523"/>
                  </a:cubicBezTo>
                  <a:cubicBezTo>
                    <a:pt x="5125" y="2375"/>
                    <a:pt x="4778" y="1984"/>
                    <a:pt x="4778" y="1554"/>
                  </a:cubicBezTo>
                  <a:cubicBezTo>
                    <a:pt x="4778" y="1413"/>
                    <a:pt x="4833" y="1282"/>
                    <a:pt x="4933" y="1183"/>
                  </a:cubicBezTo>
                  <a:cubicBezTo>
                    <a:pt x="5031" y="1085"/>
                    <a:pt x="5161" y="1032"/>
                    <a:pt x="5300" y="1032"/>
                  </a:cubicBezTo>
                  <a:close/>
                  <a:moveTo>
                    <a:pt x="5711" y="3028"/>
                  </a:moveTo>
                  <a:cubicBezTo>
                    <a:pt x="5641" y="3075"/>
                    <a:pt x="5561" y="3099"/>
                    <a:pt x="5477" y="3099"/>
                  </a:cubicBezTo>
                  <a:cubicBezTo>
                    <a:pt x="5313" y="3099"/>
                    <a:pt x="5163" y="3003"/>
                    <a:pt x="5096" y="2852"/>
                  </a:cubicBezTo>
                  <a:lnTo>
                    <a:pt x="4913" y="2447"/>
                  </a:lnTo>
                  <a:cubicBezTo>
                    <a:pt x="4897" y="2411"/>
                    <a:pt x="4884" y="2375"/>
                    <a:pt x="4873" y="2338"/>
                  </a:cubicBezTo>
                  <a:cubicBezTo>
                    <a:pt x="4965" y="2469"/>
                    <a:pt x="5064" y="2578"/>
                    <a:pt x="5143" y="2656"/>
                  </a:cubicBezTo>
                  <a:cubicBezTo>
                    <a:pt x="5186" y="2699"/>
                    <a:pt x="5243" y="2720"/>
                    <a:pt x="5300" y="2720"/>
                  </a:cubicBezTo>
                  <a:cubicBezTo>
                    <a:pt x="5357" y="2720"/>
                    <a:pt x="5414" y="2699"/>
                    <a:pt x="5457" y="2656"/>
                  </a:cubicBezTo>
                  <a:cubicBezTo>
                    <a:pt x="5517" y="2597"/>
                    <a:pt x="5588" y="2520"/>
                    <a:pt x="5660" y="2428"/>
                  </a:cubicBezTo>
                  <a:cubicBezTo>
                    <a:pt x="5724" y="2604"/>
                    <a:pt x="5770" y="2785"/>
                    <a:pt x="5798" y="2970"/>
                  </a:cubicBezTo>
                  <a:lnTo>
                    <a:pt x="5711" y="302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7"/>
            <p:cNvSpPr>
              <a:spLocks noEditPoints="1"/>
            </p:cNvSpPr>
            <p:nvPr/>
          </p:nvSpPr>
          <p:spPr bwMode="auto">
            <a:xfrm>
              <a:off x="5932" y="132"/>
              <a:ext cx="48" cy="48"/>
            </a:xfrm>
            <a:custGeom>
              <a:avLst/>
              <a:gdLst>
                <a:gd name="T0" fmla="*/ 395 w 790"/>
                <a:gd name="T1" fmla="*/ 790 h 790"/>
                <a:gd name="T2" fmla="*/ 790 w 790"/>
                <a:gd name="T3" fmla="*/ 395 h 790"/>
                <a:gd name="T4" fmla="*/ 395 w 790"/>
                <a:gd name="T5" fmla="*/ 0 h 790"/>
                <a:gd name="T6" fmla="*/ 0 w 790"/>
                <a:gd name="T7" fmla="*/ 395 h 790"/>
                <a:gd name="T8" fmla="*/ 395 w 790"/>
                <a:gd name="T9" fmla="*/ 790 h 790"/>
                <a:gd name="T10" fmla="*/ 395 w 790"/>
                <a:gd name="T11" fmla="*/ 187 h 790"/>
                <a:gd name="T12" fmla="*/ 603 w 790"/>
                <a:gd name="T13" fmla="*/ 395 h 790"/>
                <a:gd name="T14" fmla="*/ 395 w 790"/>
                <a:gd name="T15" fmla="*/ 603 h 790"/>
                <a:gd name="T16" fmla="*/ 187 w 790"/>
                <a:gd name="T17" fmla="*/ 395 h 790"/>
                <a:gd name="T18" fmla="*/ 395 w 790"/>
                <a:gd name="T19" fmla="*/ 187 h 7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0" h="790">
                  <a:moveTo>
                    <a:pt x="395" y="790"/>
                  </a:moveTo>
                  <a:cubicBezTo>
                    <a:pt x="613" y="790"/>
                    <a:pt x="790" y="613"/>
                    <a:pt x="790" y="395"/>
                  </a:cubicBezTo>
                  <a:cubicBezTo>
                    <a:pt x="790" y="177"/>
                    <a:pt x="613" y="0"/>
                    <a:pt x="395" y="0"/>
                  </a:cubicBezTo>
                  <a:cubicBezTo>
                    <a:pt x="177" y="0"/>
                    <a:pt x="0" y="177"/>
                    <a:pt x="0" y="395"/>
                  </a:cubicBezTo>
                  <a:cubicBezTo>
                    <a:pt x="0" y="613"/>
                    <a:pt x="177" y="790"/>
                    <a:pt x="395" y="790"/>
                  </a:cubicBezTo>
                  <a:close/>
                  <a:moveTo>
                    <a:pt x="395" y="187"/>
                  </a:moveTo>
                  <a:cubicBezTo>
                    <a:pt x="510" y="187"/>
                    <a:pt x="603" y="281"/>
                    <a:pt x="603" y="395"/>
                  </a:cubicBezTo>
                  <a:cubicBezTo>
                    <a:pt x="603" y="510"/>
                    <a:pt x="510" y="603"/>
                    <a:pt x="395" y="603"/>
                  </a:cubicBezTo>
                  <a:cubicBezTo>
                    <a:pt x="280" y="603"/>
                    <a:pt x="187" y="510"/>
                    <a:pt x="187" y="395"/>
                  </a:cubicBezTo>
                  <a:cubicBezTo>
                    <a:pt x="187" y="281"/>
                    <a:pt x="280" y="187"/>
                    <a:pt x="395" y="18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8"/>
            <p:cNvSpPr>
              <a:spLocks noEditPoints="1"/>
            </p:cNvSpPr>
            <p:nvPr/>
          </p:nvSpPr>
          <p:spPr bwMode="auto">
            <a:xfrm>
              <a:off x="5736" y="171"/>
              <a:ext cx="178" cy="249"/>
            </a:xfrm>
            <a:custGeom>
              <a:avLst/>
              <a:gdLst>
                <a:gd name="T0" fmla="*/ 1706 w 2944"/>
                <a:gd name="T1" fmla="*/ 0 h 4113"/>
                <a:gd name="T2" fmla="*/ 1199 w 2944"/>
                <a:gd name="T3" fmla="*/ 205 h 4113"/>
                <a:gd name="T4" fmla="*/ 452 w 2944"/>
                <a:gd name="T5" fmla="*/ 836 h 4113"/>
                <a:gd name="T6" fmla="*/ 94 w 2944"/>
                <a:gd name="T7" fmla="*/ 1866 h 4113"/>
                <a:gd name="T8" fmla="*/ 488 w 2944"/>
                <a:gd name="T9" fmla="*/ 3154 h 4113"/>
                <a:gd name="T10" fmla="*/ 632 w 2944"/>
                <a:gd name="T11" fmla="*/ 4041 h 4113"/>
                <a:gd name="T12" fmla="*/ 1082 w 2944"/>
                <a:gd name="T13" fmla="*/ 4043 h 4113"/>
                <a:gd name="T14" fmla="*/ 2288 w 2944"/>
                <a:gd name="T15" fmla="*/ 3103 h 4113"/>
                <a:gd name="T16" fmla="*/ 2526 w 2944"/>
                <a:gd name="T17" fmla="*/ 2605 h 4113"/>
                <a:gd name="T18" fmla="*/ 2135 w 2944"/>
                <a:gd name="T19" fmla="*/ 2995 h 4113"/>
                <a:gd name="T20" fmla="*/ 975 w 2944"/>
                <a:gd name="T21" fmla="*/ 3890 h 4113"/>
                <a:gd name="T22" fmla="*/ 655 w 2944"/>
                <a:gd name="T23" fmla="*/ 3715 h 4113"/>
                <a:gd name="T24" fmla="*/ 743 w 2944"/>
                <a:gd name="T25" fmla="*/ 3321 h 4113"/>
                <a:gd name="T26" fmla="*/ 1451 w 2944"/>
                <a:gd name="T27" fmla="*/ 2196 h 4113"/>
                <a:gd name="T28" fmla="*/ 750 w 2944"/>
                <a:gd name="T29" fmla="*/ 1445 h 4113"/>
                <a:gd name="T30" fmla="*/ 225 w 2944"/>
                <a:gd name="T31" fmla="*/ 1669 h 4113"/>
                <a:gd name="T32" fmla="*/ 605 w 2944"/>
                <a:gd name="T33" fmla="*/ 944 h 4113"/>
                <a:gd name="T34" fmla="*/ 1540 w 2944"/>
                <a:gd name="T35" fmla="*/ 1811 h 4113"/>
                <a:gd name="T36" fmla="*/ 1855 w 2944"/>
                <a:gd name="T37" fmla="*/ 1811 h 4113"/>
                <a:gd name="T38" fmla="*/ 2624 w 2944"/>
                <a:gd name="T39" fmla="*/ 1819 h 4113"/>
                <a:gd name="T40" fmla="*/ 2691 w 2944"/>
                <a:gd name="T41" fmla="*/ 2211 h 4113"/>
                <a:gd name="T42" fmla="*/ 2645 w 2944"/>
                <a:gd name="T43" fmla="*/ 2438 h 4113"/>
                <a:gd name="T44" fmla="*/ 2775 w 2944"/>
                <a:gd name="T45" fmla="*/ 2415 h 4113"/>
                <a:gd name="T46" fmla="*/ 2923 w 2944"/>
                <a:gd name="T47" fmla="*/ 1969 h 4113"/>
                <a:gd name="T48" fmla="*/ 2236 w 2944"/>
                <a:gd name="T49" fmla="*/ 1315 h 4113"/>
                <a:gd name="T50" fmla="*/ 2208 w 2944"/>
                <a:gd name="T51" fmla="*/ 220 h 4113"/>
                <a:gd name="T52" fmla="*/ 748 w 2944"/>
                <a:gd name="T53" fmla="*/ 1632 h 4113"/>
                <a:gd name="T54" fmla="*/ 1264 w 2944"/>
                <a:gd name="T55" fmla="*/ 2189 h 4113"/>
                <a:gd name="T56" fmla="*/ 717 w 2944"/>
                <a:gd name="T57" fmla="*/ 3123 h 4113"/>
                <a:gd name="T58" fmla="*/ 375 w 2944"/>
                <a:gd name="T59" fmla="*/ 1783 h 4113"/>
                <a:gd name="T60" fmla="*/ 1723 w 2944"/>
                <a:gd name="T61" fmla="*/ 1678 h 4113"/>
                <a:gd name="T62" fmla="*/ 1175 w 2944"/>
                <a:gd name="T63" fmla="*/ 710 h 4113"/>
                <a:gd name="T64" fmla="*/ 1698 w 2944"/>
                <a:gd name="T65" fmla="*/ 187 h 4113"/>
                <a:gd name="T66" fmla="*/ 2072 w 2944"/>
                <a:gd name="T67" fmla="*/ 349 h 4113"/>
                <a:gd name="T68" fmla="*/ 1723 w 2944"/>
                <a:gd name="T69" fmla="*/ 1678 h 4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44" h="4113">
                  <a:moveTo>
                    <a:pt x="2208" y="220"/>
                  </a:moveTo>
                  <a:cubicBezTo>
                    <a:pt x="2075" y="80"/>
                    <a:pt x="1897" y="2"/>
                    <a:pt x="1706" y="0"/>
                  </a:cubicBezTo>
                  <a:cubicBezTo>
                    <a:pt x="1703" y="0"/>
                    <a:pt x="1700" y="0"/>
                    <a:pt x="1698" y="0"/>
                  </a:cubicBezTo>
                  <a:cubicBezTo>
                    <a:pt x="1510" y="0"/>
                    <a:pt x="1333" y="73"/>
                    <a:pt x="1199" y="205"/>
                  </a:cubicBezTo>
                  <a:cubicBezTo>
                    <a:pt x="1097" y="305"/>
                    <a:pt x="1030" y="430"/>
                    <a:pt x="1002" y="567"/>
                  </a:cubicBezTo>
                  <a:cubicBezTo>
                    <a:pt x="787" y="557"/>
                    <a:pt x="579" y="657"/>
                    <a:pt x="452" y="836"/>
                  </a:cubicBezTo>
                  <a:lnTo>
                    <a:pt x="138" y="1281"/>
                  </a:lnTo>
                  <a:cubicBezTo>
                    <a:pt x="15" y="1454"/>
                    <a:pt x="0" y="1679"/>
                    <a:pt x="94" y="1866"/>
                  </a:cubicBezTo>
                  <a:cubicBezTo>
                    <a:pt x="54" y="1955"/>
                    <a:pt x="33" y="2053"/>
                    <a:pt x="33" y="2155"/>
                  </a:cubicBezTo>
                  <a:cubicBezTo>
                    <a:pt x="33" y="2567"/>
                    <a:pt x="286" y="2930"/>
                    <a:pt x="488" y="3154"/>
                  </a:cubicBezTo>
                  <a:lnTo>
                    <a:pt x="468" y="3708"/>
                  </a:lnTo>
                  <a:cubicBezTo>
                    <a:pt x="463" y="3840"/>
                    <a:pt x="524" y="3964"/>
                    <a:pt x="632" y="4041"/>
                  </a:cubicBezTo>
                  <a:cubicBezTo>
                    <a:pt x="699" y="4089"/>
                    <a:pt x="779" y="4113"/>
                    <a:pt x="859" y="4113"/>
                  </a:cubicBezTo>
                  <a:cubicBezTo>
                    <a:pt x="937" y="4113"/>
                    <a:pt x="1015" y="4090"/>
                    <a:pt x="1082" y="4043"/>
                  </a:cubicBezTo>
                  <a:lnTo>
                    <a:pt x="1944" y="3445"/>
                  </a:lnTo>
                  <a:cubicBezTo>
                    <a:pt x="2078" y="3352"/>
                    <a:pt x="2194" y="3237"/>
                    <a:pt x="2288" y="3103"/>
                  </a:cubicBezTo>
                  <a:lnTo>
                    <a:pt x="2548" y="2736"/>
                  </a:lnTo>
                  <a:cubicBezTo>
                    <a:pt x="2578" y="2694"/>
                    <a:pt x="2568" y="2635"/>
                    <a:pt x="2526" y="2605"/>
                  </a:cubicBezTo>
                  <a:cubicBezTo>
                    <a:pt x="2484" y="2575"/>
                    <a:pt x="2425" y="2585"/>
                    <a:pt x="2395" y="2628"/>
                  </a:cubicBezTo>
                  <a:lnTo>
                    <a:pt x="2135" y="2995"/>
                  </a:lnTo>
                  <a:cubicBezTo>
                    <a:pt x="2054" y="3111"/>
                    <a:pt x="1953" y="3210"/>
                    <a:pt x="1837" y="3291"/>
                  </a:cubicBezTo>
                  <a:lnTo>
                    <a:pt x="975" y="3890"/>
                  </a:lnTo>
                  <a:cubicBezTo>
                    <a:pt x="905" y="3939"/>
                    <a:pt x="810" y="3938"/>
                    <a:pt x="740" y="3888"/>
                  </a:cubicBezTo>
                  <a:cubicBezTo>
                    <a:pt x="684" y="3848"/>
                    <a:pt x="652" y="3783"/>
                    <a:pt x="655" y="3715"/>
                  </a:cubicBezTo>
                  <a:lnTo>
                    <a:pt x="670" y="3309"/>
                  </a:lnTo>
                  <a:cubicBezTo>
                    <a:pt x="693" y="3317"/>
                    <a:pt x="718" y="3321"/>
                    <a:pt x="743" y="3321"/>
                  </a:cubicBezTo>
                  <a:cubicBezTo>
                    <a:pt x="800" y="3321"/>
                    <a:pt x="857" y="3299"/>
                    <a:pt x="900" y="3256"/>
                  </a:cubicBezTo>
                  <a:cubicBezTo>
                    <a:pt x="1098" y="3061"/>
                    <a:pt x="1432" y="2662"/>
                    <a:pt x="1451" y="2196"/>
                  </a:cubicBezTo>
                  <a:cubicBezTo>
                    <a:pt x="1460" y="2001"/>
                    <a:pt x="1387" y="1807"/>
                    <a:pt x="1253" y="1665"/>
                  </a:cubicBezTo>
                  <a:cubicBezTo>
                    <a:pt x="1120" y="1525"/>
                    <a:pt x="941" y="1447"/>
                    <a:pt x="750" y="1445"/>
                  </a:cubicBezTo>
                  <a:cubicBezTo>
                    <a:pt x="560" y="1443"/>
                    <a:pt x="379" y="1516"/>
                    <a:pt x="244" y="1650"/>
                  </a:cubicBezTo>
                  <a:cubicBezTo>
                    <a:pt x="237" y="1656"/>
                    <a:pt x="231" y="1663"/>
                    <a:pt x="225" y="1669"/>
                  </a:cubicBezTo>
                  <a:cubicBezTo>
                    <a:pt x="210" y="1573"/>
                    <a:pt x="231" y="1472"/>
                    <a:pt x="290" y="1389"/>
                  </a:cubicBezTo>
                  <a:lnTo>
                    <a:pt x="605" y="944"/>
                  </a:lnTo>
                  <a:cubicBezTo>
                    <a:pt x="694" y="819"/>
                    <a:pt x="839" y="749"/>
                    <a:pt x="989" y="754"/>
                  </a:cubicBezTo>
                  <a:cubicBezTo>
                    <a:pt x="1009" y="1217"/>
                    <a:pt x="1340" y="1613"/>
                    <a:pt x="1540" y="1811"/>
                  </a:cubicBezTo>
                  <a:cubicBezTo>
                    <a:pt x="1584" y="1854"/>
                    <a:pt x="1641" y="1876"/>
                    <a:pt x="1698" y="1876"/>
                  </a:cubicBezTo>
                  <a:cubicBezTo>
                    <a:pt x="1755" y="1876"/>
                    <a:pt x="1812" y="1854"/>
                    <a:pt x="1855" y="1811"/>
                  </a:cubicBezTo>
                  <a:cubicBezTo>
                    <a:pt x="1937" y="1730"/>
                    <a:pt x="2041" y="1615"/>
                    <a:pt x="2138" y="1475"/>
                  </a:cubicBezTo>
                  <a:lnTo>
                    <a:pt x="2624" y="1819"/>
                  </a:lnTo>
                  <a:cubicBezTo>
                    <a:pt x="2685" y="1862"/>
                    <a:pt x="2726" y="1927"/>
                    <a:pt x="2738" y="2001"/>
                  </a:cubicBezTo>
                  <a:cubicBezTo>
                    <a:pt x="2751" y="2075"/>
                    <a:pt x="2734" y="2149"/>
                    <a:pt x="2691" y="2211"/>
                  </a:cubicBezTo>
                  <a:lnTo>
                    <a:pt x="2622" y="2307"/>
                  </a:lnTo>
                  <a:cubicBezTo>
                    <a:pt x="2592" y="2349"/>
                    <a:pt x="2602" y="2408"/>
                    <a:pt x="2645" y="2438"/>
                  </a:cubicBezTo>
                  <a:cubicBezTo>
                    <a:pt x="2661" y="2449"/>
                    <a:pt x="2680" y="2455"/>
                    <a:pt x="2699" y="2455"/>
                  </a:cubicBezTo>
                  <a:cubicBezTo>
                    <a:pt x="2728" y="2455"/>
                    <a:pt x="2757" y="2441"/>
                    <a:pt x="2775" y="2415"/>
                  </a:cubicBezTo>
                  <a:lnTo>
                    <a:pt x="2843" y="2319"/>
                  </a:lnTo>
                  <a:cubicBezTo>
                    <a:pt x="2916" y="2217"/>
                    <a:pt x="2944" y="2093"/>
                    <a:pt x="2923" y="1969"/>
                  </a:cubicBezTo>
                  <a:cubicBezTo>
                    <a:pt x="2902" y="1846"/>
                    <a:pt x="2834" y="1738"/>
                    <a:pt x="2732" y="1666"/>
                  </a:cubicBezTo>
                  <a:lnTo>
                    <a:pt x="2236" y="1315"/>
                  </a:lnTo>
                  <a:cubicBezTo>
                    <a:pt x="2328" y="1148"/>
                    <a:pt x="2398" y="956"/>
                    <a:pt x="2406" y="751"/>
                  </a:cubicBezTo>
                  <a:cubicBezTo>
                    <a:pt x="2415" y="555"/>
                    <a:pt x="2342" y="362"/>
                    <a:pt x="2208" y="220"/>
                  </a:cubicBezTo>
                  <a:close/>
                  <a:moveTo>
                    <a:pt x="743" y="1632"/>
                  </a:moveTo>
                  <a:cubicBezTo>
                    <a:pt x="745" y="1632"/>
                    <a:pt x="746" y="1632"/>
                    <a:pt x="748" y="1632"/>
                  </a:cubicBezTo>
                  <a:cubicBezTo>
                    <a:pt x="888" y="1634"/>
                    <a:pt x="1019" y="1691"/>
                    <a:pt x="1117" y="1794"/>
                  </a:cubicBezTo>
                  <a:cubicBezTo>
                    <a:pt x="1217" y="1899"/>
                    <a:pt x="1270" y="2043"/>
                    <a:pt x="1264" y="2189"/>
                  </a:cubicBezTo>
                  <a:cubicBezTo>
                    <a:pt x="1247" y="2606"/>
                    <a:pt x="912" y="2981"/>
                    <a:pt x="768" y="3123"/>
                  </a:cubicBezTo>
                  <a:cubicBezTo>
                    <a:pt x="754" y="3137"/>
                    <a:pt x="731" y="3137"/>
                    <a:pt x="717" y="3123"/>
                  </a:cubicBezTo>
                  <a:cubicBezTo>
                    <a:pt x="568" y="2975"/>
                    <a:pt x="220" y="2585"/>
                    <a:pt x="220" y="2155"/>
                  </a:cubicBezTo>
                  <a:cubicBezTo>
                    <a:pt x="220" y="2014"/>
                    <a:pt x="275" y="1882"/>
                    <a:pt x="375" y="1783"/>
                  </a:cubicBezTo>
                  <a:cubicBezTo>
                    <a:pt x="474" y="1686"/>
                    <a:pt x="604" y="1632"/>
                    <a:pt x="743" y="1632"/>
                  </a:cubicBezTo>
                  <a:close/>
                  <a:moveTo>
                    <a:pt x="1723" y="1678"/>
                  </a:moveTo>
                  <a:cubicBezTo>
                    <a:pt x="1709" y="1692"/>
                    <a:pt x="1686" y="1692"/>
                    <a:pt x="1672" y="1678"/>
                  </a:cubicBezTo>
                  <a:cubicBezTo>
                    <a:pt x="1523" y="1530"/>
                    <a:pt x="1175" y="1139"/>
                    <a:pt x="1175" y="710"/>
                  </a:cubicBezTo>
                  <a:cubicBezTo>
                    <a:pt x="1175" y="569"/>
                    <a:pt x="1230" y="437"/>
                    <a:pt x="1330" y="338"/>
                  </a:cubicBezTo>
                  <a:cubicBezTo>
                    <a:pt x="1429" y="241"/>
                    <a:pt x="1559" y="187"/>
                    <a:pt x="1698" y="187"/>
                  </a:cubicBezTo>
                  <a:cubicBezTo>
                    <a:pt x="1700" y="187"/>
                    <a:pt x="1702" y="187"/>
                    <a:pt x="1704" y="187"/>
                  </a:cubicBezTo>
                  <a:cubicBezTo>
                    <a:pt x="1844" y="189"/>
                    <a:pt x="1974" y="246"/>
                    <a:pt x="2072" y="349"/>
                  </a:cubicBezTo>
                  <a:cubicBezTo>
                    <a:pt x="2172" y="454"/>
                    <a:pt x="2226" y="598"/>
                    <a:pt x="2219" y="743"/>
                  </a:cubicBezTo>
                  <a:cubicBezTo>
                    <a:pt x="2202" y="1161"/>
                    <a:pt x="1867" y="1536"/>
                    <a:pt x="1723" y="167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9"/>
            <p:cNvSpPr>
              <a:spLocks/>
            </p:cNvSpPr>
            <p:nvPr/>
          </p:nvSpPr>
          <p:spPr bwMode="auto">
            <a:xfrm>
              <a:off x="5815" y="192"/>
              <a:ext cx="48" cy="47"/>
            </a:xfrm>
            <a:custGeom>
              <a:avLst/>
              <a:gdLst>
                <a:gd name="T0" fmla="*/ 696 w 790"/>
                <a:gd name="T1" fmla="*/ 301 h 790"/>
                <a:gd name="T2" fmla="*/ 603 w 790"/>
                <a:gd name="T3" fmla="*/ 395 h 790"/>
                <a:gd name="T4" fmla="*/ 395 w 790"/>
                <a:gd name="T5" fmla="*/ 602 h 790"/>
                <a:gd name="T6" fmla="*/ 187 w 790"/>
                <a:gd name="T7" fmla="*/ 395 h 790"/>
                <a:gd name="T8" fmla="*/ 395 w 790"/>
                <a:gd name="T9" fmla="*/ 187 h 790"/>
                <a:gd name="T10" fmla="*/ 436 w 790"/>
                <a:gd name="T11" fmla="*/ 191 h 790"/>
                <a:gd name="T12" fmla="*/ 546 w 790"/>
                <a:gd name="T13" fmla="*/ 118 h 790"/>
                <a:gd name="T14" fmla="*/ 473 w 790"/>
                <a:gd name="T15" fmla="*/ 7 h 790"/>
                <a:gd name="T16" fmla="*/ 395 w 790"/>
                <a:gd name="T17" fmla="*/ 0 h 790"/>
                <a:gd name="T18" fmla="*/ 0 w 790"/>
                <a:gd name="T19" fmla="*/ 395 h 790"/>
                <a:gd name="T20" fmla="*/ 395 w 790"/>
                <a:gd name="T21" fmla="*/ 790 h 790"/>
                <a:gd name="T22" fmla="*/ 790 w 790"/>
                <a:gd name="T23" fmla="*/ 395 h 790"/>
                <a:gd name="T24" fmla="*/ 696 w 790"/>
                <a:gd name="T25" fmla="*/ 301 h 7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90" h="790">
                  <a:moveTo>
                    <a:pt x="696" y="301"/>
                  </a:moveTo>
                  <a:cubicBezTo>
                    <a:pt x="644" y="301"/>
                    <a:pt x="603" y="343"/>
                    <a:pt x="603" y="395"/>
                  </a:cubicBezTo>
                  <a:cubicBezTo>
                    <a:pt x="603" y="509"/>
                    <a:pt x="509" y="602"/>
                    <a:pt x="395" y="602"/>
                  </a:cubicBezTo>
                  <a:cubicBezTo>
                    <a:pt x="280" y="602"/>
                    <a:pt x="187" y="509"/>
                    <a:pt x="187" y="395"/>
                  </a:cubicBezTo>
                  <a:cubicBezTo>
                    <a:pt x="187" y="280"/>
                    <a:pt x="280" y="187"/>
                    <a:pt x="395" y="187"/>
                  </a:cubicBezTo>
                  <a:cubicBezTo>
                    <a:pt x="409" y="187"/>
                    <a:pt x="423" y="188"/>
                    <a:pt x="436" y="191"/>
                  </a:cubicBezTo>
                  <a:cubicBezTo>
                    <a:pt x="487" y="201"/>
                    <a:pt x="536" y="168"/>
                    <a:pt x="546" y="118"/>
                  </a:cubicBezTo>
                  <a:cubicBezTo>
                    <a:pt x="556" y="67"/>
                    <a:pt x="524" y="18"/>
                    <a:pt x="473" y="7"/>
                  </a:cubicBezTo>
                  <a:cubicBezTo>
                    <a:pt x="447" y="2"/>
                    <a:pt x="421" y="0"/>
                    <a:pt x="395" y="0"/>
                  </a:cubicBezTo>
                  <a:cubicBezTo>
                    <a:pt x="177" y="0"/>
                    <a:pt x="0" y="177"/>
                    <a:pt x="0" y="395"/>
                  </a:cubicBezTo>
                  <a:cubicBezTo>
                    <a:pt x="0" y="612"/>
                    <a:pt x="177" y="790"/>
                    <a:pt x="395" y="790"/>
                  </a:cubicBezTo>
                  <a:cubicBezTo>
                    <a:pt x="613" y="790"/>
                    <a:pt x="790" y="612"/>
                    <a:pt x="790" y="395"/>
                  </a:cubicBezTo>
                  <a:cubicBezTo>
                    <a:pt x="790" y="343"/>
                    <a:pt x="748" y="301"/>
                    <a:pt x="696" y="30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70"/>
            <p:cNvSpPr>
              <a:spLocks noEditPoints="1"/>
            </p:cNvSpPr>
            <p:nvPr/>
          </p:nvSpPr>
          <p:spPr bwMode="auto">
            <a:xfrm>
              <a:off x="5757" y="279"/>
              <a:ext cx="48" cy="48"/>
            </a:xfrm>
            <a:custGeom>
              <a:avLst/>
              <a:gdLst>
                <a:gd name="T0" fmla="*/ 395 w 790"/>
                <a:gd name="T1" fmla="*/ 790 h 790"/>
                <a:gd name="T2" fmla="*/ 790 w 790"/>
                <a:gd name="T3" fmla="*/ 395 h 790"/>
                <a:gd name="T4" fmla="*/ 395 w 790"/>
                <a:gd name="T5" fmla="*/ 0 h 790"/>
                <a:gd name="T6" fmla="*/ 0 w 790"/>
                <a:gd name="T7" fmla="*/ 395 h 790"/>
                <a:gd name="T8" fmla="*/ 395 w 790"/>
                <a:gd name="T9" fmla="*/ 790 h 790"/>
                <a:gd name="T10" fmla="*/ 395 w 790"/>
                <a:gd name="T11" fmla="*/ 187 h 790"/>
                <a:gd name="T12" fmla="*/ 602 w 790"/>
                <a:gd name="T13" fmla="*/ 395 h 790"/>
                <a:gd name="T14" fmla="*/ 395 w 790"/>
                <a:gd name="T15" fmla="*/ 603 h 790"/>
                <a:gd name="T16" fmla="*/ 187 w 790"/>
                <a:gd name="T17" fmla="*/ 395 h 790"/>
                <a:gd name="T18" fmla="*/ 395 w 790"/>
                <a:gd name="T19" fmla="*/ 187 h 7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0" h="790">
                  <a:moveTo>
                    <a:pt x="395" y="790"/>
                  </a:moveTo>
                  <a:cubicBezTo>
                    <a:pt x="612" y="790"/>
                    <a:pt x="790" y="613"/>
                    <a:pt x="790" y="395"/>
                  </a:cubicBezTo>
                  <a:cubicBezTo>
                    <a:pt x="790" y="177"/>
                    <a:pt x="612" y="0"/>
                    <a:pt x="395" y="0"/>
                  </a:cubicBezTo>
                  <a:cubicBezTo>
                    <a:pt x="177" y="0"/>
                    <a:pt x="0" y="177"/>
                    <a:pt x="0" y="395"/>
                  </a:cubicBezTo>
                  <a:cubicBezTo>
                    <a:pt x="0" y="613"/>
                    <a:pt x="177" y="790"/>
                    <a:pt x="395" y="790"/>
                  </a:cubicBezTo>
                  <a:close/>
                  <a:moveTo>
                    <a:pt x="395" y="187"/>
                  </a:moveTo>
                  <a:cubicBezTo>
                    <a:pt x="509" y="187"/>
                    <a:pt x="602" y="280"/>
                    <a:pt x="602" y="395"/>
                  </a:cubicBezTo>
                  <a:cubicBezTo>
                    <a:pt x="602" y="509"/>
                    <a:pt x="509" y="603"/>
                    <a:pt x="395" y="603"/>
                  </a:cubicBezTo>
                  <a:cubicBezTo>
                    <a:pt x="280" y="603"/>
                    <a:pt x="187" y="509"/>
                    <a:pt x="187" y="395"/>
                  </a:cubicBezTo>
                  <a:cubicBezTo>
                    <a:pt x="187" y="280"/>
                    <a:pt x="280" y="187"/>
                    <a:pt x="395" y="18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71"/>
            <p:cNvSpPr>
              <a:spLocks noEditPoints="1"/>
            </p:cNvSpPr>
            <p:nvPr/>
          </p:nvSpPr>
          <p:spPr bwMode="auto">
            <a:xfrm>
              <a:off x="5675" y="81"/>
              <a:ext cx="48" cy="48"/>
            </a:xfrm>
            <a:custGeom>
              <a:avLst/>
              <a:gdLst>
                <a:gd name="T0" fmla="*/ 790 w 790"/>
                <a:gd name="T1" fmla="*/ 395 h 790"/>
                <a:gd name="T2" fmla="*/ 395 w 790"/>
                <a:gd name="T3" fmla="*/ 0 h 790"/>
                <a:gd name="T4" fmla="*/ 0 w 790"/>
                <a:gd name="T5" fmla="*/ 395 h 790"/>
                <a:gd name="T6" fmla="*/ 395 w 790"/>
                <a:gd name="T7" fmla="*/ 790 h 790"/>
                <a:gd name="T8" fmla="*/ 790 w 790"/>
                <a:gd name="T9" fmla="*/ 395 h 790"/>
                <a:gd name="T10" fmla="*/ 187 w 790"/>
                <a:gd name="T11" fmla="*/ 395 h 790"/>
                <a:gd name="T12" fmla="*/ 395 w 790"/>
                <a:gd name="T13" fmla="*/ 187 h 790"/>
                <a:gd name="T14" fmla="*/ 602 w 790"/>
                <a:gd name="T15" fmla="*/ 395 h 790"/>
                <a:gd name="T16" fmla="*/ 395 w 790"/>
                <a:gd name="T17" fmla="*/ 603 h 790"/>
                <a:gd name="T18" fmla="*/ 187 w 790"/>
                <a:gd name="T19" fmla="*/ 395 h 7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0" h="790">
                  <a:moveTo>
                    <a:pt x="790" y="395"/>
                  </a:moveTo>
                  <a:cubicBezTo>
                    <a:pt x="790" y="177"/>
                    <a:pt x="612" y="0"/>
                    <a:pt x="395" y="0"/>
                  </a:cubicBezTo>
                  <a:cubicBezTo>
                    <a:pt x="177" y="0"/>
                    <a:pt x="0" y="177"/>
                    <a:pt x="0" y="395"/>
                  </a:cubicBezTo>
                  <a:cubicBezTo>
                    <a:pt x="0" y="613"/>
                    <a:pt x="177" y="790"/>
                    <a:pt x="395" y="790"/>
                  </a:cubicBezTo>
                  <a:cubicBezTo>
                    <a:pt x="612" y="790"/>
                    <a:pt x="790" y="613"/>
                    <a:pt x="790" y="395"/>
                  </a:cubicBezTo>
                  <a:close/>
                  <a:moveTo>
                    <a:pt x="187" y="395"/>
                  </a:moveTo>
                  <a:cubicBezTo>
                    <a:pt x="187" y="280"/>
                    <a:pt x="280" y="187"/>
                    <a:pt x="395" y="187"/>
                  </a:cubicBezTo>
                  <a:cubicBezTo>
                    <a:pt x="509" y="187"/>
                    <a:pt x="602" y="280"/>
                    <a:pt x="602" y="395"/>
                  </a:cubicBezTo>
                  <a:cubicBezTo>
                    <a:pt x="602" y="509"/>
                    <a:pt x="509" y="603"/>
                    <a:pt x="395" y="603"/>
                  </a:cubicBezTo>
                  <a:cubicBezTo>
                    <a:pt x="280" y="603"/>
                    <a:pt x="187" y="509"/>
                    <a:pt x="187" y="39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9" name="Rectangle 68"/>
          <p:cNvSpPr/>
          <p:nvPr/>
        </p:nvSpPr>
        <p:spPr>
          <a:xfrm>
            <a:off x="2155529" y="1221583"/>
            <a:ext cx="788094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50" charset="0"/>
                <a:ea typeface="Lato Medium" panose="020F0502020204030203" pitchFamily="34" charset="0"/>
                <a:cs typeface="Lato Medium" panose="020F0502020204030203" pitchFamily="34" charset="0"/>
              </a:rPr>
              <a:t>WE ARE EXPERIENCED IN:</a:t>
            </a:r>
          </a:p>
        </p:txBody>
      </p:sp>
    </p:spTree>
    <p:extLst>
      <p:ext uri="{BB962C8B-B14F-4D97-AF65-F5344CB8AC3E}">
        <p14:creationId xmlns:p14="http://schemas.microsoft.com/office/powerpoint/2010/main" val="19947678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rgbClr val="EAEAEA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52020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7" name="Diapositive think-cell" r:id="rId5" imgW="592" imgH="595" progId="TCLayout.ActiveDocument.1">
                  <p:embed/>
                </p:oleObj>
              </mc:Choice>
              <mc:Fallback>
                <p:oleObj name="Diapositive think-cell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Image 2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06" b="19473"/>
          <a:stretch/>
        </p:blipFill>
        <p:spPr>
          <a:xfrm>
            <a:off x="0" y="964097"/>
            <a:ext cx="12192000" cy="4925588"/>
          </a:xfrm>
          <a:prstGeom prst="rect">
            <a:avLst/>
          </a:prstGeom>
        </p:spPr>
      </p:pic>
      <p:sp>
        <p:nvSpPr>
          <p:cNvPr id="30" name="Rectangle 29"/>
          <p:cNvSpPr/>
          <p:nvPr/>
        </p:nvSpPr>
        <p:spPr>
          <a:xfrm rot="10800000">
            <a:off x="0" y="968318"/>
            <a:ext cx="12192000" cy="4921365"/>
          </a:xfrm>
          <a:prstGeom prst="rect">
            <a:avLst/>
          </a:prstGeom>
          <a:gradFill>
            <a:gsLst>
              <a:gs pos="0">
                <a:srgbClr val="A136A0">
                  <a:alpha val="74000"/>
                </a:srgbClr>
              </a:gs>
              <a:gs pos="100000">
                <a:srgbClr val="7030A0">
                  <a:alpha val="87000"/>
                </a:srgb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956240" y="215250"/>
            <a:ext cx="62795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KEY FACTS</a:t>
            </a:r>
          </a:p>
        </p:txBody>
      </p:sp>
      <p:grpSp>
        <p:nvGrpSpPr>
          <p:cNvPr id="31" name="Groupe 30"/>
          <p:cNvGrpSpPr/>
          <p:nvPr/>
        </p:nvGrpSpPr>
        <p:grpSpPr>
          <a:xfrm>
            <a:off x="2187258" y="1181723"/>
            <a:ext cx="7817484" cy="4494555"/>
            <a:chOff x="2123884" y="1169194"/>
            <a:chExt cx="8286638" cy="4764289"/>
          </a:xfrm>
        </p:grpSpPr>
        <p:pic>
          <p:nvPicPr>
            <p:cNvPr id="10" name="Image 9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8" t="10505" r="75926" b="60058"/>
            <a:stretch/>
          </p:blipFill>
          <p:spPr>
            <a:xfrm>
              <a:off x="2123884" y="1169194"/>
              <a:ext cx="1736724" cy="1443184"/>
            </a:xfrm>
            <a:prstGeom prst="roundRect">
              <a:avLst/>
            </a:prstGeom>
            <a:effectLst>
              <a:outerShdw blurRad="165100" dist="38100" dir="5400000" algn="t" rotWithShape="0">
                <a:prstClr val="black">
                  <a:alpha val="19000"/>
                </a:prstClr>
              </a:outerShdw>
            </a:effectLst>
          </p:spPr>
        </p:pic>
        <p:pic>
          <p:nvPicPr>
            <p:cNvPr id="11" name="Image 10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445" t="10505" r="51239" b="60058"/>
            <a:stretch/>
          </p:blipFill>
          <p:spPr>
            <a:xfrm>
              <a:off x="4305109" y="1169194"/>
              <a:ext cx="1736724" cy="1443184"/>
            </a:xfrm>
            <a:prstGeom prst="roundRect">
              <a:avLst/>
            </a:prstGeom>
            <a:effectLst>
              <a:outerShdw blurRad="165100" dist="38100" dir="5400000" algn="t" rotWithShape="0">
                <a:prstClr val="black">
                  <a:alpha val="19000"/>
                </a:prstClr>
              </a:outerShdw>
            </a:effectLst>
          </p:spPr>
        </p:pic>
        <p:pic>
          <p:nvPicPr>
            <p:cNvPr id="12" name="Image 11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242" t="10505" r="26442" b="60058"/>
            <a:stretch/>
          </p:blipFill>
          <p:spPr>
            <a:xfrm>
              <a:off x="6542881" y="1169194"/>
              <a:ext cx="1736724" cy="1443184"/>
            </a:xfrm>
            <a:prstGeom prst="roundRect">
              <a:avLst/>
            </a:prstGeom>
            <a:effectLst>
              <a:outerShdw blurRad="165100" dist="38100" dir="5400000" algn="t" rotWithShape="0">
                <a:prstClr val="black">
                  <a:alpha val="19000"/>
                </a:prstClr>
              </a:outerShdw>
            </a:effectLst>
          </p:spPr>
        </p:pic>
        <p:pic>
          <p:nvPicPr>
            <p:cNvPr id="13" name="Image 12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552" t="10505" r="1132" b="60058"/>
            <a:stretch/>
          </p:blipFill>
          <p:spPr>
            <a:xfrm>
              <a:off x="8673798" y="1169194"/>
              <a:ext cx="1736724" cy="1443184"/>
            </a:xfrm>
            <a:prstGeom prst="roundRect">
              <a:avLst/>
            </a:prstGeom>
            <a:effectLst>
              <a:outerShdw blurRad="165100" dist="38100" dir="5400000" algn="t" rotWithShape="0">
                <a:prstClr val="black">
                  <a:alpha val="19000"/>
                </a:prstClr>
              </a:outerShdw>
            </a:effectLst>
          </p:spPr>
        </p:pic>
        <p:pic>
          <p:nvPicPr>
            <p:cNvPr id="14" name="Image 13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8" t="41401" r="75926" b="33281"/>
            <a:stretch/>
          </p:blipFill>
          <p:spPr>
            <a:xfrm>
              <a:off x="2123884" y="2947584"/>
              <a:ext cx="1736724" cy="1241253"/>
            </a:xfrm>
            <a:prstGeom prst="roundRect">
              <a:avLst/>
            </a:prstGeom>
            <a:effectLst>
              <a:outerShdw blurRad="165100" dist="38100" dir="5400000" algn="t" rotWithShape="0">
                <a:prstClr val="black">
                  <a:alpha val="19000"/>
                </a:prstClr>
              </a:outerShdw>
            </a:effectLst>
          </p:spPr>
        </p:pic>
        <p:pic>
          <p:nvPicPr>
            <p:cNvPr id="22" name="Image 21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28" t="41401" r="51056" b="33281"/>
            <a:stretch/>
          </p:blipFill>
          <p:spPr>
            <a:xfrm>
              <a:off x="4305109" y="2947584"/>
              <a:ext cx="1736724" cy="1241253"/>
            </a:xfrm>
            <a:prstGeom prst="roundRect">
              <a:avLst/>
            </a:prstGeom>
            <a:effectLst>
              <a:outerShdw blurRad="165100" dist="38100" dir="5400000" algn="t" rotWithShape="0">
                <a:prstClr val="black">
                  <a:alpha val="19000"/>
                </a:prstClr>
              </a:outerShdw>
            </a:effectLst>
          </p:spPr>
        </p:pic>
        <p:pic>
          <p:nvPicPr>
            <p:cNvPr id="23" name="Image 22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645" t="41401" r="26039" b="33281"/>
            <a:stretch/>
          </p:blipFill>
          <p:spPr>
            <a:xfrm>
              <a:off x="6542881" y="2947584"/>
              <a:ext cx="1736724" cy="1241253"/>
            </a:xfrm>
            <a:prstGeom prst="roundRect">
              <a:avLst/>
            </a:prstGeom>
            <a:effectLst>
              <a:outerShdw blurRad="165100" dist="38100" dir="5400000" algn="t" rotWithShape="0">
                <a:prstClr val="black">
                  <a:alpha val="19000"/>
                </a:prstClr>
              </a:outerShdw>
            </a:effectLst>
          </p:spPr>
        </p:pic>
        <p:pic>
          <p:nvPicPr>
            <p:cNvPr id="24" name="Image 23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808" t="41401" r="876" b="33281"/>
            <a:stretch/>
          </p:blipFill>
          <p:spPr>
            <a:xfrm>
              <a:off x="8673798" y="2947584"/>
              <a:ext cx="1736724" cy="1241253"/>
            </a:xfrm>
            <a:prstGeom prst="roundRect">
              <a:avLst/>
            </a:prstGeom>
            <a:effectLst>
              <a:outerShdw blurRad="165100" dist="38100" dir="5400000" algn="t" rotWithShape="0">
                <a:prstClr val="black">
                  <a:alpha val="19000"/>
                </a:prstClr>
              </a:outerShdw>
            </a:effectLst>
          </p:spPr>
        </p:pic>
        <p:pic>
          <p:nvPicPr>
            <p:cNvPr id="25" name="Image 24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8" t="68296" r="75926" b="2274"/>
            <a:stretch/>
          </p:blipFill>
          <p:spPr>
            <a:xfrm>
              <a:off x="2123884" y="4490634"/>
              <a:ext cx="1736724" cy="1442849"/>
            </a:xfrm>
            <a:prstGeom prst="roundRect">
              <a:avLst/>
            </a:prstGeom>
            <a:effectLst>
              <a:outerShdw blurRad="165100" dist="38100" dir="5400000" algn="t" rotWithShape="0">
                <a:prstClr val="black">
                  <a:alpha val="19000"/>
                </a:prstClr>
              </a:outerShdw>
            </a:effectLst>
          </p:spPr>
        </p:pic>
        <p:pic>
          <p:nvPicPr>
            <p:cNvPr id="26" name="Image 25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336" t="68296" r="51348" b="2274"/>
            <a:stretch/>
          </p:blipFill>
          <p:spPr>
            <a:xfrm>
              <a:off x="4305109" y="4490634"/>
              <a:ext cx="1736724" cy="1442849"/>
            </a:xfrm>
            <a:prstGeom prst="roundRect">
              <a:avLst/>
            </a:prstGeom>
            <a:effectLst>
              <a:outerShdw blurRad="165100" dist="38100" dir="5400000" algn="t" rotWithShape="0">
                <a:prstClr val="black">
                  <a:alpha val="19000"/>
                </a:prstClr>
              </a:outerShdw>
            </a:effectLst>
          </p:spPr>
        </p:pic>
        <p:pic>
          <p:nvPicPr>
            <p:cNvPr id="27" name="Image 26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499" t="68296" r="26185" b="2274"/>
            <a:stretch/>
          </p:blipFill>
          <p:spPr>
            <a:xfrm>
              <a:off x="6542881" y="4488051"/>
              <a:ext cx="1736724" cy="1442849"/>
            </a:xfrm>
            <a:prstGeom prst="roundRect">
              <a:avLst/>
            </a:prstGeom>
            <a:effectLst>
              <a:outerShdw blurRad="165100" dist="38100" dir="5400000" algn="t" rotWithShape="0">
                <a:prstClr val="black">
                  <a:alpha val="19000"/>
                </a:prstClr>
              </a:outerShdw>
            </a:effectLst>
          </p:spPr>
        </p:pic>
        <p:pic>
          <p:nvPicPr>
            <p:cNvPr id="28" name="Image 27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369" t="68296" r="1315" b="2274"/>
            <a:stretch/>
          </p:blipFill>
          <p:spPr>
            <a:xfrm>
              <a:off x="8673798" y="4488051"/>
              <a:ext cx="1736724" cy="1442849"/>
            </a:xfrm>
            <a:prstGeom prst="roundRect">
              <a:avLst/>
            </a:prstGeom>
            <a:effectLst>
              <a:outerShdw blurRad="165100" dist="38100" dir="5400000" algn="t" rotWithShape="0">
                <a:prstClr val="black">
                  <a:alpha val="19000"/>
                </a:prstClr>
              </a:outerShdw>
            </a:effectLst>
          </p:spPr>
        </p:pic>
      </p:grpSp>
      <p:sp>
        <p:nvSpPr>
          <p:cNvPr id="35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rgbClr val="A136A0"/>
                </a:solidFill>
                <a:latin typeface="Lato Medium"/>
                <a:ea typeface="Lato Medium"/>
                <a:cs typeface="Lato Medium"/>
              </a:rPr>
              <a:t>be-safetech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.c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</a:t>
            </a:r>
            <a:r>
              <a:rPr lang="en-US" b="1" dirty="0">
                <a:solidFill>
                  <a:srgbClr val="FEC232"/>
                </a:solidFill>
                <a:latin typeface="Montserrat"/>
              </a:rPr>
              <a:t>| </a:t>
            </a:r>
            <a:fld id="{DABD2AA5-CABB-4467-8A69-C511B00C377E}" type="slidenum">
              <a:rPr lang="en-US" b="1" dirty="0" smtClean="0">
                <a:solidFill>
                  <a:srgbClr val="A136A0"/>
                </a:solidFill>
                <a:latin typeface="Montserrat"/>
              </a:rPr>
              <a:pPr algn="l" rtl="1"/>
              <a:t>5</a:t>
            </a:fld>
            <a:endParaRPr lang="en-US" b="1" dirty="0">
              <a:solidFill>
                <a:srgbClr val="A136A0"/>
              </a:solidFill>
              <a:latin typeface="Montserrat"/>
            </a:endParaRPr>
          </a:p>
        </p:txBody>
      </p:sp>
      <p:pic>
        <p:nvPicPr>
          <p:cNvPr id="36" name="Image 3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982373"/>
            <a:ext cx="1174243" cy="542252"/>
          </a:xfrm>
          <a:prstGeom prst="rect">
            <a:avLst/>
          </a:prstGeom>
        </p:spPr>
      </p:pic>
      <p:sp>
        <p:nvSpPr>
          <p:cNvPr id="37" name="Rectangle 36"/>
          <p:cNvSpPr/>
          <p:nvPr/>
        </p:nvSpPr>
        <p:spPr>
          <a:xfrm>
            <a:off x="2956240" y="192490"/>
            <a:ext cx="62795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KEY FACTS</a:t>
            </a:r>
          </a:p>
        </p:txBody>
      </p:sp>
    </p:spTree>
    <p:extLst>
      <p:ext uri="{BB962C8B-B14F-4D97-AF65-F5344CB8AC3E}">
        <p14:creationId xmlns:p14="http://schemas.microsoft.com/office/powerpoint/2010/main" val="5503130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rgbClr val="EAEAEA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77381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8" name="Diapositive think-cell" r:id="rId5" imgW="592" imgH="595" progId="TCLayout.ActiveDocument.1">
                  <p:embed/>
                </p:oleObj>
              </mc:Choice>
              <mc:Fallback>
                <p:oleObj name="Diapositive think-cell" r:id="rId5" imgW="592" imgH="595" progId="TCLayout.ActiveDocument.1">
                  <p:embed/>
                  <p:pic>
                    <p:nvPicPr>
                      <p:cNvPr id="5" name="Obje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Image 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8857"/>
            <a:ext cx="12212574" cy="6749143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 rot="10800000">
            <a:off x="0" y="0"/>
            <a:ext cx="12192000" cy="6872286"/>
          </a:xfrm>
          <a:prstGeom prst="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0" name="Rectangle 529"/>
          <p:cNvSpPr/>
          <p:nvPr/>
        </p:nvSpPr>
        <p:spPr>
          <a:xfrm>
            <a:off x="334963" y="206624"/>
            <a:ext cx="1159351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 err="1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BeSafe</a:t>
            </a:r>
            <a:r>
              <a:rPr lang="en-US" sz="28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 can help to reduce incidents/accidents/create a better working environment</a:t>
            </a:r>
          </a:p>
        </p:txBody>
      </p:sp>
      <p:pic>
        <p:nvPicPr>
          <p:cNvPr id="23" name="Image 2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982373"/>
            <a:ext cx="1174243" cy="542252"/>
          </a:xfrm>
          <a:prstGeom prst="rect">
            <a:avLst/>
          </a:prstGeom>
        </p:spPr>
      </p:pic>
      <p:sp>
        <p:nvSpPr>
          <p:cNvPr id="24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rgbClr val="A136A0"/>
                </a:solidFill>
                <a:latin typeface="Lato Medium"/>
                <a:ea typeface="Lato Medium"/>
                <a:cs typeface="Lato Medium"/>
              </a:rPr>
              <a:t>be-safetech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.c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</a:t>
            </a:r>
            <a:r>
              <a:rPr lang="en-US" b="1" dirty="0">
                <a:solidFill>
                  <a:srgbClr val="FEC232"/>
                </a:solidFill>
                <a:latin typeface="Montserrat"/>
              </a:rPr>
              <a:t>| </a:t>
            </a:r>
            <a:fld id="{DABD2AA5-CABB-4467-8A69-C511B00C377E}" type="slidenum">
              <a:rPr lang="en-US" b="1" dirty="0" smtClean="0">
                <a:solidFill>
                  <a:srgbClr val="A136A0"/>
                </a:solidFill>
                <a:latin typeface="Montserrat"/>
              </a:rPr>
              <a:pPr algn="l" rtl="1"/>
              <a:t>6</a:t>
            </a:fld>
            <a:endParaRPr lang="en-US" b="1" dirty="0">
              <a:solidFill>
                <a:srgbClr val="A136A0"/>
              </a:solidFill>
              <a:latin typeface="Montserra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34963" y="3297916"/>
            <a:ext cx="3240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There is now a technology tool that makes complying with ALL these H&amp;S rules and regulations both easy and cost effective</a:t>
            </a:r>
          </a:p>
        </p:txBody>
      </p:sp>
      <p:sp>
        <p:nvSpPr>
          <p:cNvPr id="3" name="Rectangle 2"/>
          <p:cNvSpPr/>
          <p:nvPr/>
        </p:nvSpPr>
        <p:spPr>
          <a:xfrm>
            <a:off x="4845109" y="3297916"/>
            <a:ext cx="25747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Delivers Significant ROI</a:t>
            </a:r>
          </a:p>
        </p:txBody>
      </p:sp>
      <p:sp>
        <p:nvSpPr>
          <p:cNvPr id="4" name="Rectangle 3"/>
          <p:cNvSpPr/>
          <p:nvPr/>
        </p:nvSpPr>
        <p:spPr>
          <a:xfrm>
            <a:off x="8689999" y="3297916"/>
            <a:ext cx="3240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The Compliance Genie™ does all of this – and more! – in one platform</a:t>
            </a:r>
          </a:p>
        </p:txBody>
      </p:sp>
      <p:sp>
        <p:nvSpPr>
          <p:cNvPr id="33" name="Freeform 14"/>
          <p:cNvSpPr>
            <a:spLocks/>
          </p:cNvSpPr>
          <p:nvPr/>
        </p:nvSpPr>
        <p:spPr bwMode="auto">
          <a:xfrm>
            <a:off x="1550373" y="2224687"/>
            <a:ext cx="809179" cy="1018800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>
            <a:gsLst>
              <a:gs pos="0">
                <a:srgbClr val="A136A0"/>
              </a:gs>
              <a:gs pos="100000">
                <a:srgbClr val="7030A0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EC232"/>
              </a:solidFill>
              <a:latin typeface="Montserrat Black" panose="00000A00000000000000" pitchFamily="50" charset="0"/>
            </a:endParaRPr>
          </a:p>
        </p:txBody>
      </p:sp>
      <p:sp>
        <p:nvSpPr>
          <p:cNvPr id="34" name="Freeform 14"/>
          <p:cNvSpPr>
            <a:spLocks/>
          </p:cNvSpPr>
          <p:nvPr/>
        </p:nvSpPr>
        <p:spPr bwMode="auto">
          <a:xfrm>
            <a:off x="5727891" y="2224687"/>
            <a:ext cx="809179" cy="1018800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>
            <a:gsLst>
              <a:gs pos="0">
                <a:srgbClr val="A136A0"/>
              </a:gs>
              <a:gs pos="100000">
                <a:srgbClr val="7030A0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EC232"/>
              </a:solidFill>
              <a:latin typeface="Montserrat Black" panose="00000A00000000000000" pitchFamily="50" charset="0"/>
            </a:endParaRPr>
          </a:p>
        </p:txBody>
      </p:sp>
      <p:sp>
        <p:nvSpPr>
          <p:cNvPr id="39" name="Freeform 14"/>
          <p:cNvSpPr>
            <a:spLocks/>
          </p:cNvSpPr>
          <p:nvPr/>
        </p:nvSpPr>
        <p:spPr bwMode="auto">
          <a:xfrm>
            <a:off x="9905409" y="2224687"/>
            <a:ext cx="809179" cy="1018800"/>
          </a:xfrm>
          <a:custGeom>
            <a:avLst/>
            <a:gdLst>
              <a:gd name="T0" fmla="*/ 555 w 841"/>
              <a:gd name="T1" fmla="*/ 971 h 1059"/>
              <a:gd name="T2" fmla="*/ 841 w 841"/>
              <a:gd name="T3" fmla="*/ 436 h 1059"/>
              <a:gd name="T4" fmla="*/ 841 w 841"/>
              <a:gd name="T5" fmla="*/ 204 h 1059"/>
              <a:gd name="T6" fmla="*/ 772 w 841"/>
              <a:gd name="T7" fmla="*/ 109 h 1059"/>
              <a:gd name="T8" fmla="*/ 452 w 841"/>
              <a:gd name="T9" fmla="*/ 5 h 1059"/>
              <a:gd name="T10" fmla="*/ 420 w 841"/>
              <a:gd name="T11" fmla="*/ 0 h 1059"/>
              <a:gd name="T12" fmla="*/ 390 w 841"/>
              <a:gd name="T13" fmla="*/ 5 h 1059"/>
              <a:gd name="T14" fmla="*/ 70 w 841"/>
              <a:gd name="T15" fmla="*/ 109 h 1059"/>
              <a:gd name="T16" fmla="*/ 0 w 841"/>
              <a:gd name="T17" fmla="*/ 204 h 1059"/>
              <a:gd name="T18" fmla="*/ 0 w 841"/>
              <a:gd name="T19" fmla="*/ 436 h 1059"/>
              <a:gd name="T20" fmla="*/ 287 w 841"/>
              <a:gd name="T21" fmla="*/ 971 h 1059"/>
              <a:gd name="T22" fmla="*/ 420 w 841"/>
              <a:gd name="T23" fmla="*/ 1059 h 1059"/>
              <a:gd name="T24" fmla="*/ 555 w 841"/>
              <a:gd name="T25" fmla="*/ 971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41" h="1059">
                <a:moveTo>
                  <a:pt x="555" y="971"/>
                </a:moveTo>
                <a:cubicBezTo>
                  <a:pt x="733" y="851"/>
                  <a:pt x="841" y="651"/>
                  <a:pt x="841" y="436"/>
                </a:cubicBezTo>
                <a:lnTo>
                  <a:pt x="841" y="204"/>
                </a:lnTo>
                <a:cubicBezTo>
                  <a:pt x="841" y="161"/>
                  <a:pt x="813" y="122"/>
                  <a:pt x="772" y="109"/>
                </a:cubicBezTo>
                <a:lnTo>
                  <a:pt x="452" y="5"/>
                </a:lnTo>
                <a:cubicBezTo>
                  <a:pt x="441" y="2"/>
                  <a:pt x="431" y="0"/>
                  <a:pt x="420" y="0"/>
                </a:cubicBezTo>
                <a:cubicBezTo>
                  <a:pt x="410" y="0"/>
                  <a:pt x="400" y="2"/>
                  <a:pt x="390" y="5"/>
                </a:cubicBezTo>
                <a:lnTo>
                  <a:pt x="70" y="109"/>
                </a:lnTo>
                <a:cubicBezTo>
                  <a:pt x="28" y="122"/>
                  <a:pt x="0" y="161"/>
                  <a:pt x="0" y="204"/>
                </a:cubicBezTo>
                <a:lnTo>
                  <a:pt x="0" y="436"/>
                </a:lnTo>
                <a:cubicBezTo>
                  <a:pt x="0" y="651"/>
                  <a:pt x="108" y="851"/>
                  <a:pt x="287" y="971"/>
                </a:cubicBezTo>
                <a:lnTo>
                  <a:pt x="420" y="1059"/>
                </a:lnTo>
                <a:lnTo>
                  <a:pt x="555" y="971"/>
                </a:lnTo>
                <a:close/>
              </a:path>
            </a:pathLst>
          </a:custGeom>
          <a:gradFill>
            <a:gsLst>
              <a:gs pos="0">
                <a:srgbClr val="A136A0"/>
              </a:gs>
              <a:gs pos="100000">
                <a:srgbClr val="7030A0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rgbClr val="FEC232"/>
              </a:solidFill>
              <a:latin typeface="Montserrat Black" panose="00000A00000000000000" pitchFamily="50" charset="0"/>
            </a:endParaRPr>
          </a:p>
        </p:txBody>
      </p:sp>
      <p:grpSp>
        <p:nvGrpSpPr>
          <p:cNvPr id="50" name="Group 144"/>
          <p:cNvGrpSpPr>
            <a:grpSpLocks noChangeAspect="1"/>
          </p:cNvGrpSpPr>
          <p:nvPr/>
        </p:nvGrpSpPr>
        <p:grpSpPr bwMode="auto">
          <a:xfrm>
            <a:off x="10165469" y="2428877"/>
            <a:ext cx="289058" cy="540000"/>
            <a:chOff x="1931" y="-1224"/>
            <a:chExt cx="182" cy="340"/>
          </a:xfrm>
          <a:gradFill flip="none" rotWithShape="1">
            <a:gsLst>
              <a:gs pos="0">
                <a:srgbClr val="FEC232"/>
              </a:gs>
              <a:gs pos="100000">
                <a:srgbClr val="DF6F51"/>
              </a:gs>
            </a:gsLst>
            <a:lin ang="2700000" scaled="1"/>
            <a:tileRect/>
          </a:gradFill>
        </p:grpSpPr>
        <p:sp>
          <p:nvSpPr>
            <p:cNvPr id="51" name="Freeform 145"/>
            <p:cNvSpPr>
              <a:spLocks noEditPoints="1"/>
            </p:cNvSpPr>
            <p:nvPr/>
          </p:nvSpPr>
          <p:spPr bwMode="auto">
            <a:xfrm>
              <a:off x="1931" y="-1224"/>
              <a:ext cx="182" cy="340"/>
            </a:xfrm>
            <a:custGeom>
              <a:avLst/>
              <a:gdLst>
                <a:gd name="T0" fmla="*/ 2700 w 3200"/>
                <a:gd name="T1" fmla="*/ 0 h 6000"/>
                <a:gd name="T2" fmla="*/ 500 w 3200"/>
                <a:gd name="T3" fmla="*/ 0 h 6000"/>
                <a:gd name="T4" fmla="*/ 0 w 3200"/>
                <a:gd name="T5" fmla="*/ 500 h 6000"/>
                <a:gd name="T6" fmla="*/ 0 w 3200"/>
                <a:gd name="T7" fmla="*/ 5500 h 6000"/>
                <a:gd name="T8" fmla="*/ 500 w 3200"/>
                <a:gd name="T9" fmla="*/ 6000 h 6000"/>
                <a:gd name="T10" fmla="*/ 2700 w 3200"/>
                <a:gd name="T11" fmla="*/ 6000 h 6000"/>
                <a:gd name="T12" fmla="*/ 3200 w 3200"/>
                <a:gd name="T13" fmla="*/ 5500 h 6000"/>
                <a:gd name="T14" fmla="*/ 3200 w 3200"/>
                <a:gd name="T15" fmla="*/ 500 h 6000"/>
                <a:gd name="T16" fmla="*/ 2700 w 3200"/>
                <a:gd name="T17" fmla="*/ 0 h 6000"/>
                <a:gd name="T18" fmla="*/ 1203 w 3200"/>
                <a:gd name="T19" fmla="*/ 5800 h 6000"/>
                <a:gd name="T20" fmla="*/ 500 w 3200"/>
                <a:gd name="T21" fmla="*/ 5800 h 6000"/>
                <a:gd name="T22" fmla="*/ 200 w 3200"/>
                <a:gd name="T23" fmla="*/ 5500 h 6000"/>
                <a:gd name="T24" fmla="*/ 200 w 3200"/>
                <a:gd name="T25" fmla="*/ 5200 h 6000"/>
                <a:gd name="T26" fmla="*/ 1203 w 3200"/>
                <a:gd name="T27" fmla="*/ 5200 h 6000"/>
                <a:gd name="T28" fmla="*/ 1203 w 3200"/>
                <a:gd name="T29" fmla="*/ 5800 h 6000"/>
                <a:gd name="T30" fmla="*/ 1600 w 3200"/>
                <a:gd name="T31" fmla="*/ 5800 h 6000"/>
                <a:gd name="T32" fmla="*/ 1300 w 3200"/>
                <a:gd name="T33" fmla="*/ 5500 h 6000"/>
                <a:gd name="T34" fmla="*/ 1600 w 3200"/>
                <a:gd name="T35" fmla="*/ 5200 h 6000"/>
                <a:gd name="T36" fmla="*/ 1900 w 3200"/>
                <a:gd name="T37" fmla="*/ 5500 h 6000"/>
                <a:gd name="T38" fmla="*/ 1600 w 3200"/>
                <a:gd name="T39" fmla="*/ 5800 h 6000"/>
                <a:gd name="T40" fmla="*/ 3000 w 3200"/>
                <a:gd name="T41" fmla="*/ 5500 h 6000"/>
                <a:gd name="T42" fmla="*/ 2700 w 3200"/>
                <a:gd name="T43" fmla="*/ 5800 h 6000"/>
                <a:gd name="T44" fmla="*/ 1997 w 3200"/>
                <a:gd name="T45" fmla="*/ 5800 h 6000"/>
                <a:gd name="T46" fmla="*/ 1997 w 3200"/>
                <a:gd name="T47" fmla="*/ 5200 h 6000"/>
                <a:gd name="T48" fmla="*/ 3000 w 3200"/>
                <a:gd name="T49" fmla="*/ 5200 h 6000"/>
                <a:gd name="T50" fmla="*/ 3000 w 3200"/>
                <a:gd name="T51" fmla="*/ 5500 h 6000"/>
                <a:gd name="T52" fmla="*/ 3000 w 3200"/>
                <a:gd name="T53" fmla="*/ 5000 h 6000"/>
                <a:gd name="T54" fmla="*/ 200 w 3200"/>
                <a:gd name="T55" fmla="*/ 5000 h 6000"/>
                <a:gd name="T56" fmla="*/ 200 w 3200"/>
                <a:gd name="T57" fmla="*/ 1100 h 6000"/>
                <a:gd name="T58" fmla="*/ 3000 w 3200"/>
                <a:gd name="T59" fmla="*/ 1100 h 6000"/>
                <a:gd name="T60" fmla="*/ 3000 w 3200"/>
                <a:gd name="T61" fmla="*/ 5000 h 6000"/>
                <a:gd name="T62" fmla="*/ 3000 w 3200"/>
                <a:gd name="T63" fmla="*/ 900 h 6000"/>
                <a:gd name="T64" fmla="*/ 200 w 3200"/>
                <a:gd name="T65" fmla="*/ 900 h 6000"/>
                <a:gd name="T66" fmla="*/ 200 w 3200"/>
                <a:gd name="T67" fmla="*/ 500 h 6000"/>
                <a:gd name="T68" fmla="*/ 500 w 3200"/>
                <a:gd name="T69" fmla="*/ 200 h 6000"/>
                <a:gd name="T70" fmla="*/ 2700 w 3200"/>
                <a:gd name="T71" fmla="*/ 200 h 6000"/>
                <a:gd name="T72" fmla="*/ 3000 w 3200"/>
                <a:gd name="T73" fmla="*/ 500 h 6000"/>
                <a:gd name="T74" fmla="*/ 3000 w 3200"/>
                <a:gd name="T75" fmla="*/ 900 h 6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00" h="6000">
                  <a:moveTo>
                    <a:pt x="2700" y="0"/>
                  </a:moveTo>
                  <a:lnTo>
                    <a:pt x="500" y="0"/>
                  </a:lnTo>
                  <a:cubicBezTo>
                    <a:pt x="224" y="0"/>
                    <a:pt x="0" y="224"/>
                    <a:pt x="0" y="500"/>
                  </a:cubicBezTo>
                  <a:lnTo>
                    <a:pt x="0" y="5500"/>
                  </a:lnTo>
                  <a:cubicBezTo>
                    <a:pt x="0" y="5776"/>
                    <a:pt x="224" y="6000"/>
                    <a:pt x="500" y="6000"/>
                  </a:cubicBezTo>
                  <a:lnTo>
                    <a:pt x="2700" y="6000"/>
                  </a:lnTo>
                  <a:cubicBezTo>
                    <a:pt x="2976" y="6000"/>
                    <a:pt x="3200" y="5776"/>
                    <a:pt x="3200" y="5500"/>
                  </a:cubicBezTo>
                  <a:lnTo>
                    <a:pt x="3200" y="500"/>
                  </a:lnTo>
                  <a:cubicBezTo>
                    <a:pt x="3200" y="224"/>
                    <a:pt x="2976" y="0"/>
                    <a:pt x="2700" y="0"/>
                  </a:cubicBezTo>
                  <a:close/>
                  <a:moveTo>
                    <a:pt x="1203" y="5800"/>
                  </a:moveTo>
                  <a:lnTo>
                    <a:pt x="500" y="5800"/>
                  </a:lnTo>
                  <a:cubicBezTo>
                    <a:pt x="334" y="5800"/>
                    <a:pt x="200" y="5666"/>
                    <a:pt x="200" y="5500"/>
                  </a:cubicBezTo>
                  <a:lnTo>
                    <a:pt x="200" y="5200"/>
                  </a:lnTo>
                  <a:lnTo>
                    <a:pt x="1203" y="5200"/>
                  </a:lnTo>
                  <a:cubicBezTo>
                    <a:pt x="1066" y="5377"/>
                    <a:pt x="1066" y="5623"/>
                    <a:pt x="1203" y="5800"/>
                  </a:cubicBezTo>
                  <a:close/>
                  <a:moveTo>
                    <a:pt x="1600" y="5800"/>
                  </a:moveTo>
                  <a:cubicBezTo>
                    <a:pt x="1434" y="5800"/>
                    <a:pt x="1300" y="5666"/>
                    <a:pt x="1300" y="5500"/>
                  </a:cubicBezTo>
                  <a:cubicBezTo>
                    <a:pt x="1300" y="5334"/>
                    <a:pt x="1434" y="5200"/>
                    <a:pt x="1600" y="5200"/>
                  </a:cubicBezTo>
                  <a:cubicBezTo>
                    <a:pt x="1766" y="5200"/>
                    <a:pt x="1900" y="5334"/>
                    <a:pt x="1900" y="5500"/>
                  </a:cubicBezTo>
                  <a:cubicBezTo>
                    <a:pt x="1900" y="5666"/>
                    <a:pt x="1766" y="5800"/>
                    <a:pt x="1600" y="5800"/>
                  </a:cubicBezTo>
                  <a:close/>
                  <a:moveTo>
                    <a:pt x="3000" y="5500"/>
                  </a:moveTo>
                  <a:cubicBezTo>
                    <a:pt x="3000" y="5666"/>
                    <a:pt x="2866" y="5800"/>
                    <a:pt x="2700" y="5800"/>
                  </a:cubicBezTo>
                  <a:lnTo>
                    <a:pt x="1997" y="5800"/>
                  </a:lnTo>
                  <a:cubicBezTo>
                    <a:pt x="2134" y="5623"/>
                    <a:pt x="2134" y="5377"/>
                    <a:pt x="1997" y="5200"/>
                  </a:cubicBezTo>
                  <a:lnTo>
                    <a:pt x="3000" y="5200"/>
                  </a:lnTo>
                  <a:lnTo>
                    <a:pt x="3000" y="5500"/>
                  </a:lnTo>
                  <a:close/>
                  <a:moveTo>
                    <a:pt x="3000" y="5000"/>
                  </a:moveTo>
                  <a:lnTo>
                    <a:pt x="200" y="5000"/>
                  </a:lnTo>
                  <a:lnTo>
                    <a:pt x="200" y="1100"/>
                  </a:lnTo>
                  <a:lnTo>
                    <a:pt x="3000" y="1100"/>
                  </a:lnTo>
                  <a:lnTo>
                    <a:pt x="3000" y="5000"/>
                  </a:lnTo>
                  <a:close/>
                  <a:moveTo>
                    <a:pt x="3000" y="900"/>
                  </a:moveTo>
                  <a:lnTo>
                    <a:pt x="200" y="900"/>
                  </a:lnTo>
                  <a:lnTo>
                    <a:pt x="200" y="500"/>
                  </a:lnTo>
                  <a:cubicBezTo>
                    <a:pt x="200" y="334"/>
                    <a:pt x="334" y="200"/>
                    <a:pt x="500" y="200"/>
                  </a:cubicBezTo>
                  <a:lnTo>
                    <a:pt x="2700" y="200"/>
                  </a:lnTo>
                  <a:cubicBezTo>
                    <a:pt x="2866" y="200"/>
                    <a:pt x="3000" y="334"/>
                    <a:pt x="3000" y="500"/>
                  </a:cubicBezTo>
                  <a:lnTo>
                    <a:pt x="3000" y="9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Rectangle 146"/>
            <p:cNvSpPr>
              <a:spLocks noChangeArrowheads="1"/>
            </p:cNvSpPr>
            <p:nvPr/>
          </p:nvSpPr>
          <p:spPr bwMode="auto">
            <a:xfrm>
              <a:off x="1982" y="-1196"/>
              <a:ext cx="57" cy="1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47"/>
            <p:cNvSpPr>
              <a:spLocks noEditPoints="1"/>
            </p:cNvSpPr>
            <p:nvPr/>
          </p:nvSpPr>
          <p:spPr bwMode="auto">
            <a:xfrm>
              <a:off x="1960" y="-1111"/>
              <a:ext cx="56" cy="57"/>
            </a:xfrm>
            <a:custGeom>
              <a:avLst/>
              <a:gdLst>
                <a:gd name="T0" fmla="*/ 700 w 1000"/>
                <a:gd name="T1" fmla="*/ 0 h 1000"/>
                <a:gd name="T2" fmla="*/ 300 w 1000"/>
                <a:gd name="T3" fmla="*/ 0 h 1000"/>
                <a:gd name="T4" fmla="*/ 0 w 1000"/>
                <a:gd name="T5" fmla="*/ 300 h 1000"/>
                <a:gd name="T6" fmla="*/ 0 w 1000"/>
                <a:gd name="T7" fmla="*/ 700 h 1000"/>
                <a:gd name="T8" fmla="*/ 300 w 1000"/>
                <a:gd name="T9" fmla="*/ 1000 h 1000"/>
                <a:gd name="T10" fmla="*/ 700 w 1000"/>
                <a:gd name="T11" fmla="*/ 1000 h 1000"/>
                <a:gd name="T12" fmla="*/ 1000 w 1000"/>
                <a:gd name="T13" fmla="*/ 700 h 1000"/>
                <a:gd name="T14" fmla="*/ 1000 w 1000"/>
                <a:gd name="T15" fmla="*/ 300 h 1000"/>
                <a:gd name="T16" fmla="*/ 700 w 1000"/>
                <a:gd name="T17" fmla="*/ 0 h 1000"/>
                <a:gd name="T18" fmla="*/ 800 w 1000"/>
                <a:gd name="T19" fmla="*/ 700 h 1000"/>
                <a:gd name="T20" fmla="*/ 700 w 1000"/>
                <a:gd name="T21" fmla="*/ 800 h 1000"/>
                <a:gd name="T22" fmla="*/ 300 w 1000"/>
                <a:gd name="T23" fmla="*/ 800 h 1000"/>
                <a:gd name="T24" fmla="*/ 200 w 1000"/>
                <a:gd name="T25" fmla="*/ 700 h 1000"/>
                <a:gd name="T26" fmla="*/ 200 w 1000"/>
                <a:gd name="T27" fmla="*/ 300 h 1000"/>
                <a:gd name="T28" fmla="*/ 300 w 1000"/>
                <a:gd name="T29" fmla="*/ 200 h 1000"/>
                <a:gd name="T30" fmla="*/ 700 w 1000"/>
                <a:gd name="T31" fmla="*/ 200 h 1000"/>
                <a:gd name="T32" fmla="*/ 800 w 1000"/>
                <a:gd name="T33" fmla="*/ 300 h 1000"/>
                <a:gd name="T34" fmla="*/ 800 w 1000"/>
                <a:gd name="T35" fmla="*/ 70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0" h="1000">
                  <a:moveTo>
                    <a:pt x="700" y="0"/>
                  </a:moveTo>
                  <a:lnTo>
                    <a:pt x="300" y="0"/>
                  </a:lnTo>
                  <a:cubicBezTo>
                    <a:pt x="134" y="0"/>
                    <a:pt x="0" y="134"/>
                    <a:pt x="0" y="300"/>
                  </a:cubicBezTo>
                  <a:lnTo>
                    <a:pt x="0" y="700"/>
                  </a:lnTo>
                  <a:cubicBezTo>
                    <a:pt x="0" y="866"/>
                    <a:pt x="134" y="1000"/>
                    <a:pt x="300" y="1000"/>
                  </a:cubicBezTo>
                  <a:lnTo>
                    <a:pt x="700" y="1000"/>
                  </a:lnTo>
                  <a:cubicBezTo>
                    <a:pt x="866" y="1000"/>
                    <a:pt x="1000" y="866"/>
                    <a:pt x="1000" y="700"/>
                  </a:cubicBezTo>
                  <a:lnTo>
                    <a:pt x="1000" y="300"/>
                  </a:lnTo>
                  <a:cubicBezTo>
                    <a:pt x="1000" y="134"/>
                    <a:pt x="866" y="0"/>
                    <a:pt x="700" y="0"/>
                  </a:cubicBezTo>
                  <a:close/>
                  <a:moveTo>
                    <a:pt x="800" y="700"/>
                  </a:moveTo>
                  <a:cubicBezTo>
                    <a:pt x="800" y="755"/>
                    <a:pt x="755" y="800"/>
                    <a:pt x="700" y="800"/>
                  </a:cubicBezTo>
                  <a:lnTo>
                    <a:pt x="300" y="800"/>
                  </a:lnTo>
                  <a:cubicBezTo>
                    <a:pt x="245" y="800"/>
                    <a:pt x="200" y="755"/>
                    <a:pt x="200" y="700"/>
                  </a:cubicBezTo>
                  <a:lnTo>
                    <a:pt x="200" y="300"/>
                  </a:lnTo>
                  <a:cubicBezTo>
                    <a:pt x="200" y="245"/>
                    <a:pt x="245" y="200"/>
                    <a:pt x="300" y="200"/>
                  </a:cubicBezTo>
                  <a:lnTo>
                    <a:pt x="700" y="200"/>
                  </a:lnTo>
                  <a:cubicBezTo>
                    <a:pt x="755" y="200"/>
                    <a:pt x="800" y="245"/>
                    <a:pt x="800" y="300"/>
                  </a:cubicBezTo>
                  <a:lnTo>
                    <a:pt x="800" y="7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48"/>
            <p:cNvSpPr>
              <a:spLocks noEditPoints="1"/>
            </p:cNvSpPr>
            <p:nvPr/>
          </p:nvSpPr>
          <p:spPr bwMode="auto">
            <a:xfrm>
              <a:off x="2028" y="-1111"/>
              <a:ext cx="56" cy="57"/>
            </a:xfrm>
            <a:custGeom>
              <a:avLst/>
              <a:gdLst>
                <a:gd name="T0" fmla="*/ 700 w 1000"/>
                <a:gd name="T1" fmla="*/ 0 h 1000"/>
                <a:gd name="T2" fmla="*/ 300 w 1000"/>
                <a:gd name="T3" fmla="*/ 0 h 1000"/>
                <a:gd name="T4" fmla="*/ 0 w 1000"/>
                <a:gd name="T5" fmla="*/ 300 h 1000"/>
                <a:gd name="T6" fmla="*/ 0 w 1000"/>
                <a:gd name="T7" fmla="*/ 700 h 1000"/>
                <a:gd name="T8" fmla="*/ 300 w 1000"/>
                <a:gd name="T9" fmla="*/ 1000 h 1000"/>
                <a:gd name="T10" fmla="*/ 700 w 1000"/>
                <a:gd name="T11" fmla="*/ 1000 h 1000"/>
                <a:gd name="T12" fmla="*/ 1000 w 1000"/>
                <a:gd name="T13" fmla="*/ 700 h 1000"/>
                <a:gd name="T14" fmla="*/ 1000 w 1000"/>
                <a:gd name="T15" fmla="*/ 300 h 1000"/>
                <a:gd name="T16" fmla="*/ 700 w 1000"/>
                <a:gd name="T17" fmla="*/ 0 h 1000"/>
                <a:gd name="T18" fmla="*/ 800 w 1000"/>
                <a:gd name="T19" fmla="*/ 700 h 1000"/>
                <a:gd name="T20" fmla="*/ 700 w 1000"/>
                <a:gd name="T21" fmla="*/ 800 h 1000"/>
                <a:gd name="T22" fmla="*/ 300 w 1000"/>
                <a:gd name="T23" fmla="*/ 800 h 1000"/>
                <a:gd name="T24" fmla="*/ 200 w 1000"/>
                <a:gd name="T25" fmla="*/ 700 h 1000"/>
                <a:gd name="T26" fmla="*/ 200 w 1000"/>
                <a:gd name="T27" fmla="*/ 300 h 1000"/>
                <a:gd name="T28" fmla="*/ 300 w 1000"/>
                <a:gd name="T29" fmla="*/ 200 h 1000"/>
                <a:gd name="T30" fmla="*/ 700 w 1000"/>
                <a:gd name="T31" fmla="*/ 200 h 1000"/>
                <a:gd name="T32" fmla="*/ 800 w 1000"/>
                <a:gd name="T33" fmla="*/ 300 h 1000"/>
                <a:gd name="T34" fmla="*/ 800 w 1000"/>
                <a:gd name="T35" fmla="*/ 70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0" h="1000">
                  <a:moveTo>
                    <a:pt x="700" y="0"/>
                  </a:moveTo>
                  <a:lnTo>
                    <a:pt x="300" y="0"/>
                  </a:lnTo>
                  <a:cubicBezTo>
                    <a:pt x="134" y="0"/>
                    <a:pt x="0" y="134"/>
                    <a:pt x="0" y="300"/>
                  </a:cubicBezTo>
                  <a:lnTo>
                    <a:pt x="0" y="700"/>
                  </a:lnTo>
                  <a:cubicBezTo>
                    <a:pt x="0" y="866"/>
                    <a:pt x="134" y="1000"/>
                    <a:pt x="300" y="1000"/>
                  </a:cubicBezTo>
                  <a:lnTo>
                    <a:pt x="700" y="1000"/>
                  </a:lnTo>
                  <a:cubicBezTo>
                    <a:pt x="866" y="1000"/>
                    <a:pt x="1000" y="866"/>
                    <a:pt x="1000" y="700"/>
                  </a:cubicBezTo>
                  <a:lnTo>
                    <a:pt x="1000" y="300"/>
                  </a:lnTo>
                  <a:cubicBezTo>
                    <a:pt x="1000" y="134"/>
                    <a:pt x="866" y="0"/>
                    <a:pt x="700" y="0"/>
                  </a:cubicBezTo>
                  <a:close/>
                  <a:moveTo>
                    <a:pt x="800" y="700"/>
                  </a:moveTo>
                  <a:cubicBezTo>
                    <a:pt x="800" y="755"/>
                    <a:pt x="755" y="800"/>
                    <a:pt x="700" y="800"/>
                  </a:cubicBezTo>
                  <a:lnTo>
                    <a:pt x="300" y="800"/>
                  </a:lnTo>
                  <a:cubicBezTo>
                    <a:pt x="245" y="800"/>
                    <a:pt x="200" y="755"/>
                    <a:pt x="200" y="700"/>
                  </a:cubicBezTo>
                  <a:lnTo>
                    <a:pt x="200" y="300"/>
                  </a:lnTo>
                  <a:cubicBezTo>
                    <a:pt x="200" y="245"/>
                    <a:pt x="245" y="200"/>
                    <a:pt x="300" y="200"/>
                  </a:cubicBezTo>
                  <a:lnTo>
                    <a:pt x="700" y="200"/>
                  </a:lnTo>
                  <a:cubicBezTo>
                    <a:pt x="755" y="200"/>
                    <a:pt x="800" y="245"/>
                    <a:pt x="800" y="300"/>
                  </a:cubicBezTo>
                  <a:lnTo>
                    <a:pt x="800" y="7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149"/>
            <p:cNvSpPr>
              <a:spLocks noEditPoints="1"/>
            </p:cNvSpPr>
            <p:nvPr/>
          </p:nvSpPr>
          <p:spPr bwMode="auto">
            <a:xfrm>
              <a:off x="1960" y="-1043"/>
              <a:ext cx="56" cy="57"/>
            </a:xfrm>
            <a:custGeom>
              <a:avLst/>
              <a:gdLst>
                <a:gd name="T0" fmla="*/ 700 w 1000"/>
                <a:gd name="T1" fmla="*/ 0 h 1000"/>
                <a:gd name="T2" fmla="*/ 300 w 1000"/>
                <a:gd name="T3" fmla="*/ 0 h 1000"/>
                <a:gd name="T4" fmla="*/ 0 w 1000"/>
                <a:gd name="T5" fmla="*/ 300 h 1000"/>
                <a:gd name="T6" fmla="*/ 0 w 1000"/>
                <a:gd name="T7" fmla="*/ 700 h 1000"/>
                <a:gd name="T8" fmla="*/ 300 w 1000"/>
                <a:gd name="T9" fmla="*/ 1000 h 1000"/>
                <a:gd name="T10" fmla="*/ 700 w 1000"/>
                <a:gd name="T11" fmla="*/ 1000 h 1000"/>
                <a:gd name="T12" fmla="*/ 1000 w 1000"/>
                <a:gd name="T13" fmla="*/ 700 h 1000"/>
                <a:gd name="T14" fmla="*/ 1000 w 1000"/>
                <a:gd name="T15" fmla="*/ 300 h 1000"/>
                <a:gd name="T16" fmla="*/ 700 w 1000"/>
                <a:gd name="T17" fmla="*/ 0 h 1000"/>
                <a:gd name="T18" fmla="*/ 800 w 1000"/>
                <a:gd name="T19" fmla="*/ 700 h 1000"/>
                <a:gd name="T20" fmla="*/ 700 w 1000"/>
                <a:gd name="T21" fmla="*/ 800 h 1000"/>
                <a:gd name="T22" fmla="*/ 300 w 1000"/>
                <a:gd name="T23" fmla="*/ 800 h 1000"/>
                <a:gd name="T24" fmla="*/ 200 w 1000"/>
                <a:gd name="T25" fmla="*/ 700 h 1000"/>
                <a:gd name="T26" fmla="*/ 200 w 1000"/>
                <a:gd name="T27" fmla="*/ 300 h 1000"/>
                <a:gd name="T28" fmla="*/ 300 w 1000"/>
                <a:gd name="T29" fmla="*/ 200 h 1000"/>
                <a:gd name="T30" fmla="*/ 700 w 1000"/>
                <a:gd name="T31" fmla="*/ 200 h 1000"/>
                <a:gd name="T32" fmla="*/ 800 w 1000"/>
                <a:gd name="T33" fmla="*/ 300 h 1000"/>
                <a:gd name="T34" fmla="*/ 800 w 1000"/>
                <a:gd name="T35" fmla="*/ 70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0" h="1000">
                  <a:moveTo>
                    <a:pt x="700" y="0"/>
                  </a:moveTo>
                  <a:lnTo>
                    <a:pt x="300" y="0"/>
                  </a:lnTo>
                  <a:cubicBezTo>
                    <a:pt x="134" y="0"/>
                    <a:pt x="0" y="134"/>
                    <a:pt x="0" y="300"/>
                  </a:cubicBezTo>
                  <a:lnTo>
                    <a:pt x="0" y="700"/>
                  </a:lnTo>
                  <a:cubicBezTo>
                    <a:pt x="0" y="866"/>
                    <a:pt x="134" y="1000"/>
                    <a:pt x="300" y="1000"/>
                  </a:cubicBezTo>
                  <a:lnTo>
                    <a:pt x="700" y="1000"/>
                  </a:lnTo>
                  <a:cubicBezTo>
                    <a:pt x="866" y="1000"/>
                    <a:pt x="1000" y="866"/>
                    <a:pt x="1000" y="700"/>
                  </a:cubicBezTo>
                  <a:lnTo>
                    <a:pt x="1000" y="300"/>
                  </a:lnTo>
                  <a:cubicBezTo>
                    <a:pt x="1000" y="134"/>
                    <a:pt x="866" y="0"/>
                    <a:pt x="700" y="0"/>
                  </a:cubicBezTo>
                  <a:close/>
                  <a:moveTo>
                    <a:pt x="800" y="700"/>
                  </a:moveTo>
                  <a:cubicBezTo>
                    <a:pt x="800" y="755"/>
                    <a:pt x="755" y="800"/>
                    <a:pt x="700" y="800"/>
                  </a:cubicBezTo>
                  <a:lnTo>
                    <a:pt x="300" y="800"/>
                  </a:lnTo>
                  <a:cubicBezTo>
                    <a:pt x="245" y="800"/>
                    <a:pt x="200" y="755"/>
                    <a:pt x="200" y="700"/>
                  </a:cubicBezTo>
                  <a:lnTo>
                    <a:pt x="200" y="300"/>
                  </a:lnTo>
                  <a:cubicBezTo>
                    <a:pt x="200" y="245"/>
                    <a:pt x="245" y="200"/>
                    <a:pt x="300" y="200"/>
                  </a:cubicBezTo>
                  <a:lnTo>
                    <a:pt x="700" y="200"/>
                  </a:lnTo>
                  <a:cubicBezTo>
                    <a:pt x="755" y="200"/>
                    <a:pt x="800" y="245"/>
                    <a:pt x="800" y="300"/>
                  </a:cubicBezTo>
                  <a:lnTo>
                    <a:pt x="800" y="7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50"/>
            <p:cNvSpPr>
              <a:spLocks noEditPoints="1"/>
            </p:cNvSpPr>
            <p:nvPr/>
          </p:nvSpPr>
          <p:spPr bwMode="auto">
            <a:xfrm>
              <a:off x="2028" y="-1043"/>
              <a:ext cx="56" cy="57"/>
            </a:xfrm>
            <a:custGeom>
              <a:avLst/>
              <a:gdLst>
                <a:gd name="T0" fmla="*/ 700 w 1000"/>
                <a:gd name="T1" fmla="*/ 0 h 1000"/>
                <a:gd name="T2" fmla="*/ 300 w 1000"/>
                <a:gd name="T3" fmla="*/ 0 h 1000"/>
                <a:gd name="T4" fmla="*/ 0 w 1000"/>
                <a:gd name="T5" fmla="*/ 300 h 1000"/>
                <a:gd name="T6" fmla="*/ 0 w 1000"/>
                <a:gd name="T7" fmla="*/ 700 h 1000"/>
                <a:gd name="T8" fmla="*/ 300 w 1000"/>
                <a:gd name="T9" fmla="*/ 1000 h 1000"/>
                <a:gd name="T10" fmla="*/ 700 w 1000"/>
                <a:gd name="T11" fmla="*/ 1000 h 1000"/>
                <a:gd name="T12" fmla="*/ 1000 w 1000"/>
                <a:gd name="T13" fmla="*/ 700 h 1000"/>
                <a:gd name="T14" fmla="*/ 1000 w 1000"/>
                <a:gd name="T15" fmla="*/ 300 h 1000"/>
                <a:gd name="T16" fmla="*/ 700 w 1000"/>
                <a:gd name="T17" fmla="*/ 0 h 1000"/>
                <a:gd name="T18" fmla="*/ 800 w 1000"/>
                <a:gd name="T19" fmla="*/ 700 h 1000"/>
                <a:gd name="T20" fmla="*/ 700 w 1000"/>
                <a:gd name="T21" fmla="*/ 800 h 1000"/>
                <a:gd name="T22" fmla="*/ 300 w 1000"/>
                <a:gd name="T23" fmla="*/ 800 h 1000"/>
                <a:gd name="T24" fmla="*/ 200 w 1000"/>
                <a:gd name="T25" fmla="*/ 700 h 1000"/>
                <a:gd name="T26" fmla="*/ 200 w 1000"/>
                <a:gd name="T27" fmla="*/ 300 h 1000"/>
                <a:gd name="T28" fmla="*/ 300 w 1000"/>
                <a:gd name="T29" fmla="*/ 200 h 1000"/>
                <a:gd name="T30" fmla="*/ 700 w 1000"/>
                <a:gd name="T31" fmla="*/ 200 h 1000"/>
                <a:gd name="T32" fmla="*/ 800 w 1000"/>
                <a:gd name="T33" fmla="*/ 300 h 1000"/>
                <a:gd name="T34" fmla="*/ 800 w 1000"/>
                <a:gd name="T35" fmla="*/ 70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0" h="1000">
                  <a:moveTo>
                    <a:pt x="700" y="0"/>
                  </a:moveTo>
                  <a:lnTo>
                    <a:pt x="300" y="0"/>
                  </a:lnTo>
                  <a:cubicBezTo>
                    <a:pt x="134" y="0"/>
                    <a:pt x="0" y="134"/>
                    <a:pt x="0" y="300"/>
                  </a:cubicBezTo>
                  <a:lnTo>
                    <a:pt x="0" y="700"/>
                  </a:lnTo>
                  <a:cubicBezTo>
                    <a:pt x="0" y="866"/>
                    <a:pt x="134" y="1000"/>
                    <a:pt x="300" y="1000"/>
                  </a:cubicBezTo>
                  <a:lnTo>
                    <a:pt x="700" y="1000"/>
                  </a:lnTo>
                  <a:cubicBezTo>
                    <a:pt x="866" y="1000"/>
                    <a:pt x="1000" y="866"/>
                    <a:pt x="1000" y="700"/>
                  </a:cubicBezTo>
                  <a:lnTo>
                    <a:pt x="1000" y="300"/>
                  </a:lnTo>
                  <a:cubicBezTo>
                    <a:pt x="1000" y="134"/>
                    <a:pt x="866" y="0"/>
                    <a:pt x="700" y="0"/>
                  </a:cubicBezTo>
                  <a:close/>
                  <a:moveTo>
                    <a:pt x="800" y="700"/>
                  </a:moveTo>
                  <a:cubicBezTo>
                    <a:pt x="800" y="755"/>
                    <a:pt x="755" y="800"/>
                    <a:pt x="700" y="800"/>
                  </a:cubicBezTo>
                  <a:lnTo>
                    <a:pt x="300" y="800"/>
                  </a:lnTo>
                  <a:cubicBezTo>
                    <a:pt x="245" y="800"/>
                    <a:pt x="200" y="755"/>
                    <a:pt x="200" y="700"/>
                  </a:cubicBezTo>
                  <a:lnTo>
                    <a:pt x="200" y="300"/>
                  </a:lnTo>
                  <a:cubicBezTo>
                    <a:pt x="200" y="245"/>
                    <a:pt x="245" y="200"/>
                    <a:pt x="300" y="200"/>
                  </a:cubicBezTo>
                  <a:lnTo>
                    <a:pt x="700" y="200"/>
                  </a:lnTo>
                  <a:cubicBezTo>
                    <a:pt x="755" y="200"/>
                    <a:pt x="800" y="245"/>
                    <a:pt x="800" y="300"/>
                  </a:cubicBezTo>
                  <a:lnTo>
                    <a:pt x="800" y="7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151"/>
            <p:cNvSpPr>
              <a:spLocks/>
            </p:cNvSpPr>
            <p:nvPr/>
          </p:nvSpPr>
          <p:spPr bwMode="auto">
            <a:xfrm>
              <a:off x="1954" y="-1150"/>
              <a:ext cx="28" cy="28"/>
            </a:xfrm>
            <a:custGeom>
              <a:avLst/>
              <a:gdLst>
                <a:gd name="T0" fmla="*/ 400 w 500"/>
                <a:gd name="T1" fmla="*/ 0 h 500"/>
                <a:gd name="T2" fmla="*/ 100 w 500"/>
                <a:gd name="T3" fmla="*/ 0 h 500"/>
                <a:gd name="T4" fmla="*/ 0 w 500"/>
                <a:gd name="T5" fmla="*/ 100 h 500"/>
                <a:gd name="T6" fmla="*/ 0 w 500"/>
                <a:gd name="T7" fmla="*/ 400 h 500"/>
                <a:gd name="T8" fmla="*/ 100 w 500"/>
                <a:gd name="T9" fmla="*/ 500 h 500"/>
                <a:gd name="T10" fmla="*/ 200 w 500"/>
                <a:gd name="T11" fmla="*/ 400 h 500"/>
                <a:gd name="T12" fmla="*/ 200 w 500"/>
                <a:gd name="T13" fmla="*/ 200 h 500"/>
                <a:gd name="T14" fmla="*/ 400 w 500"/>
                <a:gd name="T15" fmla="*/ 200 h 500"/>
                <a:gd name="T16" fmla="*/ 500 w 500"/>
                <a:gd name="T17" fmla="*/ 100 h 500"/>
                <a:gd name="T18" fmla="*/ 400 w 500"/>
                <a:gd name="T19" fmla="*/ 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0" h="500">
                  <a:moveTo>
                    <a:pt x="400" y="0"/>
                  </a:move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lnTo>
                    <a:pt x="0" y="400"/>
                  </a:lnTo>
                  <a:cubicBezTo>
                    <a:pt x="0" y="455"/>
                    <a:pt x="45" y="500"/>
                    <a:pt x="100" y="500"/>
                  </a:cubicBezTo>
                  <a:cubicBezTo>
                    <a:pt x="155" y="500"/>
                    <a:pt x="200" y="455"/>
                    <a:pt x="200" y="400"/>
                  </a:cubicBezTo>
                  <a:lnTo>
                    <a:pt x="200" y="200"/>
                  </a:lnTo>
                  <a:lnTo>
                    <a:pt x="400" y="200"/>
                  </a:lnTo>
                  <a:cubicBezTo>
                    <a:pt x="455" y="200"/>
                    <a:pt x="500" y="155"/>
                    <a:pt x="500" y="100"/>
                  </a:cubicBezTo>
                  <a:cubicBezTo>
                    <a:pt x="500" y="45"/>
                    <a:pt x="455" y="0"/>
                    <a:pt x="4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152"/>
            <p:cNvSpPr>
              <a:spLocks/>
            </p:cNvSpPr>
            <p:nvPr/>
          </p:nvSpPr>
          <p:spPr bwMode="auto">
            <a:xfrm>
              <a:off x="1994" y="-1150"/>
              <a:ext cx="22" cy="11"/>
            </a:xfrm>
            <a:custGeom>
              <a:avLst/>
              <a:gdLst>
                <a:gd name="T0" fmla="*/ 300 w 400"/>
                <a:gd name="T1" fmla="*/ 0 h 200"/>
                <a:gd name="T2" fmla="*/ 100 w 400"/>
                <a:gd name="T3" fmla="*/ 0 h 200"/>
                <a:gd name="T4" fmla="*/ 0 w 400"/>
                <a:gd name="T5" fmla="*/ 100 h 200"/>
                <a:gd name="T6" fmla="*/ 100 w 400"/>
                <a:gd name="T7" fmla="*/ 200 h 200"/>
                <a:gd name="T8" fmla="*/ 300 w 400"/>
                <a:gd name="T9" fmla="*/ 200 h 200"/>
                <a:gd name="T10" fmla="*/ 400 w 400"/>
                <a:gd name="T11" fmla="*/ 100 h 200"/>
                <a:gd name="T12" fmla="*/ 300 w 400"/>
                <a:gd name="T13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0" h="200">
                  <a:moveTo>
                    <a:pt x="300" y="0"/>
                  </a:move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lnTo>
                    <a:pt x="300" y="200"/>
                  </a:lnTo>
                  <a:cubicBezTo>
                    <a:pt x="355" y="200"/>
                    <a:pt x="400" y="155"/>
                    <a:pt x="400" y="100"/>
                  </a:cubicBezTo>
                  <a:cubicBezTo>
                    <a:pt x="400" y="45"/>
                    <a:pt x="355" y="0"/>
                    <a:pt x="3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153"/>
            <p:cNvSpPr>
              <a:spLocks noChangeArrowheads="1"/>
            </p:cNvSpPr>
            <p:nvPr/>
          </p:nvSpPr>
          <p:spPr bwMode="auto">
            <a:xfrm>
              <a:off x="2050" y="-1196"/>
              <a:ext cx="12" cy="1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Group 18"/>
          <p:cNvGrpSpPr>
            <a:grpSpLocks noChangeAspect="1"/>
          </p:cNvGrpSpPr>
          <p:nvPr/>
        </p:nvGrpSpPr>
        <p:grpSpPr bwMode="auto">
          <a:xfrm>
            <a:off x="5839441" y="2428877"/>
            <a:ext cx="584554" cy="540000"/>
            <a:chOff x="3698" y="1568"/>
            <a:chExt cx="328" cy="303"/>
          </a:xfrm>
          <a:gradFill flip="none" rotWithShape="1">
            <a:gsLst>
              <a:gs pos="0">
                <a:srgbClr val="FEC232"/>
              </a:gs>
              <a:gs pos="100000">
                <a:srgbClr val="DF6F51"/>
              </a:gs>
            </a:gsLst>
            <a:lin ang="2700000" scaled="1"/>
            <a:tileRect/>
          </a:gradFill>
        </p:grpSpPr>
        <p:sp>
          <p:nvSpPr>
            <p:cNvPr id="12" name="Freeform 19"/>
            <p:cNvSpPr>
              <a:spLocks noEditPoints="1"/>
            </p:cNvSpPr>
            <p:nvPr/>
          </p:nvSpPr>
          <p:spPr bwMode="auto">
            <a:xfrm>
              <a:off x="3698" y="1722"/>
              <a:ext cx="328" cy="149"/>
            </a:xfrm>
            <a:custGeom>
              <a:avLst/>
              <a:gdLst>
                <a:gd name="T0" fmla="*/ 5436 w 6165"/>
                <a:gd name="T1" fmla="*/ 273 h 2801"/>
                <a:gd name="T2" fmla="*/ 4920 w 6165"/>
                <a:gd name="T3" fmla="*/ 140 h 2801"/>
                <a:gd name="T4" fmla="*/ 4195 w 6165"/>
                <a:gd name="T5" fmla="*/ 121 h 2801"/>
                <a:gd name="T6" fmla="*/ 3256 w 6165"/>
                <a:gd name="T7" fmla="*/ 344 h 2801"/>
                <a:gd name="T8" fmla="*/ 2846 w 6165"/>
                <a:gd name="T9" fmla="*/ 230 h 2801"/>
                <a:gd name="T10" fmla="*/ 1531 w 6165"/>
                <a:gd name="T11" fmla="*/ 363 h 2801"/>
                <a:gd name="T12" fmla="*/ 1114 w 6165"/>
                <a:gd name="T13" fmla="*/ 659 h 2801"/>
                <a:gd name="T14" fmla="*/ 940 w 6165"/>
                <a:gd name="T15" fmla="*/ 263 h 2801"/>
                <a:gd name="T16" fmla="*/ 6 w 6165"/>
                <a:gd name="T17" fmla="*/ 347 h 2801"/>
                <a:gd name="T18" fmla="*/ 367 w 6165"/>
                <a:gd name="T19" fmla="*/ 2801 h 2801"/>
                <a:gd name="T20" fmla="*/ 1728 w 6165"/>
                <a:gd name="T21" fmla="*/ 2705 h 2801"/>
                <a:gd name="T22" fmla="*/ 2089 w 6165"/>
                <a:gd name="T23" fmla="*/ 1793 h 2801"/>
                <a:gd name="T24" fmla="*/ 2328 w 6165"/>
                <a:gd name="T25" fmla="*/ 1763 h 2801"/>
                <a:gd name="T26" fmla="*/ 4257 w 6165"/>
                <a:gd name="T27" fmla="*/ 1841 h 2801"/>
                <a:gd name="T28" fmla="*/ 6123 w 6165"/>
                <a:gd name="T29" fmla="*/ 540 h 2801"/>
                <a:gd name="T30" fmla="*/ 5471 w 6165"/>
                <a:gd name="T31" fmla="*/ 254 h 2801"/>
                <a:gd name="T32" fmla="*/ 5302 w 6165"/>
                <a:gd name="T33" fmla="*/ 346 h 2801"/>
                <a:gd name="T34" fmla="*/ 4544 w 6165"/>
                <a:gd name="T35" fmla="*/ 762 h 2801"/>
                <a:gd name="T36" fmla="*/ 4991 w 6165"/>
                <a:gd name="T37" fmla="*/ 272 h 2801"/>
                <a:gd name="T38" fmla="*/ 4271 w 6165"/>
                <a:gd name="T39" fmla="*/ 251 h 2801"/>
                <a:gd name="T40" fmla="*/ 4329 w 6165"/>
                <a:gd name="T41" fmla="*/ 464 h 2801"/>
                <a:gd name="T42" fmla="*/ 4269 w 6165"/>
                <a:gd name="T43" fmla="*/ 252 h 2801"/>
                <a:gd name="T44" fmla="*/ 165 w 6165"/>
                <a:gd name="T45" fmla="*/ 413 h 2801"/>
                <a:gd name="T46" fmla="*/ 1555 w 6165"/>
                <a:gd name="T47" fmla="*/ 2651 h 2801"/>
                <a:gd name="T48" fmla="*/ 4185 w 6165"/>
                <a:gd name="T49" fmla="*/ 1709 h 2801"/>
                <a:gd name="T50" fmla="*/ 2358 w 6165"/>
                <a:gd name="T51" fmla="*/ 1616 h 2801"/>
                <a:gd name="T52" fmla="*/ 2010 w 6165"/>
                <a:gd name="T53" fmla="*/ 1666 h 2801"/>
                <a:gd name="T54" fmla="*/ 1157 w 6165"/>
                <a:gd name="T55" fmla="*/ 803 h 2801"/>
                <a:gd name="T56" fmla="*/ 1629 w 6165"/>
                <a:gd name="T57" fmla="*/ 477 h 2801"/>
                <a:gd name="T58" fmla="*/ 2853 w 6165"/>
                <a:gd name="T59" fmla="*/ 400 h 2801"/>
                <a:gd name="T60" fmla="*/ 3970 w 6165"/>
                <a:gd name="T61" fmla="*/ 494 h 2801"/>
                <a:gd name="T62" fmla="*/ 3895 w 6165"/>
                <a:gd name="T63" fmla="*/ 856 h 2801"/>
                <a:gd name="T64" fmla="*/ 3269 w 6165"/>
                <a:gd name="T65" fmla="*/ 967 h 2801"/>
                <a:gd name="T66" fmla="*/ 3888 w 6165"/>
                <a:gd name="T67" fmla="*/ 1006 h 2801"/>
                <a:gd name="T68" fmla="*/ 4501 w 6165"/>
                <a:gd name="T69" fmla="*/ 1034 h 2801"/>
                <a:gd name="T70" fmla="*/ 4574 w 6165"/>
                <a:gd name="T71" fmla="*/ 915 h 2801"/>
                <a:gd name="T72" fmla="*/ 5543 w 6165"/>
                <a:gd name="T73" fmla="*/ 385 h 2801"/>
                <a:gd name="T74" fmla="*/ 4185 w 6165"/>
                <a:gd name="T75" fmla="*/ 1709 h 2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165" h="2801">
                  <a:moveTo>
                    <a:pt x="5471" y="254"/>
                  </a:moveTo>
                  <a:lnTo>
                    <a:pt x="5436" y="273"/>
                  </a:lnTo>
                  <a:cubicBezTo>
                    <a:pt x="5310" y="115"/>
                    <a:pt x="5089" y="53"/>
                    <a:pt x="4921" y="139"/>
                  </a:cubicBezTo>
                  <a:lnTo>
                    <a:pt x="4920" y="140"/>
                  </a:lnTo>
                  <a:lnTo>
                    <a:pt x="4843" y="182"/>
                  </a:lnTo>
                  <a:cubicBezTo>
                    <a:pt x="4662" y="25"/>
                    <a:pt x="4402" y="0"/>
                    <a:pt x="4195" y="121"/>
                  </a:cubicBezTo>
                  <a:lnTo>
                    <a:pt x="3792" y="344"/>
                  </a:lnTo>
                  <a:lnTo>
                    <a:pt x="3256" y="344"/>
                  </a:lnTo>
                  <a:cubicBezTo>
                    <a:pt x="3139" y="344"/>
                    <a:pt x="3024" y="317"/>
                    <a:pt x="2919" y="266"/>
                  </a:cubicBezTo>
                  <a:lnTo>
                    <a:pt x="2846" y="230"/>
                  </a:lnTo>
                  <a:cubicBezTo>
                    <a:pt x="2420" y="19"/>
                    <a:pt x="1911" y="69"/>
                    <a:pt x="1535" y="360"/>
                  </a:cubicBezTo>
                  <a:cubicBezTo>
                    <a:pt x="1534" y="361"/>
                    <a:pt x="1532" y="362"/>
                    <a:pt x="1531" y="363"/>
                  </a:cubicBezTo>
                  <a:lnTo>
                    <a:pt x="1353" y="524"/>
                  </a:lnTo>
                  <a:cubicBezTo>
                    <a:pt x="1284" y="586"/>
                    <a:pt x="1203" y="632"/>
                    <a:pt x="1114" y="659"/>
                  </a:cubicBezTo>
                  <a:lnTo>
                    <a:pt x="1012" y="317"/>
                  </a:lnTo>
                  <a:cubicBezTo>
                    <a:pt x="1002" y="285"/>
                    <a:pt x="973" y="263"/>
                    <a:pt x="940" y="263"/>
                  </a:cubicBezTo>
                  <a:lnTo>
                    <a:pt x="80" y="263"/>
                  </a:lnTo>
                  <a:cubicBezTo>
                    <a:pt x="35" y="263"/>
                    <a:pt x="0" y="302"/>
                    <a:pt x="6" y="347"/>
                  </a:cubicBezTo>
                  <a:lnTo>
                    <a:pt x="292" y="2735"/>
                  </a:lnTo>
                  <a:cubicBezTo>
                    <a:pt x="297" y="2773"/>
                    <a:pt x="329" y="2801"/>
                    <a:pt x="367" y="2801"/>
                  </a:cubicBezTo>
                  <a:lnTo>
                    <a:pt x="1656" y="2801"/>
                  </a:lnTo>
                  <a:cubicBezTo>
                    <a:pt x="1706" y="2801"/>
                    <a:pt x="1742" y="2753"/>
                    <a:pt x="1728" y="2705"/>
                  </a:cubicBezTo>
                  <a:lnTo>
                    <a:pt x="1557" y="2135"/>
                  </a:lnTo>
                  <a:lnTo>
                    <a:pt x="2089" y="1793"/>
                  </a:lnTo>
                  <a:cubicBezTo>
                    <a:pt x="2160" y="1753"/>
                    <a:pt x="2244" y="1742"/>
                    <a:pt x="2323" y="1762"/>
                  </a:cubicBezTo>
                  <a:cubicBezTo>
                    <a:pt x="2325" y="1762"/>
                    <a:pt x="2327" y="1763"/>
                    <a:pt x="2328" y="1763"/>
                  </a:cubicBezTo>
                  <a:lnTo>
                    <a:pt x="3402" y="1964"/>
                  </a:lnTo>
                  <a:cubicBezTo>
                    <a:pt x="3693" y="2017"/>
                    <a:pt x="3993" y="1974"/>
                    <a:pt x="4257" y="1841"/>
                  </a:cubicBezTo>
                  <a:cubicBezTo>
                    <a:pt x="4260" y="1839"/>
                    <a:pt x="4264" y="1838"/>
                    <a:pt x="4267" y="1835"/>
                  </a:cubicBezTo>
                  <a:lnTo>
                    <a:pt x="6123" y="540"/>
                  </a:lnTo>
                  <a:cubicBezTo>
                    <a:pt x="6155" y="518"/>
                    <a:pt x="6165" y="474"/>
                    <a:pt x="6145" y="440"/>
                  </a:cubicBezTo>
                  <a:cubicBezTo>
                    <a:pt x="6008" y="206"/>
                    <a:pt x="5709" y="123"/>
                    <a:pt x="5471" y="254"/>
                  </a:cubicBezTo>
                  <a:close/>
                  <a:moveTo>
                    <a:pt x="4991" y="272"/>
                  </a:moveTo>
                  <a:cubicBezTo>
                    <a:pt x="5087" y="223"/>
                    <a:pt x="5218" y="258"/>
                    <a:pt x="5302" y="346"/>
                  </a:cubicBezTo>
                  <a:lnTo>
                    <a:pt x="4590" y="737"/>
                  </a:lnTo>
                  <a:lnTo>
                    <a:pt x="4544" y="762"/>
                  </a:lnTo>
                  <a:cubicBezTo>
                    <a:pt x="4521" y="693"/>
                    <a:pt x="4486" y="630"/>
                    <a:pt x="4441" y="573"/>
                  </a:cubicBezTo>
                  <a:lnTo>
                    <a:pt x="4991" y="272"/>
                  </a:lnTo>
                  <a:close/>
                  <a:moveTo>
                    <a:pt x="4269" y="252"/>
                  </a:moveTo>
                  <a:cubicBezTo>
                    <a:pt x="4269" y="252"/>
                    <a:pt x="4270" y="252"/>
                    <a:pt x="4271" y="251"/>
                  </a:cubicBezTo>
                  <a:cubicBezTo>
                    <a:pt x="4404" y="173"/>
                    <a:pt x="4569" y="177"/>
                    <a:pt x="4699" y="261"/>
                  </a:cubicBezTo>
                  <a:lnTo>
                    <a:pt x="4329" y="464"/>
                  </a:lnTo>
                  <a:cubicBezTo>
                    <a:pt x="4256" y="409"/>
                    <a:pt x="4172" y="372"/>
                    <a:pt x="4083" y="355"/>
                  </a:cubicBezTo>
                  <a:lnTo>
                    <a:pt x="4269" y="252"/>
                  </a:lnTo>
                  <a:close/>
                  <a:moveTo>
                    <a:pt x="433" y="2651"/>
                  </a:moveTo>
                  <a:lnTo>
                    <a:pt x="165" y="413"/>
                  </a:lnTo>
                  <a:lnTo>
                    <a:pt x="884" y="413"/>
                  </a:lnTo>
                  <a:lnTo>
                    <a:pt x="1555" y="2651"/>
                  </a:lnTo>
                  <a:lnTo>
                    <a:pt x="433" y="2651"/>
                  </a:lnTo>
                  <a:close/>
                  <a:moveTo>
                    <a:pt x="4185" y="1709"/>
                  </a:moveTo>
                  <a:cubicBezTo>
                    <a:pt x="3951" y="1825"/>
                    <a:pt x="3686" y="1863"/>
                    <a:pt x="3429" y="1816"/>
                  </a:cubicBezTo>
                  <a:lnTo>
                    <a:pt x="2358" y="1616"/>
                  </a:lnTo>
                  <a:cubicBezTo>
                    <a:pt x="2241" y="1587"/>
                    <a:pt x="2118" y="1604"/>
                    <a:pt x="2013" y="1663"/>
                  </a:cubicBezTo>
                  <a:cubicBezTo>
                    <a:pt x="2012" y="1664"/>
                    <a:pt x="2011" y="1665"/>
                    <a:pt x="2010" y="1666"/>
                  </a:cubicBezTo>
                  <a:lnTo>
                    <a:pt x="1512" y="1985"/>
                  </a:lnTo>
                  <a:lnTo>
                    <a:pt x="1157" y="803"/>
                  </a:lnTo>
                  <a:cubicBezTo>
                    <a:pt x="1267" y="770"/>
                    <a:pt x="1368" y="713"/>
                    <a:pt x="1454" y="636"/>
                  </a:cubicBezTo>
                  <a:lnTo>
                    <a:pt x="1629" y="477"/>
                  </a:lnTo>
                  <a:cubicBezTo>
                    <a:pt x="1960" y="223"/>
                    <a:pt x="2406" y="179"/>
                    <a:pt x="2780" y="364"/>
                  </a:cubicBezTo>
                  <a:lnTo>
                    <a:pt x="2853" y="400"/>
                  </a:lnTo>
                  <a:cubicBezTo>
                    <a:pt x="2979" y="462"/>
                    <a:pt x="3116" y="494"/>
                    <a:pt x="3256" y="494"/>
                  </a:cubicBezTo>
                  <a:lnTo>
                    <a:pt x="3970" y="494"/>
                  </a:lnTo>
                  <a:cubicBezTo>
                    <a:pt x="4195" y="494"/>
                    <a:pt x="4382" y="661"/>
                    <a:pt x="4419" y="880"/>
                  </a:cubicBezTo>
                  <a:lnTo>
                    <a:pt x="3895" y="856"/>
                  </a:lnTo>
                  <a:cubicBezTo>
                    <a:pt x="3707" y="847"/>
                    <a:pt x="3519" y="856"/>
                    <a:pt x="3333" y="882"/>
                  </a:cubicBezTo>
                  <a:cubicBezTo>
                    <a:pt x="3292" y="888"/>
                    <a:pt x="3263" y="926"/>
                    <a:pt x="3269" y="967"/>
                  </a:cubicBezTo>
                  <a:cubicBezTo>
                    <a:pt x="3275" y="1008"/>
                    <a:pt x="3312" y="1036"/>
                    <a:pt x="3354" y="1031"/>
                  </a:cubicBezTo>
                  <a:cubicBezTo>
                    <a:pt x="3531" y="1006"/>
                    <a:pt x="3710" y="997"/>
                    <a:pt x="3888" y="1006"/>
                  </a:cubicBezTo>
                  <a:lnTo>
                    <a:pt x="4497" y="1034"/>
                  </a:lnTo>
                  <a:cubicBezTo>
                    <a:pt x="4498" y="1034"/>
                    <a:pt x="4500" y="1034"/>
                    <a:pt x="4501" y="1034"/>
                  </a:cubicBezTo>
                  <a:cubicBezTo>
                    <a:pt x="4542" y="1034"/>
                    <a:pt x="4576" y="1000"/>
                    <a:pt x="4576" y="959"/>
                  </a:cubicBezTo>
                  <a:cubicBezTo>
                    <a:pt x="4576" y="944"/>
                    <a:pt x="4575" y="930"/>
                    <a:pt x="4574" y="915"/>
                  </a:cubicBezTo>
                  <a:lnTo>
                    <a:pt x="4661" y="869"/>
                  </a:lnTo>
                  <a:lnTo>
                    <a:pt x="5543" y="385"/>
                  </a:lnTo>
                  <a:cubicBezTo>
                    <a:pt x="5687" y="306"/>
                    <a:pt x="5866" y="338"/>
                    <a:pt x="5975" y="461"/>
                  </a:cubicBezTo>
                  <a:lnTo>
                    <a:pt x="4185" y="170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0"/>
            <p:cNvSpPr>
              <a:spLocks noEditPoints="1"/>
            </p:cNvSpPr>
            <p:nvPr/>
          </p:nvSpPr>
          <p:spPr bwMode="auto">
            <a:xfrm>
              <a:off x="3735" y="1831"/>
              <a:ext cx="31" cy="31"/>
            </a:xfrm>
            <a:custGeom>
              <a:avLst/>
              <a:gdLst>
                <a:gd name="T0" fmla="*/ 1 w 578"/>
                <a:gd name="T1" fmla="*/ 249 h 576"/>
                <a:gd name="T2" fmla="*/ 423 w 578"/>
                <a:gd name="T3" fmla="*/ 420 h 576"/>
                <a:gd name="T4" fmla="*/ 248 w 578"/>
                <a:gd name="T5" fmla="*/ 0 h 576"/>
                <a:gd name="T6" fmla="*/ 1 w 578"/>
                <a:gd name="T7" fmla="*/ 249 h 576"/>
                <a:gd name="T8" fmla="*/ 248 w 578"/>
                <a:gd name="T9" fmla="*/ 150 h 576"/>
                <a:gd name="T10" fmla="*/ 322 w 578"/>
                <a:gd name="T11" fmla="*/ 319 h 576"/>
                <a:gd name="T12" fmla="*/ 151 w 578"/>
                <a:gd name="T13" fmla="*/ 249 h 576"/>
                <a:gd name="T14" fmla="*/ 248 w 578"/>
                <a:gd name="T15" fmla="*/ 15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8" h="576">
                  <a:moveTo>
                    <a:pt x="1" y="249"/>
                  </a:moveTo>
                  <a:cubicBezTo>
                    <a:pt x="3" y="469"/>
                    <a:pt x="269" y="576"/>
                    <a:pt x="423" y="420"/>
                  </a:cubicBezTo>
                  <a:cubicBezTo>
                    <a:pt x="578" y="264"/>
                    <a:pt x="467" y="0"/>
                    <a:pt x="248" y="0"/>
                  </a:cubicBezTo>
                  <a:cubicBezTo>
                    <a:pt x="111" y="1"/>
                    <a:pt x="0" y="112"/>
                    <a:pt x="1" y="249"/>
                  </a:cubicBezTo>
                  <a:close/>
                  <a:moveTo>
                    <a:pt x="248" y="150"/>
                  </a:moveTo>
                  <a:cubicBezTo>
                    <a:pt x="337" y="147"/>
                    <a:pt x="385" y="255"/>
                    <a:pt x="322" y="319"/>
                  </a:cubicBezTo>
                  <a:cubicBezTo>
                    <a:pt x="260" y="383"/>
                    <a:pt x="151" y="339"/>
                    <a:pt x="151" y="249"/>
                  </a:cubicBezTo>
                  <a:cubicBezTo>
                    <a:pt x="150" y="195"/>
                    <a:pt x="194" y="150"/>
                    <a:pt x="248" y="1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1"/>
            <p:cNvSpPr>
              <a:spLocks noEditPoints="1"/>
            </p:cNvSpPr>
            <p:nvPr/>
          </p:nvSpPr>
          <p:spPr bwMode="auto">
            <a:xfrm>
              <a:off x="3809" y="1568"/>
              <a:ext cx="144" cy="144"/>
            </a:xfrm>
            <a:custGeom>
              <a:avLst/>
              <a:gdLst>
                <a:gd name="T0" fmla="*/ 1364 w 2727"/>
                <a:gd name="T1" fmla="*/ 0 h 2723"/>
                <a:gd name="T2" fmla="*/ 0 w 2727"/>
                <a:gd name="T3" fmla="*/ 1362 h 2723"/>
                <a:gd name="T4" fmla="*/ 1364 w 2727"/>
                <a:gd name="T5" fmla="*/ 2723 h 2723"/>
                <a:gd name="T6" fmla="*/ 2727 w 2727"/>
                <a:gd name="T7" fmla="*/ 1362 h 2723"/>
                <a:gd name="T8" fmla="*/ 1364 w 2727"/>
                <a:gd name="T9" fmla="*/ 0 h 2723"/>
                <a:gd name="T10" fmla="*/ 1364 w 2727"/>
                <a:gd name="T11" fmla="*/ 2573 h 2723"/>
                <a:gd name="T12" fmla="*/ 245 w 2727"/>
                <a:gd name="T13" fmla="*/ 1824 h 2723"/>
                <a:gd name="T14" fmla="*/ 509 w 2727"/>
                <a:gd name="T15" fmla="*/ 504 h 2723"/>
                <a:gd name="T16" fmla="*/ 1829 w 2727"/>
                <a:gd name="T17" fmla="*/ 242 h 2723"/>
                <a:gd name="T18" fmla="*/ 2577 w 2727"/>
                <a:gd name="T19" fmla="*/ 1362 h 2723"/>
                <a:gd name="T20" fmla="*/ 1364 w 2727"/>
                <a:gd name="T21" fmla="*/ 2573 h 2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27" h="2723">
                  <a:moveTo>
                    <a:pt x="1364" y="0"/>
                  </a:moveTo>
                  <a:cubicBezTo>
                    <a:pt x="612" y="0"/>
                    <a:pt x="0" y="611"/>
                    <a:pt x="0" y="1362"/>
                  </a:cubicBezTo>
                  <a:cubicBezTo>
                    <a:pt x="0" y="2112"/>
                    <a:pt x="612" y="2723"/>
                    <a:pt x="1364" y="2723"/>
                  </a:cubicBezTo>
                  <a:cubicBezTo>
                    <a:pt x="2115" y="2723"/>
                    <a:pt x="2727" y="2112"/>
                    <a:pt x="2727" y="1362"/>
                  </a:cubicBezTo>
                  <a:cubicBezTo>
                    <a:pt x="2727" y="611"/>
                    <a:pt x="2116" y="0"/>
                    <a:pt x="1364" y="0"/>
                  </a:cubicBezTo>
                  <a:close/>
                  <a:moveTo>
                    <a:pt x="1364" y="2573"/>
                  </a:moveTo>
                  <a:cubicBezTo>
                    <a:pt x="874" y="2573"/>
                    <a:pt x="432" y="2277"/>
                    <a:pt x="245" y="1824"/>
                  </a:cubicBezTo>
                  <a:cubicBezTo>
                    <a:pt x="58" y="1371"/>
                    <a:pt x="162" y="850"/>
                    <a:pt x="509" y="504"/>
                  </a:cubicBezTo>
                  <a:cubicBezTo>
                    <a:pt x="856" y="158"/>
                    <a:pt x="1377" y="55"/>
                    <a:pt x="1829" y="242"/>
                  </a:cubicBezTo>
                  <a:cubicBezTo>
                    <a:pt x="2282" y="430"/>
                    <a:pt x="2577" y="872"/>
                    <a:pt x="2577" y="1362"/>
                  </a:cubicBezTo>
                  <a:cubicBezTo>
                    <a:pt x="2576" y="2031"/>
                    <a:pt x="2033" y="2573"/>
                    <a:pt x="1364" y="257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2"/>
            <p:cNvSpPr>
              <a:spLocks/>
            </p:cNvSpPr>
            <p:nvPr/>
          </p:nvSpPr>
          <p:spPr bwMode="auto">
            <a:xfrm>
              <a:off x="3860" y="1594"/>
              <a:ext cx="44" cy="90"/>
            </a:xfrm>
            <a:custGeom>
              <a:avLst/>
              <a:gdLst>
                <a:gd name="T0" fmla="*/ 426 w 826"/>
                <a:gd name="T1" fmla="*/ 315 h 1690"/>
                <a:gd name="T2" fmla="*/ 670 w 826"/>
                <a:gd name="T3" fmla="*/ 501 h 1690"/>
                <a:gd name="T4" fmla="*/ 761 w 826"/>
                <a:gd name="T5" fmla="*/ 556 h 1690"/>
                <a:gd name="T6" fmla="*/ 816 w 826"/>
                <a:gd name="T7" fmla="*/ 466 h 1690"/>
                <a:gd name="T8" fmla="*/ 486 w 826"/>
                <a:gd name="T9" fmla="*/ 170 h 1690"/>
                <a:gd name="T10" fmla="*/ 486 w 826"/>
                <a:gd name="T11" fmla="*/ 75 h 1690"/>
                <a:gd name="T12" fmla="*/ 411 w 826"/>
                <a:gd name="T13" fmla="*/ 0 h 1690"/>
                <a:gd name="T14" fmla="*/ 336 w 826"/>
                <a:gd name="T15" fmla="*/ 75 h 1690"/>
                <a:gd name="T16" fmla="*/ 336 w 826"/>
                <a:gd name="T17" fmla="*/ 170 h 1690"/>
                <a:gd name="T18" fmla="*/ 157 w 826"/>
                <a:gd name="T19" fmla="*/ 259 h 1690"/>
                <a:gd name="T20" fmla="*/ 45 w 826"/>
                <a:gd name="T21" fmla="*/ 550 h 1690"/>
                <a:gd name="T22" fmla="*/ 340 w 826"/>
                <a:gd name="T23" fmla="*/ 883 h 1690"/>
                <a:gd name="T24" fmla="*/ 355 w 826"/>
                <a:gd name="T25" fmla="*/ 886 h 1690"/>
                <a:gd name="T26" fmla="*/ 393 w 826"/>
                <a:gd name="T27" fmla="*/ 894 h 1690"/>
                <a:gd name="T28" fmla="*/ 419 w 826"/>
                <a:gd name="T29" fmla="*/ 901 h 1690"/>
                <a:gd name="T30" fmla="*/ 426 w 826"/>
                <a:gd name="T31" fmla="*/ 904 h 1690"/>
                <a:gd name="T32" fmla="*/ 429 w 826"/>
                <a:gd name="T33" fmla="*/ 905 h 1690"/>
                <a:gd name="T34" fmla="*/ 452 w 826"/>
                <a:gd name="T35" fmla="*/ 914 h 1690"/>
                <a:gd name="T36" fmla="*/ 458 w 826"/>
                <a:gd name="T37" fmla="*/ 917 h 1690"/>
                <a:gd name="T38" fmla="*/ 480 w 826"/>
                <a:gd name="T39" fmla="*/ 929 h 1690"/>
                <a:gd name="T40" fmla="*/ 493 w 826"/>
                <a:gd name="T41" fmla="*/ 936 h 1690"/>
                <a:gd name="T42" fmla="*/ 495 w 826"/>
                <a:gd name="T43" fmla="*/ 938 h 1690"/>
                <a:gd name="T44" fmla="*/ 498 w 826"/>
                <a:gd name="T45" fmla="*/ 940 h 1690"/>
                <a:gd name="T46" fmla="*/ 648 w 826"/>
                <a:gd name="T47" fmla="*/ 1152 h 1690"/>
                <a:gd name="T48" fmla="*/ 593 w 826"/>
                <a:gd name="T49" fmla="*/ 1317 h 1690"/>
                <a:gd name="T50" fmla="*/ 383 w 826"/>
                <a:gd name="T51" fmla="*/ 1390 h 1690"/>
                <a:gd name="T52" fmla="*/ 242 w 826"/>
                <a:gd name="T53" fmla="*/ 1337 h 1690"/>
                <a:gd name="T54" fmla="*/ 154 w 826"/>
                <a:gd name="T55" fmla="*/ 1204 h 1690"/>
                <a:gd name="T56" fmla="*/ 71 w 826"/>
                <a:gd name="T57" fmla="*/ 1137 h 1690"/>
                <a:gd name="T58" fmla="*/ 5 w 826"/>
                <a:gd name="T59" fmla="*/ 1221 h 1690"/>
                <a:gd name="T60" fmla="*/ 336 w 826"/>
                <a:gd name="T61" fmla="*/ 1535 h 1690"/>
                <a:gd name="T62" fmla="*/ 336 w 826"/>
                <a:gd name="T63" fmla="*/ 1615 h 1690"/>
                <a:gd name="T64" fmla="*/ 411 w 826"/>
                <a:gd name="T65" fmla="*/ 1690 h 1690"/>
                <a:gd name="T66" fmla="*/ 486 w 826"/>
                <a:gd name="T67" fmla="*/ 1615 h 1690"/>
                <a:gd name="T68" fmla="*/ 486 w 826"/>
                <a:gd name="T69" fmla="*/ 1531 h 1690"/>
                <a:gd name="T70" fmla="*/ 699 w 826"/>
                <a:gd name="T71" fmla="*/ 1424 h 1690"/>
                <a:gd name="T72" fmla="*/ 798 w 826"/>
                <a:gd name="T73" fmla="*/ 1146 h 1690"/>
                <a:gd name="T74" fmla="*/ 576 w 826"/>
                <a:gd name="T75" fmla="*/ 812 h 1690"/>
                <a:gd name="T76" fmla="*/ 569 w 826"/>
                <a:gd name="T77" fmla="*/ 807 h 1690"/>
                <a:gd name="T78" fmla="*/ 557 w 826"/>
                <a:gd name="T79" fmla="*/ 800 h 1690"/>
                <a:gd name="T80" fmla="*/ 527 w 826"/>
                <a:gd name="T81" fmla="*/ 784 h 1690"/>
                <a:gd name="T82" fmla="*/ 507 w 826"/>
                <a:gd name="T83" fmla="*/ 774 h 1690"/>
                <a:gd name="T84" fmla="*/ 484 w 826"/>
                <a:gd name="T85" fmla="*/ 766 h 1690"/>
                <a:gd name="T86" fmla="*/ 463 w 826"/>
                <a:gd name="T87" fmla="*/ 758 h 1690"/>
                <a:gd name="T88" fmla="*/ 422 w 826"/>
                <a:gd name="T89" fmla="*/ 747 h 1690"/>
                <a:gd name="T90" fmla="*/ 385 w 826"/>
                <a:gd name="T91" fmla="*/ 739 h 1690"/>
                <a:gd name="T92" fmla="*/ 369 w 826"/>
                <a:gd name="T93" fmla="*/ 736 h 1690"/>
                <a:gd name="T94" fmla="*/ 195 w 826"/>
                <a:gd name="T95" fmla="*/ 548 h 1690"/>
                <a:gd name="T96" fmla="*/ 261 w 826"/>
                <a:gd name="T97" fmla="*/ 366 h 1690"/>
                <a:gd name="T98" fmla="*/ 426 w 826"/>
                <a:gd name="T99" fmla="*/ 315 h 1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6" h="1690">
                  <a:moveTo>
                    <a:pt x="426" y="315"/>
                  </a:moveTo>
                  <a:cubicBezTo>
                    <a:pt x="620" y="322"/>
                    <a:pt x="666" y="482"/>
                    <a:pt x="670" y="501"/>
                  </a:cubicBezTo>
                  <a:cubicBezTo>
                    <a:pt x="680" y="541"/>
                    <a:pt x="720" y="566"/>
                    <a:pt x="761" y="556"/>
                  </a:cubicBezTo>
                  <a:cubicBezTo>
                    <a:pt x="801" y="547"/>
                    <a:pt x="826" y="506"/>
                    <a:pt x="816" y="466"/>
                  </a:cubicBezTo>
                  <a:cubicBezTo>
                    <a:pt x="775" y="311"/>
                    <a:pt x="645" y="195"/>
                    <a:pt x="486" y="170"/>
                  </a:cubicBezTo>
                  <a:lnTo>
                    <a:pt x="486" y="75"/>
                  </a:lnTo>
                  <a:cubicBezTo>
                    <a:pt x="486" y="34"/>
                    <a:pt x="453" y="0"/>
                    <a:pt x="411" y="0"/>
                  </a:cubicBezTo>
                  <a:cubicBezTo>
                    <a:pt x="370" y="0"/>
                    <a:pt x="336" y="34"/>
                    <a:pt x="336" y="75"/>
                  </a:cubicBezTo>
                  <a:lnTo>
                    <a:pt x="336" y="170"/>
                  </a:lnTo>
                  <a:cubicBezTo>
                    <a:pt x="269" y="181"/>
                    <a:pt x="206" y="212"/>
                    <a:pt x="157" y="259"/>
                  </a:cubicBezTo>
                  <a:cubicBezTo>
                    <a:pt x="51" y="362"/>
                    <a:pt x="45" y="508"/>
                    <a:pt x="45" y="550"/>
                  </a:cubicBezTo>
                  <a:cubicBezTo>
                    <a:pt x="48" y="712"/>
                    <a:pt x="169" y="850"/>
                    <a:pt x="340" y="883"/>
                  </a:cubicBezTo>
                  <a:lnTo>
                    <a:pt x="355" y="886"/>
                  </a:lnTo>
                  <a:cubicBezTo>
                    <a:pt x="368" y="889"/>
                    <a:pt x="384" y="892"/>
                    <a:pt x="393" y="894"/>
                  </a:cubicBezTo>
                  <a:cubicBezTo>
                    <a:pt x="399" y="895"/>
                    <a:pt x="413" y="900"/>
                    <a:pt x="419" y="901"/>
                  </a:cubicBezTo>
                  <a:cubicBezTo>
                    <a:pt x="422" y="902"/>
                    <a:pt x="424" y="903"/>
                    <a:pt x="426" y="904"/>
                  </a:cubicBezTo>
                  <a:cubicBezTo>
                    <a:pt x="427" y="904"/>
                    <a:pt x="428" y="905"/>
                    <a:pt x="429" y="905"/>
                  </a:cubicBezTo>
                  <a:lnTo>
                    <a:pt x="452" y="914"/>
                  </a:lnTo>
                  <a:cubicBezTo>
                    <a:pt x="454" y="915"/>
                    <a:pt x="456" y="916"/>
                    <a:pt x="458" y="917"/>
                  </a:cubicBezTo>
                  <a:cubicBezTo>
                    <a:pt x="469" y="923"/>
                    <a:pt x="472" y="924"/>
                    <a:pt x="480" y="929"/>
                  </a:cubicBezTo>
                  <a:cubicBezTo>
                    <a:pt x="484" y="931"/>
                    <a:pt x="487" y="933"/>
                    <a:pt x="493" y="936"/>
                  </a:cubicBezTo>
                  <a:lnTo>
                    <a:pt x="495" y="938"/>
                  </a:lnTo>
                  <a:cubicBezTo>
                    <a:pt x="496" y="938"/>
                    <a:pt x="497" y="939"/>
                    <a:pt x="498" y="940"/>
                  </a:cubicBezTo>
                  <a:cubicBezTo>
                    <a:pt x="522" y="955"/>
                    <a:pt x="643" y="1035"/>
                    <a:pt x="648" y="1152"/>
                  </a:cubicBezTo>
                  <a:cubicBezTo>
                    <a:pt x="651" y="1223"/>
                    <a:pt x="633" y="1277"/>
                    <a:pt x="593" y="1317"/>
                  </a:cubicBezTo>
                  <a:cubicBezTo>
                    <a:pt x="531" y="1379"/>
                    <a:pt x="432" y="1392"/>
                    <a:pt x="383" y="1390"/>
                  </a:cubicBezTo>
                  <a:cubicBezTo>
                    <a:pt x="332" y="1385"/>
                    <a:pt x="284" y="1366"/>
                    <a:pt x="242" y="1337"/>
                  </a:cubicBezTo>
                  <a:cubicBezTo>
                    <a:pt x="206" y="1312"/>
                    <a:pt x="161" y="1269"/>
                    <a:pt x="154" y="1204"/>
                  </a:cubicBezTo>
                  <a:cubicBezTo>
                    <a:pt x="150" y="1163"/>
                    <a:pt x="113" y="1132"/>
                    <a:pt x="71" y="1137"/>
                  </a:cubicBezTo>
                  <a:cubicBezTo>
                    <a:pt x="29" y="1142"/>
                    <a:pt x="0" y="1179"/>
                    <a:pt x="5" y="1221"/>
                  </a:cubicBezTo>
                  <a:cubicBezTo>
                    <a:pt x="25" y="1401"/>
                    <a:pt x="198" y="1512"/>
                    <a:pt x="336" y="1535"/>
                  </a:cubicBezTo>
                  <a:lnTo>
                    <a:pt x="336" y="1615"/>
                  </a:lnTo>
                  <a:cubicBezTo>
                    <a:pt x="336" y="1657"/>
                    <a:pt x="370" y="1690"/>
                    <a:pt x="411" y="1690"/>
                  </a:cubicBezTo>
                  <a:cubicBezTo>
                    <a:pt x="453" y="1690"/>
                    <a:pt x="486" y="1657"/>
                    <a:pt x="486" y="1615"/>
                  </a:cubicBezTo>
                  <a:lnTo>
                    <a:pt x="486" y="1531"/>
                  </a:lnTo>
                  <a:cubicBezTo>
                    <a:pt x="566" y="1517"/>
                    <a:pt x="640" y="1480"/>
                    <a:pt x="699" y="1424"/>
                  </a:cubicBezTo>
                  <a:cubicBezTo>
                    <a:pt x="768" y="1354"/>
                    <a:pt x="803" y="1258"/>
                    <a:pt x="798" y="1146"/>
                  </a:cubicBezTo>
                  <a:cubicBezTo>
                    <a:pt x="790" y="958"/>
                    <a:pt x="627" y="843"/>
                    <a:pt x="576" y="812"/>
                  </a:cubicBezTo>
                  <a:cubicBezTo>
                    <a:pt x="575" y="811"/>
                    <a:pt x="570" y="808"/>
                    <a:pt x="569" y="807"/>
                  </a:cubicBezTo>
                  <a:lnTo>
                    <a:pt x="557" y="800"/>
                  </a:lnTo>
                  <a:cubicBezTo>
                    <a:pt x="547" y="794"/>
                    <a:pt x="542" y="791"/>
                    <a:pt x="527" y="784"/>
                  </a:cubicBezTo>
                  <a:cubicBezTo>
                    <a:pt x="520" y="780"/>
                    <a:pt x="514" y="777"/>
                    <a:pt x="507" y="774"/>
                  </a:cubicBezTo>
                  <a:lnTo>
                    <a:pt x="484" y="766"/>
                  </a:lnTo>
                  <a:cubicBezTo>
                    <a:pt x="477" y="763"/>
                    <a:pt x="470" y="760"/>
                    <a:pt x="463" y="758"/>
                  </a:cubicBezTo>
                  <a:cubicBezTo>
                    <a:pt x="448" y="753"/>
                    <a:pt x="434" y="749"/>
                    <a:pt x="422" y="747"/>
                  </a:cubicBezTo>
                  <a:cubicBezTo>
                    <a:pt x="412" y="745"/>
                    <a:pt x="397" y="742"/>
                    <a:pt x="385" y="739"/>
                  </a:cubicBezTo>
                  <a:lnTo>
                    <a:pt x="369" y="736"/>
                  </a:lnTo>
                  <a:cubicBezTo>
                    <a:pt x="251" y="713"/>
                    <a:pt x="196" y="625"/>
                    <a:pt x="195" y="548"/>
                  </a:cubicBezTo>
                  <a:cubicBezTo>
                    <a:pt x="194" y="492"/>
                    <a:pt x="211" y="415"/>
                    <a:pt x="261" y="366"/>
                  </a:cubicBezTo>
                  <a:cubicBezTo>
                    <a:pt x="300" y="329"/>
                    <a:pt x="355" y="312"/>
                    <a:pt x="426" y="31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" name="Group 25"/>
          <p:cNvGrpSpPr>
            <a:grpSpLocks noChangeAspect="1"/>
          </p:cNvGrpSpPr>
          <p:nvPr/>
        </p:nvGrpSpPr>
        <p:grpSpPr bwMode="auto">
          <a:xfrm>
            <a:off x="1679198" y="2428877"/>
            <a:ext cx="540000" cy="540000"/>
            <a:chOff x="1077" y="1534"/>
            <a:chExt cx="328" cy="328"/>
          </a:xfrm>
          <a:gradFill flip="none" rotWithShape="1">
            <a:gsLst>
              <a:gs pos="0">
                <a:srgbClr val="FEC232"/>
              </a:gs>
              <a:gs pos="100000">
                <a:srgbClr val="DF6F51"/>
              </a:gs>
            </a:gsLst>
            <a:lin ang="2700000" scaled="1"/>
            <a:tileRect/>
          </a:gradFill>
        </p:grpSpPr>
        <p:sp>
          <p:nvSpPr>
            <p:cNvPr id="21" name="Freeform 26"/>
            <p:cNvSpPr>
              <a:spLocks/>
            </p:cNvSpPr>
            <p:nvPr/>
          </p:nvSpPr>
          <p:spPr bwMode="auto">
            <a:xfrm>
              <a:off x="1146" y="1725"/>
              <a:ext cx="42" cy="95"/>
            </a:xfrm>
            <a:custGeom>
              <a:avLst/>
              <a:gdLst>
                <a:gd name="T0" fmla="*/ 800 w 800"/>
                <a:gd name="T1" fmla="*/ 591 h 1800"/>
                <a:gd name="T2" fmla="*/ 500 w 800"/>
                <a:gd name="T3" fmla="*/ 212 h 1800"/>
                <a:gd name="T4" fmla="*/ 500 w 800"/>
                <a:gd name="T5" fmla="*/ 0 h 1800"/>
                <a:gd name="T6" fmla="*/ 300 w 800"/>
                <a:gd name="T7" fmla="*/ 0 h 1800"/>
                <a:gd name="T8" fmla="*/ 300 w 800"/>
                <a:gd name="T9" fmla="*/ 212 h 1800"/>
                <a:gd name="T10" fmla="*/ 0 w 800"/>
                <a:gd name="T11" fmla="*/ 591 h 1800"/>
                <a:gd name="T12" fmla="*/ 267 w 800"/>
                <a:gd name="T13" fmla="*/ 961 h 1800"/>
                <a:gd name="T14" fmla="*/ 470 w 800"/>
                <a:gd name="T15" fmla="*/ 1029 h 1800"/>
                <a:gd name="T16" fmla="*/ 600 w 800"/>
                <a:gd name="T17" fmla="*/ 1210 h 1800"/>
                <a:gd name="T18" fmla="*/ 409 w 800"/>
                <a:gd name="T19" fmla="*/ 1400 h 1800"/>
                <a:gd name="T20" fmla="*/ 391 w 800"/>
                <a:gd name="T21" fmla="*/ 1400 h 1800"/>
                <a:gd name="T22" fmla="*/ 200 w 800"/>
                <a:gd name="T23" fmla="*/ 1210 h 1800"/>
                <a:gd name="T24" fmla="*/ 200 w 800"/>
                <a:gd name="T25" fmla="*/ 1100 h 1800"/>
                <a:gd name="T26" fmla="*/ 0 w 800"/>
                <a:gd name="T27" fmla="*/ 1100 h 1800"/>
                <a:gd name="T28" fmla="*/ 0 w 800"/>
                <a:gd name="T29" fmla="*/ 1210 h 1800"/>
                <a:gd name="T30" fmla="*/ 300 w 800"/>
                <a:gd name="T31" fmla="*/ 1588 h 1800"/>
                <a:gd name="T32" fmla="*/ 300 w 800"/>
                <a:gd name="T33" fmla="*/ 1800 h 1800"/>
                <a:gd name="T34" fmla="*/ 500 w 800"/>
                <a:gd name="T35" fmla="*/ 1800 h 1800"/>
                <a:gd name="T36" fmla="*/ 500 w 800"/>
                <a:gd name="T37" fmla="*/ 1588 h 1800"/>
                <a:gd name="T38" fmla="*/ 800 w 800"/>
                <a:gd name="T39" fmla="*/ 1209 h 1800"/>
                <a:gd name="T40" fmla="*/ 533 w 800"/>
                <a:gd name="T41" fmla="*/ 839 h 1800"/>
                <a:gd name="T42" fmla="*/ 330 w 800"/>
                <a:gd name="T43" fmla="*/ 771 h 1800"/>
                <a:gd name="T44" fmla="*/ 200 w 800"/>
                <a:gd name="T45" fmla="*/ 591 h 1800"/>
                <a:gd name="T46" fmla="*/ 390 w 800"/>
                <a:gd name="T47" fmla="*/ 400 h 1800"/>
                <a:gd name="T48" fmla="*/ 409 w 800"/>
                <a:gd name="T49" fmla="*/ 400 h 1800"/>
                <a:gd name="T50" fmla="*/ 600 w 800"/>
                <a:gd name="T51" fmla="*/ 591 h 1800"/>
                <a:gd name="T52" fmla="*/ 600 w 800"/>
                <a:gd name="T53" fmla="*/ 600 h 1800"/>
                <a:gd name="T54" fmla="*/ 800 w 800"/>
                <a:gd name="T55" fmla="*/ 591 h 1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0" h="1800">
                  <a:moveTo>
                    <a:pt x="800" y="591"/>
                  </a:moveTo>
                  <a:cubicBezTo>
                    <a:pt x="800" y="407"/>
                    <a:pt x="672" y="253"/>
                    <a:pt x="500" y="212"/>
                  </a:cubicBezTo>
                  <a:lnTo>
                    <a:pt x="500" y="0"/>
                  </a:lnTo>
                  <a:lnTo>
                    <a:pt x="300" y="0"/>
                  </a:lnTo>
                  <a:lnTo>
                    <a:pt x="300" y="212"/>
                  </a:lnTo>
                  <a:cubicBezTo>
                    <a:pt x="128" y="253"/>
                    <a:pt x="0" y="407"/>
                    <a:pt x="0" y="591"/>
                  </a:cubicBezTo>
                  <a:cubicBezTo>
                    <a:pt x="0" y="759"/>
                    <a:pt x="107" y="908"/>
                    <a:pt x="267" y="961"/>
                  </a:cubicBezTo>
                  <a:lnTo>
                    <a:pt x="470" y="1029"/>
                  </a:lnTo>
                  <a:cubicBezTo>
                    <a:pt x="548" y="1055"/>
                    <a:pt x="600" y="1127"/>
                    <a:pt x="600" y="1210"/>
                  </a:cubicBezTo>
                  <a:cubicBezTo>
                    <a:pt x="600" y="1315"/>
                    <a:pt x="515" y="1400"/>
                    <a:pt x="409" y="1400"/>
                  </a:cubicBezTo>
                  <a:lnTo>
                    <a:pt x="391" y="1400"/>
                  </a:lnTo>
                  <a:cubicBezTo>
                    <a:pt x="285" y="1400"/>
                    <a:pt x="200" y="1315"/>
                    <a:pt x="200" y="1210"/>
                  </a:cubicBezTo>
                  <a:lnTo>
                    <a:pt x="200" y="1100"/>
                  </a:lnTo>
                  <a:lnTo>
                    <a:pt x="0" y="1100"/>
                  </a:lnTo>
                  <a:lnTo>
                    <a:pt x="0" y="1210"/>
                  </a:lnTo>
                  <a:cubicBezTo>
                    <a:pt x="0" y="1394"/>
                    <a:pt x="128" y="1547"/>
                    <a:pt x="300" y="1588"/>
                  </a:cubicBezTo>
                  <a:lnTo>
                    <a:pt x="300" y="1800"/>
                  </a:lnTo>
                  <a:lnTo>
                    <a:pt x="500" y="1800"/>
                  </a:lnTo>
                  <a:lnTo>
                    <a:pt x="500" y="1588"/>
                  </a:lnTo>
                  <a:cubicBezTo>
                    <a:pt x="672" y="1547"/>
                    <a:pt x="800" y="1394"/>
                    <a:pt x="800" y="1209"/>
                  </a:cubicBezTo>
                  <a:cubicBezTo>
                    <a:pt x="800" y="1041"/>
                    <a:pt x="693" y="892"/>
                    <a:pt x="533" y="839"/>
                  </a:cubicBezTo>
                  <a:lnTo>
                    <a:pt x="330" y="771"/>
                  </a:lnTo>
                  <a:cubicBezTo>
                    <a:pt x="252" y="745"/>
                    <a:pt x="200" y="673"/>
                    <a:pt x="200" y="591"/>
                  </a:cubicBezTo>
                  <a:cubicBezTo>
                    <a:pt x="200" y="485"/>
                    <a:pt x="285" y="400"/>
                    <a:pt x="390" y="400"/>
                  </a:cubicBezTo>
                  <a:lnTo>
                    <a:pt x="409" y="400"/>
                  </a:lnTo>
                  <a:cubicBezTo>
                    <a:pt x="515" y="400"/>
                    <a:pt x="600" y="485"/>
                    <a:pt x="600" y="591"/>
                  </a:cubicBezTo>
                  <a:lnTo>
                    <a:pt x="600" y="600"/>
                  </a:lnTo>
                  <a:lnTo>
                    <a:pt x="800" y="5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7"/>
            <p:cNvSpPr>
              <a:spLocks noEditPoints="1"/>
            </p:cNvSpPr>
            <p:nvPr/>
          </p:nvSpPr>
          <p:spPr bwMode="auto">
            <a:xfrm>
              <a:off x="1098" y="1704"/>
              <a:ext cx="138" cy="137"/>
            </a:xfrm>
            <a:custGeom>
              <a:avLst/>
              <a:gdLst>
                <a:gd name="T0" fmla="*/ 1300 w 2600"/>
                <a:gd name="T1" fmla="*/ 0 h 2600"/>
                <a:gd name="T2" fmla="*/ 0 w 2600"/>
                <a:gd name="T3" fmla="*/ 1300 h 2600"/>
                <a:gd name="T4" fmla="*/ 1300 w 2600"/>
                <a:gd name="T5" fmla="*/ 2600 h 2600"/>
                <a:gd name="T6" fmla="*/ 2600 w 2600"/>
                <a:gd name="T7" fmla="*/ 1300 h 2600"/>
                <a:gd name="T8" fmla="*/ 1300 w 2600"/>
                <a:gd name="T9" fmla="*/ 0 h 2600"/>
                <a:gd name="T10" fmla="*/ 1300 w 2600"/>
                <a:gd name="T11" fmla="*/ 2400 h 2600"/>
                <a:gd name="T12" fmla="*/ 200 w 2600"/>
                <a:gd name="T13" fmla="*/ 1300 h 2600"/>
                <a:gd name="T14" fmla="*/ 1300 w 2600"/>
                <a:gd name="T15" fmla="*/ 200 h 2600"/>
                <a:gd name="T16" fmla="*/ 2400 w 2600"/>
                <a:gd name="T17" fmla="*/ 1300 h 2600"/>
                <a:gd name="T18" fmla="*/ 1300 w 2600"/>
                <a:gd name="T19" fmla="*/ 2400 h 2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00" h="2600">
                  <a:moveTo>
                    <a:pt x="1300" y="0"/>
                  </a:moveTo>
                  <a:cubicBezTo>
                    <a:pt x="583" y="0"/>
                    <a:pt x="0" y="583"/>
                    <a:pt x="0" y="1300"/>
                  </a:cubicBezTo>
                  <a:cubicBezTo>
                    <a:pt x="0" y="2017"/>
                    <a:pt x="583" y="2600"/>
                    <a:pt x="1300" y="2600"/>
                  </a:cubicBezTo>
                  <a:cubicBezTo>
                    <a:pt x="2017" y="2600"/>
                    <a:pt x="2600" y="2017"/>
                    <a:pt x="2600" y="1300"/>
                  </a:cubicBezTo>
                  <a:cubicBezTo>
                    <a:pt x="2600" y="583"/>
                    <a:pt x="2017" y="0"/>
                    <a:pt x="1300" y="0"/>
                  </a:cubicBezTo>
                  <a:close/>
                  <a:moveTo>
                    <a:pt x="1300" y="2400"/>
                  </a:moveTo>
                  <a:cubicBezTo>
                    <a:pt x="693" y="2400"/>
                    <a:pt x="200" y="1907"/>
                    <a:pt x="200" y="1300"/>
                  </a:cubicBezTo>
                  <a:cubicBezTo>
                    <a:pt x="200" y="694"/>
                    <a:pt x="693" y="200"/>
                    <a:pt x="1300" y="200"/>
                  </a:cubicBezTo>
                  <a:cubicBezTo>
                    <a:pt x="1907" y="200"/>
                    <a:pt x="2400" y="694"/>
                    <a:pt x="2400" y="1300"/>
                  </a:cubicBezTo>
                  <a:cubicBezTo>
                    <a:pt x="2400" y="1907"/>
                    <a:pt x="1907" y="2400"/>
                    <a:pt x="1300" y="24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8"/>
            <p:cNvSpPr>
              <a:spLocks noEditPoints="1"/>
            </p:cNvSpPr>
            <p:nvPr/>
          </p:nvSpPr>
          <p:spPr bwMode="auto">
            <a:xfrm>
              <a:off x="1285" y="1742"/>
              <a:ext cx="46" cy="57"/>
            </a:xfrm>
            <a:custGeom>
              <a:avLst/>
              <a:gdLst>
                <a:gd name="T0" fmla="*/ 271 w 871"/>
                <a:gd name="T1" fmla="*/ 571 h 1071"/>
                <a:gd name="T2" fmla="*/ 471 w 871"/>
                <a:gd name="T3" fmla="*/ 853 h 1071"/>
                <a:gd name="T4" fmla="*/ 471 w 871"/>
                <a:gd name="T5" fmla="*/ 1071 h 1071"/>
                <a:gd name="T6" fmla="*/ 671 w 871"/>
                <a:gd name="T7" fmla="*/ 1071 h 1071"/>
                <a:gd name="T8" fmla="*/ 671 w 871"/>
                <a:gd name="T9" fmla="*/ 853 h 1071"/>
                <a:gd name="T10" fmla="*/ 871 w 871"/>
                <a:gd name="T11" fmla="*/ 571 h 1071"/>
                <a:gd name="T12" fmla="*/ 571 w 871"/>
                <a:gd name="T13" fmla="*/ 271 h 1071"/>
                <a:gd name="T14" fmla="*/ 443 w 871"/>
                <a:gd name="T15" fmla="*/ 301 h 1071"/>
                <a:gd name="T16" fmla="*/ 142 w 871"/>
                <a:gd name="T17" fmla="*/ 0 h 1071"/>
                <a:gd name="T18" fmla="*/ 0 w 871"/>
                <a:gd name="T19" fmla="*/ 142 h 1071"/>
                <a:gd name="T20" fmla="*/ 301 w 871"/>
                <a:gd name="T21" fmla="*/ 443 h 1071"/>
                <a:gd name="T22" fmla="*/ 271 w 871"/>
                <a:gd name="T23" fmla="*/ 571 h 1071"/>
                <a:gd name="T24" fmla="*/ 571 w 871"/>
                <a:gd name="T25" fmla="*/ 471 h 1071"/>
                <a:gd name="T26" fmla="*/ 671 w 871"/>
                <a:gd name="T27" fmla="*/ 571 h 1071"/>
                <a:gd name="T28" fmla="*/ 571 w 871"/>
                <a:gd name="T29" fmla="*/ 671 h 1071"/>
                <a:gd name="T30" fmla="*/ 471 w 871"/>
                <a:gd name="T31" fmla="*/ 571 h 1071"/>
                <a:gd name="T32" fmla="*/ 571 w 871"/>
                <a:gd name="T33" fmla="*/ 471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1" h="1071">
                  <a:moveTo>
                    <a:pt x="271" y="571"/>
                  </a:moveTo>
                  <a:cubicBezTo>
                    <a:pt x="271" y="701"/>
                    <a:pt x="355" y="811"/>
                    <a:pt x="471" y="853"/>
                  </a:cubicBezTo>
                  <a:lnTo>
                    <a:pt x="471" y="1071"/>
                  </a:lnTo>
                  <a:lnTo>
                    <a:pt x="671" y="1071"/>
                  </a:lnTo>
                  <a:lnTo>
                    <a:pt x="671" y="853"/>
                  </a:lnTo>
                  <a:cubicBezTo>
                    <a:pt x="787" y="811"/>
                    <a:pt x="871" y="701"/>
                    <a:pt x="871" y="571"/>
                  </a:cubicBezTo>
                  <a:cubicBezTo>
                    <a:pt x="871" y="406"/>
                    <a:pt x="736" y="271"/>
                    <a:pt x="571" y="271"/>
                  </a:cubicBezTo>
                  <a:cubicBezTo>
                    <a:pt x="525" y="271"/>
                    <a:pt x="482" y="282"/>
                    <a:pt x="443" y="301"/>
                  </a:cubicBezTo>
                  <a:lnTo>
                    <a:pt x="142" y="0"/>
                  </a:lnTo>
                  <a:lnTo>
                    <a:pt x="0" y="142"/>
                  </a:lnTo>
                  <a:lnTo>
                    <a:pt x="301" y="443"/>
                  </a:lnTo>
                  <a:cubicBezTo>
                    <a:pt x="282" y="482"/>
                    <a:pt x="271" y="525"/>
                    <a:pt x="271" y="571"/>
                  </a:cubicBezTo>
                  <a:close/>
                  <a:moveTo>
                    <a:pt x="571" y="471"/>
                  </a:moveTo>
                  <a:cubicBezTo>
                    <a:pt x="626" y="471"/>
                    <a:pt x="671" y="516"/>
                    <a:pt x="671" y="571"/>
                  </a:cubicBezTo>
                  <a:cubicBezTo>
                    <a:pt x="671" y="626"/>
                    <a:pt x="626" y="671"/>
                    <a:pt x="571" y="671"/>
                  </a:cubicBezTo>
                  <a:cubicBezTo>
                    <a:pt x="516" y="671"/>
                    <a:pt x="471" y="626"/>
                    <a:pt x="471" y="571"/>
                  </a:cubicBezTo>
                  <a:cubicBezTo>
                    <a:pt x="471" y="516"/>
                    <a:pt x="516" y="471"/>
                    <a:pt x="571" y="47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9"/>
            <p:cNvSpPr>
              <a:spLocks noEditPoints="1"/>
            </p:cNvSpPr>
            <p:nvPr/>
          </p:nvSpPr>
          <p:spPr bwMode="auto">
            <a:xfrm>
              <a:off x="1077" y="1534"/>
              <a:ext cx="328" cy="328"/>
            </a:xfrm>
            <a:custGeom>
              <a:avLst/>
              <a:gdLst>
                <a:gd name="T0" fmla="*/ 5500 w 6200"/>
                <a:gd name="T1" fmla="*/ 2772 h 6200"/>
                <a:gd name="T2" fmla="*/ 4944 w 6200"/>
                <a:gd name="T3" fmla="*/ 1201 h 6200"/>
                <a:gd name="T4" fmla="*/ 4299 w 6200"/>
                <a:gd name="T5" fmla="*/ 556 h 6200"/>
                <a:gd name="T6" fmla="*/ 2728 w 6200"/>
                <a:gd name="T7" fmla="*/ 0 h 6200"/>
                <a:gd name="T8" fmla="*/ 1666 w 6200"/>
                <a:gd name="T9" fmla="*/ 440 h 6200"/>
                <a:gd name="T10" fmla="*/ 949 w 6200"/>
                <a:gd name="T11" fmla="*/ 1944 h 6200"/>
                <a:gd name="T12" fmla="*/ 949 w 6200"/>
                <a:gd name="T13" fmla="*/ 2856 h 6200"/>
                <a:gd name="T14" fmla="*/ 1700 w 6200"/>
                <a:gd name="T15" fmla="*/ 6200 h 6200"/>
                <a:gd name="T16" fmla="*/ 6200 w 6200"/>
                <a:gd name="T17" fmla="*/ 4500 h 6200"/>
                <a:gd name="T18" fmla="*/ 1124 w 6200"/>
                <a:gd name="T19" fmla="*/ 2704 h 6200"/>
                <a:gd name="T20" fmla="*/ 1124 w 6200"/>
                <a:gd name="T21" fmla="*/ 2096 h 6200"/>
                <a:gd name="T22" fmla="*/ 1487 w 6200"/>
                <a:gd name="T23" fmla="*/ 1217 h 6200"/>
                <a:gd name="T24" fmla="*/ 1917 w 6200"/>
                <a:gd name="T25" fmla="*/ 788 h 6200"/>
                <a:gd name="T26" fmla="*/ 2796 w 6200"/>
                <a:gd name="T27" fmla="*/ 424 h 6200"/>
                <a:gd name="T28" fmla="*/ 3404 w 6200"/>
                <a:gd name="T29" fmla="*/ 424 h 6200"/>
                <a:gd name="T30" fmla="*/ 4283 w 6200"/>
                <a:gd name="T31" fmla="*/ 788 h 6200"/>
                <a:gd name="T32" fmla="*/ 4712 w 6200"/>
                <a:gd name="T33" fmla="*/ 1217 h 6200"/>
                <a:gd name="T34" fmla="*/ 5076 w 6200"/>
                <a:gd name="T35" fmla="*/ 2096 h 6200"/>
                <a:gd name="T36" fmla="*/ 5076 w 6200"/>
                <a:gd name="T37" fmla="*/ 2704 h 6200"/>
                <a:gd name="T38" fmla="*/ 4900 w 6200"/>
                <a:gd name="T39" fmla="*/ 2849 h 6200"/>
                <a:gd name="T40" fmla="*/ 4855 w 6200"/>
                <a:gd name="T41" fmla="*/ 2005 h 6200"/>
                <a:gd name="T42" fmla="*/ 1354 w 6200"/>
                <a:gd name="T43" fmla="*/ 2835 h 6200"/>
                <a:gd name="T44" fmla="*/ 1979 w 6200"/>
                <a:gd name="T45" fmla="*/ 2825 h 6200"/>
                <a:gd name="T46" fmla="*/ 4231 w 6200"/>
                <a:gd name="T47" fmla="*/ 2000 h 6200"/>
                <a:gd name="T48" fmla="*/ 4100 w 6200"/>
                <a:gd name="T49" fmla="*/ 2582 h 6200"/>
                <a:gd name="T50" fmla="*/ 1979 w 6200"/>
                <a:gd name="T51" fmla="*/ 2825 h 6200"/>
                <a:gd name="T52" fmla="*/ 3100 w 6200"/>
                <a:gd name="T53" fmla="*/ 800 h 6200"/>
                <a:gd name="T54" fmla="*/ 3100 w 6200"/>
                <a:gd name="T55" fmla="*/ 1000 h 6200"/>
                <a:gd name="T56" fmla="*/ 1700 w 6200"/>
                <a:gd name="T57" fmla="*/ 2800 h 6200"/>
                <a:gd name="T58" fmla="*/ 4200 w 6200"/>
                <a:gd name="T59" fmla="*/ 2400 h 6200"/>
                <a:gd name="T60" fmla="*/ 4800 w 6200"/>
                <a:gd name="T61" fmla="*/ 2200 h 6200"/>
                <a:gd name="T62" fmla="*/ 4300 w 6200"/>
                <a:gd name="T63" fmla="*/ 2600 h 6200"/>
                <a:gd name="T64" fmla="*/ 4500 w 6200"/>
                <a:gd name="T65" fmla="*/ 2800 h 6200"/>
                <a:gd name="T66" fmla="*/ 1700 w 6200"/>
                <a:gd name="T67" fmla="*/ 6000 h 6200"/>
                <a:gd name="T68" fmla="*/ 3200 w 6200"/>
                <a:gd name="T69" fmla="*/ 4500 h 6200"/>
                <a:gd name="T70" fmla="*/ 3793 w 6200"/>
                <a:gd name="T71" fmla="*/ 3934 h 6200"/>
                <a:gd name="T72" fmla="*/ 4400 w 6200"/>
                <a:gd name="T73" fmla="*/ 3405 h 6200"/>
                <a:gd name="T74" fmla="*/ 4600 w 6200"/>
                <a:gd name="T75" fmla="*/ 3405 h 6200"/>
                <a:gd name="T76" fmla="*/ 5207 w 6200"/>
                <a:gd name="T77" fmla="*/ 3934 h 6200"/>
                <a:gd name="T78" fmla="*/ 5400 w 6200"/>
                <a:gd name="T79" fmla="*/ 4400 h 6200"/>
                <a:gd name="T80" fmla="*/ 5345 w 6200"/>
                <a:gd name="T81" fmla="*/ 5203 h 6200"/>
                <a:gd name="T82" fmla="*/ 5203 w 6200"/>
                <a:gd name="T83" fmla="*/ 5345 h 6200"/>
                <a:gd name="T84" fmla="*/ 4400 w 6200"/>
                <a:gd name="T85" fmla="*/ 5400 h 6200"/>
                <a:gd name="T86" fmla="*/ 3934 w 6200"/>
                <a:gd name="T87" fmla="*/ 5207 h 6200"/>
                <a:gd name="T88" fmla="*/ 3405 w 6200"/>
                <a:gd name="T89" fmla="*/ 4600 h 6200"/>
                <a:gd name="T90" fmla="*/ 3405 w 6200"/>
                <a:gd name="T91" fmla="*/ 4400 h 6200"/>
                <a:gd name="T92" fmla="*/ 3214 w 6200"/>
                <a:gd name="T93" fmla="*/ 5270 h 6200"/>
                <a:gd name="T94" fmla="*/ 5800 w 6200"/>
                <a:gd name="T95" fmla="*/ 4500 h 6200"/>
                <a:gd name="T96" fmla="*/ 3214 w 6200"/>
                <a:gd name="T97" fmla="*/ 3730 h 6200"/>
                <a:gd name="T98" fmla="*/ 4500 w 6200"/>
                <a:gd name="T99" fmla="*/ 6000 h 6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200" h="6200">
                  <a:moveTo>
                    <a:pt x="5223" y="2964"/>
                  </a:moveTo>
                  <a:cubicBezTo>
                    <a:pt x="5232" y="2928"/>
                    <a:pt x="5243" y="2891"/>
                    <a:pt x="5251" y="2856"/>
                  </a:cubicBezTo>
                  <a:lnTo>
                    <a:pt x="5500" y="2772"/>
                  </a:lnTo>
                  <a:lnTo>
                    <a:pt x="5500" y="2028"/>
                  </a:lnTo>
                  <a:lnTo>
                    <a:pt x="5251" y="1944"/>
                  </a:lnTo>
                  <a:cubicBezTo>
                    <a:pt x="5195" y="1677"/>
                    <a:pt x="5092" y="1428"/>
                    <a:pt x="4944" y="1201"/>
                  </a:cubicBezTo>
                  <a:lnTo>
                    <a:pt x="5060" y="966"/>
                  </a:lnTo>
                  <a:lnTo>
                    <a:pt x="4534" y="440"/>
                  </a:lnTo>
                  <a:lnTo>
                    <a:pt x="4299" y="556"/>
                  </a:lnTo>
                  <a:cubicBezTo>
                    <a:pt x="4072" y="408"/>
                    <a:pt x="3823" y="305"/>
                    <a:pt x="3556" y="249"/>
                  </a:cubicBezTo>
                  <a:lnTo>
                    <a:pt x="3472" y="0"/>
                  </a:lnTo>
                  <a:lnTo>
                    <a:pt x="2728" y="0"/>
                  </a:lnTo>
                  <a:lnTo>
                    <a:pt x="2644" y="249"/>
                  </a:lnTo>
                  <a:cubicBezTo>
                    <a:pt x="2377" y="305"/>
                    <a:pt x="2128" y="408"/>
                    <a:pt x="1901" y="556"/>
                  </a:cubicBezTo>
                  <a:lnTo>
                    <a:pt x="1666" y="440"/>
                  </a:lnTo>
                  <a:lnTo>
                    <a:pt x="1140" y="966"/>
                  </a:lnTo>
                  <a:lnTo>
                    <a:pt x="1256" y="1201"/>
                  </a:lnTo>
                  <a:cubicBezTo>
                    <a:pt x="1108" y="1428"/>
                    <a:pt x="1005" y="1678"/>
                    <a:pt x="949" y="1944"/>
                  </a:cubicBezTo>
                  <a:lnTo>
                    <a:pt x="700" y="2028"/>
                  </a:lnTo>
                  <a:lnTo>
                    <a:pt x="700" y="2772"/>
                  </a:lnTo>
                  <a:lnTo>
                    <a:pt x="949" y="2856"/>
                  </a:lnTo>
                  <a:cubicBezTo>
                    <a:pt x="957" y="2891"/>
                    <a:pt x="968" y="2928"/>
                    <a:pt x="977" y="2964"/>
                  </a:cubicBezTo>
                  <a:cubicBezTo>
                    <a:pt x="401" y="3236"/>
                    <a:pt x="0" y="3821"/>
                    <a:pt x="0" y="4500"/>
                  </a:cubicBezTo>
                  <a:cubicBezTo>
                    <a:pt x="0" y="5437"/>
                    <a:pt x="763" y="6200"/>
                    <a:pt x="1700" y="6200"/>
                  </a:cubicBezTo>
                  <a:cubicBezTo>
                    <a:pt x="2280" y="6200"/>
                    <a:pt x="2793" y="5907"/>
                    <a:pt x="3100" y="5462"/>
                  </a:cubicBezTo>
                  <a:cubicBezTo>
                    <a:pt x="3416" y="5921"/>
                    <a:pt x="3938" y="6200"/>
                    <a:pt x="4500" y="6200"/>
                  </a:cubicBezTo>
                  <a:cubicBezTo>
                    <a:pt x="5437" y="6200"/>
                    <a:pt x="6200" y="5437"/>
                    <a:pt x="6200" y="4500"/>
                  </a:cubicBezTo>
                  <a:cubicBezTo>
                    <a:pt x="6200" y="3821"/>
                    <a:pt x="5799" y="3236"/>
                    <a:pt x="5223" y="2964"/>
                  </a:cubicBezTo>
                  <a:close/>
                  <a:moveTo>
                    <a:pt x="1134" y="2762"/>
                  </a:moveTo>
                  <a:lnTo>
                    <a:pt x="1124" y="2704"/>
                  </a:lnTo>
                  <a:lnTo>
                    <a:pt x="900" y="2628"/>
                  </a:lnTo>
                  <a:lnTo>
                    <a:pt x="900" y="2172"/>
                  </a:lnTo>
                  <a:lnTo>
                    <a:pt x="1124" y="2096"/>
                  </a:lnTo>
                  <a:lnTo>
                    <a:pt x="1134" y="2038"/>
                  </a:lnTo>
                  <a:cubicBezTo>
                    <a:pt x="1186" y="1758"/>
                    <a:pt x="1293" y="1498"/>
                    <a:pt x="1454" y="1265"/>
                  </a:cubicBezTo>
                  <a:lnTo>
                    <a:pt x="1487" y="1217"/>
                  </a:lnTo>
                  <a:lnTo>
                    <a:pt x="1383" y="1006"/>
                  </a:lnTo>
                  <a:lnTo>
                    <a:pt x="1706" y="683"/>
                  </a:lnTo>
                  <a:lnTo>
                    <a:pt x="1917" y="788"/>
                  </a:lnTo>
                  <a:lnTo>
                    <a:pt x="1965" y="754"/>
                  </a:lnTo>
                  <a:cubicBezTo>
                    <a:pt x="2198" y="593"/>
                    <a:pt x="2458" y="486"/>
                    <a:pt x="2738" y="434"/>
                  </a:cubicBezTo>
                  <a:lnTo>
                    <a:pt x="2796" y="424"/>
                  </a:lnTo>
                  <a:lnTo>
                    <a:pt x="2872" y="200"/>
                  </a:lnTo>
                  <a:lnTo>
                    <a:pt x="3328" y="200"/>
                  </a:lnTo>
                  <a:lnTo>
                    <a:pt x="3404" y="424"/>
                  </a:lnTo>
                  <a:lnTo>
                    <a:pt x="3462" y="434"/>
                  </a:lnTo>
                  <a:cubicBezTo>
                    <a:pt x="3742" y="486"/>
                    <a:pt x="4002" y="593"/>
                    <a:pt x="4235" y="754"/>
                  </a:cubicBezTo>
                  <a:lnTo>
                    <a:pt x="4283" y="788"/>
                  </a:lnTo>
                  <a:lnTo>
                    <a:pt x="4494" y="683"/>
                  </a:lnTo>
                  <a:lnTo>
                    <a:pt x="4817" y="1006"/>
                  </a:lnTo>
                  <a:lnTo>
                    <a:pt x="4712" y="1217"/>
                  </a:lnTo>
                  <a:lnTo>
                    <a:pt x="4746" y="1265"/>
                  </a:lnTo>
                  <a:cubicBezTo>
                    <a:pt x="4907" y="1498"/>
                    <a:pt x="5014" y="1758"/>
                    <a:pt x="5065" y="2038"/>
                  </a:cubicBezTo>
                  <a:lnTo>
                    <a:pt x="5076" y="2096"/>
                  </a:lnTo>
                  <a:lnTo>
                    <a:pt x="5300" y="2172"/>
                  </a:lnTo>
                  <a:lnTo>
                    <a:pt x="5300" y="2628"/>
                  </a:lnTo>
                  <a:lnTo>
                    <a:pt x="5076" y="2704"/>
                  </a:lnTo>
                  <a:lnTo>
                    <a:pt x="5066" y="2762"/>
                  </a:lnTo>
                  <a:cubicBezTo>
                    <a:pt x="5058" y="2803"/>
                    <a:pt x="5048" y="2846"/>
                    <a:pt x="5038" y="2888"/>
                  </a:cubicBezTo>
                  <a:cubicBezTo>
                    <a:pt x="4993" y="2873"/>
                    <a:pt x="4947" y="2861"/>
                    <a:pt x="4900" y="2849"/>
                  </a:cubicBezTo>
                  <a:lnTo>
                    <a:pt x="4900" y="2582"/>
                  </a:lnTo>
                  <a:cubicBezTo>
                    <a:pt x="5016" y="2540"/>
                    <a:pt x="5100" y="2430"/>
                    <a:pt x="5100" y="2300"/>
                  </a:cubicBezTo>
                  <a:cubicBezTo>
                    <a:pt x="5100" y="2153"/>
                    <a:pt x="4994" y="2031"/>
                    <a:pt x="4855" y="2005"/>
                  </a:cubicBezTo>
                  <a:cubicBezTo>
                    <a:pt x="4672" y="1187"/>
                    <a:pt x="3947" y="600"/>
                    <a:pt x="3100" y="600"/>
                  </a:cubicBezTo>
                  <a:cubicBezTo>
                    <a:pt x="2108" y="600"/>
                    <a:pt x="1300" y="1407"/>
                    <a:pt x="1300" y="2400"/>
                  </a:cubicBezTo>
                  <a:cubicBezTo>
                    <a:pt x="1300" y="2547"/>
                    <a:pt x="1319" y="2693"/>
                    <a:pt x="1354" y="2835"/>
                  </a:cubicBezTo>
                  <a:cubicBezTo>
                    <a:pt x="1289" y="2849"/>
                    <a:pt x="1225" y="2867"/>
                    <a:pt x="1163" y="2889"/>
                  </a:cubicBezTo>
                  <a:cubicBezTo>
                    <a:pt x="1152" y="2846"/>
                    <a:pt x="1142" y="2803"/>
                    <a:pt x="1134" y="2762"/>
                  </a:cubicBezTo>
                  <a:close/>
                  <a:moveTo>
                    <a:pt x="1979" y="2825"/>
                  </a:moveTo>
                  <a:cubicBezTo>
                    <a:pt x="1927" y="2689"/>
                    <a:pt x="1900" y="2547"/>
                    <a:pt x="1900" y="2400"/>
                  </a:cubicBezTo>
                  <a:cubicBezTo>
                    <a:pt x="1900" y="1738"/>
                    <a:pt x="2438" y="1200"/>
                    <a:pt x="3100" y="1200"/>
                  </a:cubicBezTo>
                  <a:cubicBezTo>
                    <a:pt x="3616" y="1200"/>
                    <a:pt x="4064" y="1523"/>
                    <a:pt x="4231" y="2000"/>
                  </a:cubicBezTo>
                  <a:lnTo>
                    <a:pt x="4200" y="2000"/>
                  </a:lnTo>
                  <a:cubicBezTo>
                    <a:pt x="4035" y="2000"/>
                    <a:pt x="3900" y="2135"/>
                    <a:pt x="3900" y="2300"/>
                  </a:cubicBezTo>
                  <a:cubicBezTo>
                    <a:pt x="3900" y="2430"/>
                    <a:pt x="3984" y="2540"/>
                    <a:pt x="4100" y="2582"/>
                  </a:cubicBezTo>
                  <a:lnTo>
                    <a:pt x="4100" y="2849"/>
                  </a:lnTo>
                  <a:cubicBezTo>
                    <a:pt x="3696" y="2947"/>
                    <a:pt x="3339" y="3191"/>
                    <a:pt x="3100" y="3538"/>
                  </a:cubicBezTo>
                  <a:cubicBezTo>
                    <a:pt x="2844" y="3166"/>
                    <a:pt x="2443" y="2902"/>
                    <a:pt x="1979" y="2825"/>
                  </a:cubicBezTo>
                  <a:close/>
                  <a:moveTo>
                    <a:pt x="1554" y="2807"/>
                  </a:moveTo>
                  <a:cubicBezTo>
                    <a:pt x="1519" y="2674"/>
                    <a:pt x="1500" y="2538"/>
                    <a:pt x="1500" y="2400"/>
                  </a:cubicBezTo>
                  <a:cubicBezTo>
                    <a:pt x="1500" y="1518"/>
                    <a:pt x="2218" y="800"/>
                    <a:pt x="3100" y="800"/>
                  </a:cubicBezTo>
                  <a:cubicBezTo>
                    <a:pt x="3836" y="800"/>
                    <a:pt x="4469" y="1298"/>
                    <a:pt x="4649" y="2000"/>
                  </a:cubicBezTo>
                  <a:lnTo>
                    <a:pt x="4441" y="2000"/>
                  </a:lnTo>
                  <a:cubicBezTo>
                    <a:pt x="4265" y="1408"/>
                    <a:pt x="3725" y="1000"/>
                    <a:pt x="3100" y="1000"/>
                  </a:cubicBezTo>
                  <a:cubicBezTo>
                    <a:pt x="2328" y="1000"/>
                    <a:pt x="1700" y="1628"/>
                    <a:pt x="1700" y="2400"/>
                  </a:cubicBezTo>
                  <a:cubicBezTo>
                    <a:pt x="1700" y="2538"/>
                    <a:pt x="1720" y="2673"/>
                    <a:pt x="1760" y="2803"/>
                  </a:cubicBezTo>
                  <a:cubicBezTo>
                    <a:pt x="1740" y="2802"/>
                    <a:pt x="1720" y="2800"/>
                    <a:pt x="1700" y="2800"/>
                  </a:cubicBezTo>
                  <a:cubicBezTo>
                    <a:pt x="1651" y="2800"/>
                    <a:pt x="1602" y="2803"/>
                    <a:pt x="1554" y="2807"/>
                  </a:cubicBezTo>
                  <a:close/>
                  <a:moveTo>
                    <a:pt x="4800" y="2400"/>
                  </a:moveTo>
                  <a:lnTo>
                    <a:pt x="4200" y="2400"/>
                  </a:lnTo>
                  <a:cubicBezTo>
                    <a:pt x="4145" y="2400"/>
                    <a:pt x="4100" y="2355"/>
                    <a:pt x="4100" y="2300"/>
                  </a:cubicBezTo>
                  <a:cubicBezTo>
                    <a:pt x="4100" y="2245"/>
                    <a:pt x="4145" y="2200"/>
                    <a:pt x="4200" y="2200"/>
                  </a:cubicBezTo>
                  <a:lnTo>
                    <a:pt x="4800" y="2200"/>
                  </a:lnTo>
                  <a:cubicBezTo>
                    <a:pt x="4855" y="2200"/>
                    <a:pt x="4900" y="2245"/>
                    <a:pt x="4900" y="2300"/>
                  </a:cubicBezTo>
                  <a:cubicBezTo>
                    <a:pt x="4900" y="2355"/>
                    <a:pt x="4855" y="2400"/>
                    <a:pt x="4800" y="2400"/>
                  </a:cubicBezTo>
                  <a:close/>
                  <a:moveTo>
                    <a:pt x="4300" y="2600"/>
                  </a:moveTo>
                  <a:lnTo>
                    <a:pt x="4700" y="2600"/>
                  </a:lnTo>
                  <a:lnTo>
                    <a:pt x="4700" y="2813"/>
                  </a:lnTo>
                  <a:cubicBezTo>
                    <a:pt x="4634" y="2805"/>
                    <a:pt x="4568" y="2800"/>
                    <a:pt x="4500" y="2800"/>
                  </a:cubicBezTo>
                  <a:cubicBezTo>
                    <a:pt x="4433" y="2800"/>
                    <a:pt x="4366" y="2805"/>
                    <a:pt x="4300" y="2813"/>
                  </a:cubicBezTo>
                  <a:lnTo>
                    <a:pt x="4300" y="2600"/>
                  </a:lnTo>
                  <a:close/>
                  <a:moveTo>
                    <a:pt x="1700" y="6000"/>
                  </a:moveTo>
                  <a:cubicBezTo>
                    <a:pt x="873" y="6000"/>
                    <a:pt x="200" y="5327"/>
                    <a:pt x="200" y="4500"/>
                  </a:cubicBezTo>
                  <a:cubicBezTo>
                    <a:pt x="200" y="3673"/>
                    <a:pt x="873" y="3000"/>
                    <a:pt x="1700" y="3000"/>
                  </a:cubicBezTo>
                  <a:cubicBezTo>
                    <a:pt x="2527" y="3000"/>
                    <a:pt x="3200" y="3673"/>
                    <a:pt x="3200" y="4500"/>
                  </a:cubicBezTo>
                  <a:cubicBezTo>
                    <a:pt x="3200" y="5327"/>
                    <a:pt x="2527" y="6000"/>
                    <a:pt x="1700" y="6000"/>
                  </a:cubicBezTo>
                  <a:close/>
                  <a:moveTo>
                    <a:pt x="3655" y="3797"/>
                  </a:moveTo>
                  <a:lnTo>
                    <a:pt x="3793" y="3934"/>
                  </a:lnTo>
                  <a:lnTo>
                    <a:pt x="3934" y="3793"/>
                  </a:lnTo>
                  <a:lnTo>
                    <a:pt x="3797" y="3655"/>
                  </a:lnTo>
                  <a:cubicBezTo>
                    <a:pt x="3963" y="3516"/>
                    <a:pt x="4172" y="3426"/>
                    <a:pt x="4400" y="3405"/>
                  </a:cubicBezTo>
                  <a:lnTo>
                    <a:pt x="4400" y="3600"/>
                  </a:lnTo>
                  <a:lnTo>
                    <a:pt x="4600" y="3600"/>
                  </a:lnTo>
                  <a:lnTo>
                    <a:pt x="4600" y="3405"/>
                  </a:lnTo>
                  <a:cubicBezTo>
                    <a:pt x="4828" y="3426"/>
                    <a:pt x="5037" y="3516"/>
                    <a:pt x="5203" y="3655"/>
                  </a:cubicBezTo>
                  <a:lnTo>
                    <a:pt x="5066" y="3793"/>
                  </a:lnTo>
                  <a:lnTo>
                    <a:pt x="5207" y="3934"/>
                  </a:lnTo>
                  <a:lnTo>
                    <a:pt x="5345" y="3797"/>
                  </a:lnTo>
                  <a:cubicBezTo>
                    <a:pt x="5484" y="3963"/>
                    <a:pt x="5574" y="4172"/>
                    <a:pt x="5595" y="4400"/>
                  </a:cubicBezTo>
                  <a:lnTo>
                    <a:pt x="5400" y="4400"/>
                  </a:lnTo>
                  <a:lnTo>
                    <a:pt x="5400" y="4600"/>
                  </a:lnTo>
                  <a:lnTo>
                    <a:pt x="5595" y="4600"/>
                  </a:lnTo>
                  <a:cubicBezTo>
                    <a:pt x="5574" y="4828"/>
                    <a:pt x="5484" y="5037"/>
                    <a:pt x="5345" y="5203"/>
                  </a:cubicBezTo>
                  <a:lnTo>
                    <a:pt x="5207" y="5066"/>
                  </a:lnTo>
                  <a:lnTo>
                    <a:pt x="5066" y="5207"/>
                  </a:lnTo>
                  <a:lnTo>
                    <a:pt x="5203" y="5345"/>
                  </a:lnTo>
                  <a:cubicBezTo>
                    <a:pt x="5037" y="5484"/>
                    <a:pt x="4828" y="5574"/>
                    <a:pt x="4600" y="5595"/>
                  </a:cubicBezTo>
                  <a:lnTo>
                    <a:pt x="4600" y="5400"/>
                  </a:lnTo>
                  <a:lnTo>
                    <a:pt x="4400" y="5400"/>
                  </a:lnTo>
                  <a:lnTo>
                    <a:pt x="4400" y="5595"/>
                  </a:lnTo>
                  <a:cubicBezTo>
                    <a:pt x="4172" y="5574"/>
                    <a:pt x="3963" y="5484"/>
                    <a:pt x="3797" y="5345"/>
                  </a:cubicBezTo>
                  <a:lnTo>
                    <a:pt x="3934" y="5207"/>
                  </a:lnTo>
                  <a:lnTo>
                    <a:pt x="3793" y="5066"/>
                  </a:lnTo>
                  <a:lnTo>
                    <a:pt x="3655" y="5203"/>
                  </a:lnTo>
                  <a:cubicBezTo>
                    <a:pt x="3516" y="5037"/>
                    <a:pt x="3426" y="4828"/>
                    <a:pt x="3405" y="4600"/>
                  </a:cubicBezTo>
                  <a:lnTo>
                    <a:pt x="3600" y="4600"/>
                  </a:lnTo>
                  <a:lnTo>
                    <a:pt x="3600" y="4400"/>
                  </a:lnTo>
                  <a:lnTo>
                    <a:pt x="3405" y="4400"/>
                  </a:lnTo>
                  <a:cubicBezTo>
                    <a:pt x="3426" y="4172"/>
                    <a:pt x="3516" y="3963"/>
                    <a:pt x="3655" y="3797"/>
                  </a:cubicBezTo>
                  <a:close/>
                  <a:moveTo>
                    <a:pt x="4500" y="6000"/>
                  </a:moveTo>
                  <a:cubicBezTo>
                    <a:pt x="3972" y="6000"/>
                    <a:pt x="3485" y="5721"/>
                    <a:pt x="3214" y="5270"/>
                  </a:cubicBezTo>
                  <a:cubicBezTo>
                    <a:pt x="3253" y="5193"/>
                    <a:pt x="3287" y="5113"/>
                    <a:pt x="3314" y="5030"/>
                  </a:cubicBezTo>
                  <a:cubicBezTo>
                    <a:pt x="3518" y="5483"/>
                    <a:pt x="3972" y="5800"/>
                    <a:pt x="4500" y="5800"/>
                  </a:cubicBezTo>
                  <a:cubicBezTo>
                    <a:pt x="5217" y="5800"/>
                    <a:pt x="5800" y="5217"/>
                    <a:pt x="5800" y="4500"/>
                  </a:cubicBezTo>
                  <a:cubicBezTo>
                    <a:pt x="5800" y="3783"/>
                    <a:pt x="5217" y="3200"/>
                    <a:pt x="4500" y="3200"/>
                  </a:cubicBezTo>
                  <a:cubicBezTo>
                    <a:pt x="3972" y="3200"/>
                    <a:pt x="3518" y="3517"/>
                    <a:pt x="3314" y="3970"/>
                  </a:cubicBezTo>
                  <a:cubicBezTo>
                    <a:pt x="3287" y="3887"/>
                    <a:pt x="3253" y="3807"/>
                    <a:pt x="3214" y="3730"/>
                  </a:cubicBezTo>
                  <a:cubicBezTo>
                    <a:pt x="3485" y="3279"/>
                    <a:pt x="3972" y="3000"/>
                    <a:pt x="4500" y="3000"/>
                  </a:cubicBezTo>
                  <a:cubicBezTo>
                    <a:pt x="5327" y="3000"/>
                    <a:pt x="6000" y="3673"/>
                    <a:pt x="6000" y="4500"/>
                  </a:cubicBezTo>
                  <a:cubicBezTo>
                    <a:pt x="6000" y="5327"/>
                    <a:pt x="5327" y="6000"/>
                    <a:pt x="4500" y="60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0"/>
            <p:cNvSpPr>
              <a:spLocks/>
            </p:cNvSpPr>
            <p:nvPr/>
          </p:nvSpPr>
          <p:spPr bwMode="auto">
            <a:xfrm>
              <a:off x="1188" y="1614"/>
              <a:ext cx="35" cy="47"/>
            </a:xfrm>
            <a:custGeom>
              <a:avLst/>
              <a:gdLst>
                <a:gd name="T0" fmla="*/ 0 w 645"/>
                <a:gd name="T1" fmla="*/ 896 h 896"/>
                <a:gd name="T2" fmla="*/ 200 w 645"/>
                <a:gd name="T3" fmla="*/ 896 h 896"/>
                <a:gd name="T4" fmla="*/ 645 w 645"/>
                <a:gd name="T5" fmla="*/ 179 h 896"/>
                <a:gd name="T6" fmla="*/ 555 w 645"/>
                <a:gd name="T7" fmla="*/ 0 h 896"/>
                <a:gd name="T8" fmla="*/ 0 w 645"/>
                <a:gd name="T9" fmla="*/ 896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5" h="896">
                  <a:moveTo>
                    <a:pt x="0" y="896"/>
                  </a:moveTo>
                  <a:lnTo>
                    <a:pt x="200" y="896"/>
                  </a:lnTo>
                  <a:cubicBezTo>
                    <a:pt x="200" y="590"/>
                    <a:pt x="370" y="315"/>
                    <a:pt x="645" y="179"/>
                  </a:cubicBezTo>
                  <a:lnTo>
                    <a:pt x="555" y="0"/>
                  </a:lnTo>
                  <a:cubicBezTo>
                    <a:pt x="213" y="170"/>
                    <a:pt x="0" y="514"/>
                    <a:pt x="0" y="89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" name="Freeform 31"/>
            <p:cNvSpPr>
              <a:spLocks/>
            </p:cNvSpPr>
            <p:nvPr/>
          </p:nvSpPr>
          <p:spPr bwMode="auto">
            <a:xfrm>
              <a:off x="1230" y="1608"/>
              <a:ext cx="11" cy="12"/>
            </a:xfrm>
            <a:custGeom>
              <a:avLst/>
              <a:gdLst>
                <a:gd name="T0" fmla="*/ 44 w 222"/>
                <a:gd name="T1" fmla="*/ 220 h 220"/>
                <a:gd name="T2" fmla="*/ 222 w 222"/>
                <a:gd name="T3" fmla="*/ 200 h 220"/>
                <a:gd name="T4" fmla="*/ 222 w 222"/>
                <a:gd name="T5" fmla="*/ 0 h 220"/>
                <a:gd name="T6" fmla="*/ 0 w 222"/>
                <a:gd name="T7" fmla="*/ 25 h 220"/>
                <a:gd name="T8" fmla="*/ 44 w 222"/>
                <a:gd name="T9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220">
                  <a:moveTo>
                    <a:pt x="44" y="220"/>
                  </a:moveTo>
                  <a:cubicBezTo>
                    <a:pt x="102" y="207"/>
                    <a:pt x="162" y="200"/>
                    <a:pt x="222" y="200"/>
                  </a:cubicBezTo>
                  <a:lnTo>
                    <a:pt x="222" y="0"/>
                  </a:lnTo>
                  <a:cubicBezTo>
                    <a:pt x="147" y="0"/>
                    <a:pt x="72" y="8"/>
                    <a:pt x="0" y="25"/>
                  </a:cubicBezTo>
                  <a:lnTo>
                    <a:pt x="44" y="2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848859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100000">
              <a:srgbClr val="EAEAEA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48062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3" name="Diapositive think-cell" r:id="rId5" imgW="592" imgH="595" progId="TCLayout.ActiveDocument.1">
                  <p:embed/>
                </p:oleObj>
              </mc:Choice>
              <mc:Fallback>
                <p:oleObj name="Diapositive think-cell" r:id="rId5" imgW="592" imgH="595" progId="TCLayout.ActiveDocument.1">
                  <p:embed/>
                  <p:pic>
                    <p:nvPicPr>
                      <p:cNvPr id="5" name="Obje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 8"/>
          <p:cNvPicPr>
            <a:picLocks noChangeAspect="1"/>
          </p:cNvPicPr>
          <p:nvPr/>
        </p:nvPicPr>
        <p:blipFill rotWithShape="1">
          <a:blip r:embed="rId7"/>
          <a:srcRect b="21479"/>
          <a:stretch/>
        </p:blipFill>
        <p:spPr>
          <a:xfrm>
            <a:off x="3072122" y="895929"/>
            <a:ext cx="6047756" cy="5983842"/>
          </a:xfrm>
          <a:prstGeom prst="rect">
            <a:avLst/>
          </a:prstGeom>
        </p:spPr>
      </p:pic>
      <p:sp>
        <p:nvSpPr>
          <p:cNvPr id="530" name="Rectangle 529"/>
          <p:cNvSpPr/>
          <p:nvPr/>
        </p:nvSpPr>
        <p:spPr>
          <a:xfrm>
            <a:off x="334963" y="206624"/>
            <a:ext cx="115935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6B1F66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The Compliance Genie</a:t>
            </a:r>
          </a:p>
        </p:txBody>
      </p:sp>
      <p:pic>
        <p:nvPicPr>
          <p:cNvPr id="23" name="Image 2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982373"/>
            <a:ext cx="1174243" cy="542252"/>
          </a:xfrm>
          <a:prstGeom prst="rect">
            <a:avLst/>
          </a:prstGeom>
        </p:spPr>
      </p:pic>
      <p:sp>
        <p:nvSpPr>
          <p:cNvPr id="24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rgbClr val="A136A0"/>
                </a:solidFill>
                <a:latin typeface="Lato Medium"/>
                <a:ea typeface="Lato Medium"/>
                <a:cs typeface="Lato Medium"/>
              </a:rPr>
              <a:t>be-safetech</a:t>
            </a:r>
            <a:r>
              <a:rPr lang="en-US" dirty="0">
                <a:solidFill>
                  <a:srgbClr val="A136A0"/>
                </a:solidFill>
                <a:latin typeface="Lato Light"/>
                <a:ea typeface="Lato Light"/>
                <a:cs typeface="Lato Light"/>
              </a:rPr>
              <a:t>.c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</a:t>
            </a:r>
            <a:r>
              <a:rPr lang="en-US" b="1" dirty="0">
                <a:solidFill>
                  <a:srgbClr val="FEC232"/>
                </a:solidFill>
                <a:latin typeface="Montserrat"/>
              </a:rPr>
              <a:t>| </a:t>
            </a:r>
            <a:fld id="{DABD2AA5-CABB-4467-8A69-C511B00C377E}" type="slidenum">
              <a:rPr lang="en-US" b="1" dirty="0" smtClean="0">
                <a:solidFill>
                  <a:srgbClr val="A136A0"/>
                </a:solidFill>
                <a:latin typeface="Montserrat"/>
              </a:rPr>
              <a:pPr algn="l" rtl="1"/>
              <a:t>7</a:t>
            </a:fld>
            <a:endParaRPr lang="en-US" b="1" dirty="0">
              <a:solidFill>
                <a:srgbClr val="A136A0"/>
              </a:solidFill>
              <a:latin typeface="Montserra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470777" y="1341438"/>
            <a:ext cx="5321884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Blip>
                <a:blip r:embed="rId9"/>
              </a:buBlip>
            </a:pPr>
            <a:endParaRPr lang="en-US" dirty="0">
              <a:solidFill>
                <a:schemeClr val="bg1"/>
              </a:solidFill>
              <a:latin typeface="Lato Medium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marL="285750" indent="-285750">
              <a:lnSpc>
                <a:spcPct val="150000"/>
              </a:lnSpc>
              <a:buSzPct val="120000"/>
              <a:buBlip>
                <a:blip r:embed="rId9"/>
              </a:buBlip>
            </a:pPr>
            <a:r>
              <a:rPr lang="en-US" dirty="0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Cloud Based (SaaS) Solution</a:t>
            </a:r>
          </a:p>
          <a:p>
            <a:pPr marL="285750" indent="-285750">
              <a:lnSpc>
                <a:spcPct val="150000"/>
              </a:lnSpc>
              <a:buSzPct val="120000"/>
              <a:buBlip>
                <a:blip r:embed="rId9"/>
              </a:buBlip>
            </a:pPr>
            <a:r>
              <a:rPr lang="en-US" dirty="0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Health and Safety Management Suite</a:t>
            </a:r>
          </a:p>
          <a:p>
            <a:pPr marL="285750" indent="-285750">
              <a:lnSpc>
                <a:spcPct val="150000"/>
              </a:lnSpc>
              <a:buSzPct val="120000"/>
              <a:buBlip>
                <a:blip r:embed="rId9"/>
              </a:buBlip>
            </a:pPr>
            <a:r>
              <a:rPr lang="en-US" dirty="0">
                <a:solidFill>
                  <a:schemeClr val="bg1"/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rPr>
              <a:t>Modular Solution Covering all key aspects of H&amp;S including</a:t>
            </a:r>
            <a:r>
              <a:rPr lang="en-US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:</a:t>
            </a:r>
          </a:p>
          <a:p>
            <a:pPr marL="742950" lvl="1" indent="-285750">
              <a:lnSpc>
                <a:spcPct val="150000"/>
              </a:lnSpc>
              <a:buBlip>
                <a:blip r:embed="rId9"/>
              </a:buBlip>
            </a:pPr>
            <a:r>
              <a:rPr lang="en-US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Visitor Management</a:t>
            </a:r>
          </a:p>
          <a:p>
            <a:pPr marL="742950" lvl="1" indent="-285750">
              <a:lnSpc>
                <a:spcPct val="150000"/>
              </a:lnSpc>
              <a:buBlip>
                <a:blip r:embed="rId9"/>
              </a:buBlip>
            </a:pPr>
            <a:r>
              <a:rPr lang="en-US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Document Distribution and Sign off</a:t>
            </a:r>
          </a:p>
          <a:p>
            <a:pPr marL="742950" lvl="1" indent="-285750">
              <a:lnSpc>
                <a:spcPct val="150000"/>
              </a:lnSpc>
              <a:buBlip>
                <a:blip r:embed="rId9"/>
              </a:buBlip>
            </a:pPr>
            <a:r>
              <a:rPr lang="en-US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Checklist Completion</a:t>
            </a:r>
          </a:p>
          <a:p>
            <a:pPr marL="742950" lvl="1" indent="-285750">
              <a:lnSpc>
                <a:spcPct val="150000"/>
              </a:lnSpc>
              <a:buBlip>
                <a:blip r:embed="rId9"/>
              </a:buBlip>
            </a:pPr>
            <a:r>
              <a:rPr lang="en-US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ction Tracking</a:t>
            </a:r>
          </a:p>
          <a:p>
            <a:pPr marL="742950" lvl="1" indent="-285750">
              <a:lnSpc>
                <a:spcPct val="150000"/>
              </a:lnSpc>
              <a:buBlip>
                <a:blip r:embed="rId9"/>
              </a:buBlip>
            </a:pPr>
            <a:r>
              <a:rPr lang="en-US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Training Records Management</a:t>
            </a:r>
          </a:p>
          <a:p>
            <a:pPr marL="742950" lvl="1" indent="-285750">
              <a:lnSpc>
                <a:spcPct val="150000"/>
              </a:lnSpc>
              <a:buBlip>
                <a:blip r:embed="rId9"/>
              </a:buBlip>
            </a:pPr>
            <a:r>
              <a:rPr lang="en-US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sset Management</a:t>
            </a:r>
          </a:p>
          <a:p>
            <a:pPr marL="742950" lvl="1" indent="-285750">
              <a:lnSpc>
                <a:spcPct val="150000"/>
              </a:lnSpc>
              <a:buBlip>
                <a:blip r:embed="rId9"/>
              </a:buBlip>
            </a:pPr>
            <a:r>
              <a:rPr lang="en-US" dirty="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Permit Management</a:t>
            </a:r>
          </a:p>
        </p:txBody>
      </p:sp>
    </p:spTree>
    <p:extLst>
      <p:ext uri="{BB962C8B-B14F-4D97-AF65-F5344CB8AC3E}">
        <p14:creationId xmlns:p14="http://schemas.microsoft.com/office/powerpoint/2010/main" val="13383138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6212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7" name="Diapositive think-cell" r:id="rId4" imgW="592" imgH="595" progId="TCLayout.ActiveDocument.1">
                  <p:embed/>
                </p:oleObj>
              </mc:Choice>
              <mc:Fallback>
                <p:oleObj name="Diapositive think-cell" r:id="rId4" imgW="592" imgH="595" progId="TCLayout.ActiveDocument.1">
                  <p:embed/>
                  <p:pic>
                    <p:nvPicPr>
                      <p:cNvPr id="12" name="Obje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37" r="6137"/>
          <a:stretch/>
        </p:blipFill>
        <p:spPr>
          <a:xfrm>
            <a:off x="0" y="-1"/>
            <a:ext cx="12192000" cy="6858002"/>
          </a:xfrm>
          <a:prstGeom prst="rect">
            <a:avLst/>
          </a:prstGeom>
        </p:spPr>
      </p:pic>
      <p:sp>
        <p:nvSpPr>
          <p:cNvPr id="168" name="Rectangle 167"/>
          <p:cNvSpPr/>
          <p:nvPr/>
        </p:nvSpPr>
        <p:spPr>
          <a:xfrm rot="10800000">
            <a:off x="0" y="-1"/>
            <a:ext cx="12192000" cy="6858001"/>
          </a:xfrm>
          <a:prstGeom prst="rect">
            <a:avLst/>
          </a:prstGeom>
          <a:gradFill>
            <a:gsLst>
              <a:gs pos="0">
                <a:srgbClr val="A136A0">
                  <a:alpha val="74000"/>
                </a:srgbClr>
              </a:gs>
              <a:gs pos="100000">
                <a:srgbClr val="7030A0">
                  <a:alpha val="87000"/>
                </a:srgbClr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2956240" y="206624"/>
            <a:ext cx="62795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FEC232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Why Use Be-Safe?</a:t>
            </a:r>
          </a:p>
        </p:txBody>
      </p:sp>
      <p:sp>
        <p:nvSpPr>
          <p:cNvPr id="17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chemeClr val="bg1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chemeClr val="bg1"/>
                </a:solidFill>
                <a:latin typeface="Lato Medium"/>
                <a:ea typeface="Lato Medium"/>
                <a:cs typeface="Lato Medium"/>
              </a:rPr>
              <a:t>be-safetech</a:t>
            </a:r>
            <a:r>
              <a:rPr lang="en-US" dirty="0">
                <a:solidFill>
                  <a:schemeClr val="bg1"/>
                </a:solidFill>
                <a:latin typeface="Lato Light"/>
                <a:ea typeface="Lato Light"/>
                <a:cs typeface="Lato Light"/>
              </a:rPr>
              <a:t>.c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| </a:t>
            </a:r>
            <a:fld id="{DABD2AA5-CABB-4467-8A69-C511B00C377E}" type="slidenum">
              <a:rPr lang="en-US" b="1" dirty="0" smtClean="0">
                <a:solidFill>
                  <a:schemeClr val="bg1"/>
                </a:solidFill>
                <a:latin typeface="Montserrat"/>
              </a:rPr>
              <a:pPr algn="l" rtl="1"/>
              <a:t>8</a:t>
            </a:fld>
            <a:endParaRPr lang="en-US" b="1" dirty="0">
              <a:solidFill>
                <a:schemeClr val="bg1"/>
              </a:solidFill>
              <a:latin typeface="Montserrat"/>
            </a:endParaRP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982373"/>
            <a:ext cx="1174243" cy="542252"/>
          </a:xfrm>
          <a:prstGeom prst="rect">
            <a:avLst/>
          </a:prstGeom>
        </p:spPr>
      </p:pic>
      <p:sp>
        <p:nvSpPr>
          <p:cNvPr id="148" name="Rectangle 147"/>
          <p:cNvSpPr/>
          <p:nvPr/>
        </p:nvSpPr>
        <p:spPr>
          <a:xfrm>
            <a:off x="334963" y="1863055"/>
            <a:ext cx="23711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Empower your workforce</a:t>
            </a:r>
          </a:p>
        </p:txBody>
      </p:sp>
      <p:sp>
        <p:nvSpPr>
          <p:cNvPr id="149" name="Rectangle 148"/>
          <p:cNvSpPr/>
          <p:nvPr/>
        </p:nvSpPr>
        <p:spPr>
          <a:xfrm>
            <a:off x="334963" y="3661104"/>
            <a:ext cx="237118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Robustly store key safety documentation and track its sign off</a:t>
            </a:r>
          </a:p>
        </p:txBody>
      </p:sp>
      <p:sp>
        <p:nvSpPr>
          <p:cNvPr id="150" name="Rectangle 149"/>
          <p:cNvSpPr/>
          <p:nvPr/>
        </p:nvSpPr>
        <p:spPr>
          <a:xfrm>
            <a:off x="3409071" y="1863055"/>
            <a:ext cx="23711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Make your workforce accountable</a:t>
            </a:r>
          </a:p>
        </p:txBody>
      </p:sp>
      <p:sp>
        <p:nvSpPr>
          <p:cNvPr id="151" name="Rectangle 150"/>
          <p:cNvSpPr/>
          <p:nvPr/>
        </p:nvSpPr>
        <p:spPr>
          <a:xfrm>
            <a:off x="6483179" y="1863055"/>
            <a:ext cx="23711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Remotely monitor and manage your employees</a:t>
            </a:r>
          </a:p>
        </p:txBody>
      </p:sp>
      <p:sp>
        <p:nvSpPr>
          <p:cNvPr id="152" name="Rectangle 151"/>
          <p:cNvSpPr/>
          <p:nvPr/>
        </p:nvSpPr>
        <p:spPr>
          <a:xfrm>
            <a:off x="9557287" y="1863055"/>
            <a:ext cx="23711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Give senior management piece of mind</a:t>
            </a:r>
          </a:p>
        </p:txBody>
      </p:sp>
      <p:sp>
        <p:nvSpPr>
          <p:cNvPr id="153" name="Rectangle 152"/>
          <p:cNvSpPr/>
          <p:nvPr/>
        </p:nvSpPr>
        <p:spPr>
          <a:xfrm>
            <a:off x="3409071" y="3661104"/>
            <a:ext cx="23711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Build bespoke dashboards to your sets of KPIs </a:t>
            </a:r>
          </a:p>
        </p:txBody>
      </p:sp>
      <p:sp>
        <p:nvSpPr>
          <p:cNvPr id="154" name="Rectangle 153"/>
          <p:cNvSpPr/>
          <p:nvPr/>
        </p:nvSpPr>
        <p:spPr>
          <a:xfrm>
            <a:off x="6483179" y="3661104"/>
            <a:ext cx="23711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Manage by visibility</a:t>
            </a:r>
          </a:p>
        </p:txBody>
      </p:sp>
      <p:sp>
        <p:nvSpPr>
          <p:cNvPr id="155" name="Rectangle 154"/>
          <p:cNvSpPr/>
          <p:nvPr/>
        </p:nvSpPr>
        <p:spPr>
          <a:xfrm>
            <a:off x="4910406" y="5459153"/>
            <a:ext cx="23711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Save money by minimizing management costs</a:t>
            </a:r>
          </a:p>
        </p:txBody>
      </p:sp>
      <p:sp>
        <p:nvSpPr>
          <p:cNvPr id="156" name="Rectangle 155"/>
          <p:cNvSpPr/>
          <p:nvPr/>
        </p:nvSpPr>
        <p:spPr>
          <a:xfrm>
            <a:off x="1836298" y="5459153"/>
            <a:ext cx="237118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Define custom escalation logic to notify the RIGHT people </a:t>
            </a:r>
          </a:p>
        </p:txBody>
      </p:sp>
      <p:sp>
        <p:nvSpPr>
          <p:cNvPr id="157" name="Rectangle 156"/>
          <p:cNvSpPr/>
          <p:nvPr/>
        </p:nvSpPr>
        <p:spPr>
          <a:xfrm>
            <a:off x="9521687" y="3661103"/>
            <a:ext cx="23711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Receive real time reporting</a:t>
            </a:r>
          </a:p>
        </p:txBody>
      </p:sp>
      <p:sp>
        <p:nvSpPr>
          <p:cNvPr id="167" name="Rectangle 166"/>
          <p:cNvSpPr/>
          <p:nvPr/>
        </p:nvSpPr>
        <p:spPr>
          <a:xfrm>
            <a:off x="7984514" y="5459152"/>
            <a:ext cx="23711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void Litigation and fines</a:t>
            </a:r>
          </a:p>
        </p:txBody>
      </p:sp>
      <p:grpSp>
        <p:nvGrpSpPr>
          <p:cNvPr id="189" name="Group 89"/>
          <p:cNvGrpSpPr>
            <a:grpSpLocks noChangeAspect="1"/>
          </p:cNvGrpSpPr>
          <p:nvPr/>
        </p:nvGrpSpPr>
        <p:grpSpPr bwMode="auto">
          <a:xfrm>
            <a:off x="4281702" y="1284289"/>
            <a:ext cx="557522" cy="540000"/>
            <a:chOff x="5242" y="-778"/>
            <a:chExt cx="350" cy="339"/>
          </a:xfrm>
          <a:gradFill>
            <a:gsLst>
              <a:gs pos="0">
                <a:srgbClr val="FEC232"/>
              </a:gs>
              <a:gs pos="100000">
                <a:srgbClr val="DF6F51"/>
              </a:gs>
            </a:gsLst>
            <a:lin ang="2700000" scaled="1"/>
          </a:gradFill>
        </p:grpSpPr>
        <p:sp>
          <p:nvSpPr>
            <p:cNvPr id="190" name="Freeform 90"/>
            <p:cNvSpPr>
              <a:spLocks noEditPoints="1"/>
            </p:cNvSpPr>
            <p:nvPr/>
          </p:nvSpPr>
          <p:spPr bwMode="auto">
            <a:xfrm>
              <a:off x="5242" y="-778"/>
              <a:ext cx="350" cy="339"/>
            </a:xfrm>
            <a:custGeom>
              <a:avLst/>
              <a:gdLst>
                <a:gd name="T0" fmla="*/ 4308 w 6620"/>
                <a:gd name="T1" fmla="*/ 2 h 6402"/>
                <a:gd name="T2" fmla="*/ 2454 w 6620"/>
                <a:gd name="T3" fmla="*/ 1076 h 6402"/>
                <a:gd name="T4" fmla="*/ 2472 w 6620"/>
                <a:gd name="T5" fmla="*/ 3217 h 6402"/>
                <a:gd name="T6" fmla="*/ 197 w 6620"/>
                <a:gd name="T7" fmla="*/ 5493 h 6402"/>
                <a:gd name="T8" fmla="*/ 82 w 6620"/>
                <a:gd name="T9" fmla="*/ 6073 h 6402"/>
                <a:gd name="T10" fmla="*/ 574 w 6620"/>
                <a:gd name="T11" fmla="*/ 6402 h 6402"/>
                <a:gd name="T12" fmla="*/ 951 w 6620"/>
                <a:gd name="T13" fmla="*/ 6246 h 6402"/>
                <a:gd name="T14" fmla="*/ 1216 w 6620"/>
                <a:gd name="T15" fmla="*/ 5981 h 6402"/>
                <a:gd name="T16" fmla="*/ 1219 w 6620"/>
                <a:gd name="T17" fmla="*/ 5979 h 6402"/>
                <a:gd name="T18" fmla="*/ 1221 w 6620"/>
                <a:gd name="T19" fmla="*/ 5976 h 6402"/>
                <a:gd name="T20" fmla="*/ 1536 w 6620"/>
                <a:gd name="T21" fmla="*/ 5661 h 6402"/>
                <a:gd name="T22" fmla="*/ 1539 w 6620"/>
                <a:gd name="T23" fmla="*/ 5659 h 6402"/>
                <a:gd name="T24" fmla="*/ 1541 w 6620"/>
                <a:gd name="T25" fmla="*/ 5656 h 6402"/>
                <a:gd name="T26" fmla="*/ 3226 w 6620"/>
                <a:gd name="T27" fmla="*/ 3971 h 6402"/>
                <a:gd name="T28" fmla="*/ 5670 w 6620"/>
                <a:gd name="T29" fmla="*/ 3776 h 6402"/>
                <a:gd name="T30" fmla="*/ 6315 w 6620"/>
                <a:gd name="T31" fmla="*/ 1410 h 6402"/>
                <a:gd name="T32" fmla="*/ 4308 w 6620"/>
                <a:gd name="T33" fmla="*/ 2 h 6402"/>
                <a:gd name="T34" fmla="*/ 1462 w 6620"/>
                <a:gd name="T35" fmla="*/ 5433 h 6402"/>
                <a:gd name="T36" fmla="*/ 1290 w 6620"/>
                <a:gd name="T37" fmla="*/ 5260 h 6402"/>
                <a:gd name="T38" fmla="*/ 1140 w 6620"/>
                <a:gd name="T39" fmla="*/ 5261 h 6402"/>
                <a:gd name="T40" fmla="*/ 1139 w 6620"/>
                <a:gd name="T41" fmla="*/ 5411 h 6402"/>
                <a:gd name="T42" fmla="*/ 1312 w 6620"/>
                <a:gd name="T43" fmla="*/ 5583 h 6402"/>
                <a:gd name="T44" fmla="*/ 1142 w 6620"/>
                <a:gd name="T45" fmla="*/ 5753 h 6402"/>
                <a:gd name="T46" fmla="*/ 970 w 6620"/>
                <a:gd name="T47" fmla="*/ 5580 h 6402"/>
                <a:gd name="T48" fmla="*/ 866 w 6620"/>
                <a:gd name="T49" fmla="*/ 5551 h 6402"/>
                <a:gd name="T50" fmla="*/ 790 w 6620"/>
                <a:gd name="T51" fmla="*/ 5627 h 6402"/>
                <a:gd name="T52" fmla="*/ 819 w 6620"/>
                <a:gd name="T53" fmla="*/ 5731 h 6402"/>
                <a:gd name="T54" fmla="*/ 992 w 6620"/>
                <a:gd name="T55" fmla="*/ 5903 h 6402"/>
                <a:gd name="T56" fmla="*/ 800 w 6620"/>
                <a:gd name="T57" fmla="*/ 6095 h 6402"/>
                <a:gd name="T58" fmla="*/ 574 w 6620"/>
                <a:gd name="T59" fmla="*/ 6189 h 6402"/>
                <a:gd name="T60" fmla="*/ 280 w 6620"/>
                <a:gd name="T61" fmla="*/ 5991 h 6402"/>
                <a:gd name="T62" fmla="*/ 348 w 6620"/>
                <a:gd name="T63" fmla="*/ 5643 h 6402"/>
                <a:gd name="T64" fmla="*/ 2593 w 6620"/>
                <a:gd name="T65" fmla="*/ 3399 h 6402"/>
                <a:gd name="T66" fmla="*/ 3044 w 6620"/>
                <a:gd name="T67" fmla="*/ 3850 h 6402"/>
                <a:gd name="T68" fmla="*/ 1462 w 6620"/>
                <a:gd name="T69" fmla="*/ 5433 h 6402"/>
                <a:gd name="T70" fmla="*/ 4308 w 6620"/>
                <a:gd name="T71" fmla="*/ 4055 h 6402"/>
                <a:gd name="T72" fmla="*/ 2388 w 6620"/>
                <a:gd name="T73" fmla="*/ 2135 h 6402"/>
                <a:gd name="T74" fmla="*/ 4308 w 6620"/>
                <a:gd name="T75" fmla="*/ 215 h 6402"/>
                <a:gd name="T76" fmla="*/ 6228 w 6620"/>
                <a:gd name="T77" fmla="*/ 2135 h 6402"/>
                <a:gd name="T78" fmla="*/ 4308 w 6620"/>
                <a:gd name="T79" fmla="*/ 4055 h 6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620" h="6402">
                  <a:moveTo>
                    <a:pt x="4308" y="2"/>
                  </a:moveTo>
                  <a:cubicBezTo>
                    <a:pt x="3542" y="0"/>
                    <a:pt x="2834" y="410"/>
                    <a:pt x="2454" y="1076"/>
                  </a:cubicBezTo>
                  <a:cubicBezTo>
                    <a:pt x="2075" y="1741"/>
                    <a:pt x="2082" y="2559"/>
                    <a:pt x="2472" y="3217"/>
                  </a:cubicBezTo>
                  <a:lnTo>
                    <a:pt x="197" y="5493"/>
                  </a:lnTo>
                  <a:cubicBezTo>
                    <a:pt x="45" y="5645"/>
                    <a:pt x="0" y="5874"/>
                    <a:pt x="82" y="6073"/>
                  </a:cubicBezTo>
                  <a:cubicBezTo>
                    <a:pt x="165" y="6272"/>
                    <a:pt x="359" y="6402"/>
                    <a:pt x="574" y="6402"/>
                  </a:cubicBezTo>
                  <a:cubicBezTo>
                    <a:pt x="716" y="6402"/>
                    <a:pt x="851" y="6346"/>
                    <a:pt x="951" y="6246"/>
                  </a:cubicBezTo>
                  <a:lnTo>
                    <a:pt x="1216" y="5981"/>
                  </a:lnTo>
                  <a:cubicBezTo>
                    <a:pt x="1216" y="5981"/>
                    <a:pt x="1218" y="5980"/>
                    <a:pt x="1219" y="5979"/>
                  </a:cubicBezTo>
                  <a:cubicBezTo>
                    <a:pt x="1220" y="5978"/>
                    <a:pt x="1220" y="5977"/>
                    <a:pt x="1221" y="5976"/>
                  </a:cubicBezTo>
                  <a:lnTo>
                    <a:pt x="1536" y="5661"/>
                  </a:lnTo>
                  <a:cubicBezTo>
                    <a:pt x="1536" y="5661"/>
                    <a:pt x="1538" y="5660"/>
                    <a:pt x="1539" y="5659"/>
                  </a:cubicBezTo>
                  <a:cubicBezTo>
                    <a:pt x="1540" y="5658"/>
                    <a:pt x="1540" y="5657"/>
                    <a:pt x="1541" y="5656"/>
                  </a:cubicBezTo>
                  <a:lnTo>
                    <a:pt x="3226" y="3971"/>
                  </a:lnTo>
                  <a:cubicBezTo>
                    <a:pt x="4001" y="4427"/>
                    <a:pt x="4978" y="4349"/>
                    <a:pt x="5670" y="3776"/>
                  </a:cubicBezTo>
                  <a:cubicBezTo>
                    <a:pt x="6362" y="3202"/>
                    <a:pt x="6620" y="2256"/>
                    <a:pt x="6315" y="1410"/>
                  </a:cubicBezTo>
                  <a:cubicBezTo>
                    <a:pt x="6009" y="565"/>
                    <a:pt x="5207" y="1"/>
                    <a:pt x="4308" y="2"/>
                  </a:cubicBezTo>
                  <a:close/>
                  <a:moveTo>
                    <a:pt x="1462" y="5433"/>
                  </a:moveTo>
                  <a:lnTo>
                    <a:pt x="1290" y="5260"/>
                  </a:lnTo>
                  <a:cubicBezTo>
                    <a:pt x="1248" y="5219"/>
                    <a:pt x="1181" y="5220"/>
                    <a:pt x="1140" y="5261"/>
                  </a:cubicBezTo>
                  <a:cubicBezTo>
                    <a:pt x="1099" y="5302"/>
                    <a:pt x="1098" y="5369"/>
                    <a:pt x="1139" y="5411"/>
                  </a:cubicBezTo>
                  <a:lnTo>
                    <a:pt x="1312" y="5583"/>
                  </a:lnTo>
                  <a:lnTo>
                    <a:pt x="1142" y="5753"/>
                  </a:lnTo>
                  <a:lnTo>
                    <a:pt x="970" y="5580"/>
                  </a:lnTo>
                  <a:cubicBezTo>
                    <a:pt x="943" y="5552"/>
                    <a:pt x="903" y="5541"/>
                    <a:pt x="866" y="5551"/>
                  </a:cubicBezTo>
                  <a:cubicBezTo>
                    <a:pt x="829" y="5561"/>
                    <a:pt x="800" y="5590"/>
                    <a:pt x="790" y="5627"/>
                  </a:cubicBezTo>
                  <a:cubicBezTo>
                    <a:pt x="780" y="5664"/>
                    <a:pt x="791" y="5704"/>
                    <a:pt x="819" y="5731"/>
                  </a:cubicBezTo>
                  <a:lnTo>
                    <a:pt x="992" y="5903"/>
                  </a:lnTo>
                  <a:lnTo>
                    <a:pt x="800" y="6095"/>
                  </a:lnTo>
                  <a:cubicBezTo>
                    <a:pt x="740" y="6155"/>
                    <a:pt x="659" y="6189"/>
                    <a:pt x="574" y="6189"/>
                  </a:cubicBezTo>
                  <a:cubicBezTo>
                    <a:pt x="445" y="6188"/>
                    <a:pt x="329" y="6110"/>
                    <a:pt x="280" y="5991"/>
                  </a:cubicBezTo>
                  <a:cubicBezTo>
                    <a:pt x="231" y="5872"/>
                    <a:pt x="258" y="5735"/>
                    <a:pt x="348" y="5643"/>
                  </a:cubicBezTo>
                  <a:lnTo>
                    <a:pt x="2593" y="3399"/>
                  </a:lnTo>
                  <a:cubicBezTo>
                    <a:pt x="2720" y="3571"/>
                    <a:pt x="2872" y="3723"/>
                    <a:pt x="3044" y="3850"/>
                  </a:cubicBezTo>
                  <a:lnTo>
                    <a:pt x="1462" y="5433"/>
                  </a:lnTo>
                  <a:close/>
                  <a:moveTo>
                    <a:pt x="4308" y="4055"/>
                  </a:moveTo>
                  <a:cubicBezTo>
                    <a:pt x="3247" y="4055"/>
                    <a:pt x="2388" y="3196"/>
                    <a:pt x="2388" y="2135"/>
                  </a:cubicBezTo>
                  <a:cubicBezTo>
                    <a:pt x="2388" y="1075"/>
                    <a:pt x="3247" y="215"/>
                    <a:pt x="4308" y="215"/>
                  </a:cubicBezTo>
                  <a:cubicBezTo>
                    <a:pt x="5368" y="215"/>
                    <a:pt x="6228" y="1075"/>
                    <a:pt x="6228" y="2135"/>
                  </a:cubicBezTo>
                  <a:cubicBezTo>
                    <a:pt x="6226" y="3195"/>
                    <a:pt x="5368" y="4054"/>
                    <a:pt x="4308" y="40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91"/>
            <p:cNvSpPr>
              <a:spLocks/>
            </p:cNvSpPr>
            <p:nvPr/>
          </p:nvSpPr>
          <p:spPr bwMode="auto">
            <a:xfrm>
              <a:off x="5377" y="-758"/>
              <a:ext cx="142" cy="141"/>
            </a:xfrm>
            <a:custGeom>
              <a:avLst/>
              <a:gdLst>
                <a:gd name="T0" fmla="*/ 772 w 2679"/>
                <a:gd name="T1" fmla="*/ 772 h 2666"/>
                <a:gd name="T2" fmla="*/ 2500 w 2679"/>
                <a:gd name="T3" fmla="*/ 584 h 2666"/>
                <a:gd name="T4" fmla="*/ 2648 w 2679"/>
                <a:gd name="T5" fmla="*/ 552 h 2666"/>
                <a:gd name="T6" fmla="*/ 2615 w 2679"/>
                <a:gd name="T7" fmla="*/ 404 h 2666"/>
                <a:gd name="T8" fmla="*/ 621 w 2679"/>
                <a:gd name="T9" fmla="*/ 622 h 2666"/>
                <a:gd name="T10" fmla="*/ 405 w 2679"/>
                <a:gd name="T11" fmla="*/ 2615 h 2666"/>
                <a:gd name="T12" fmla="*/ 499 w 2679"/>
                <a:gd name="T13" fmla="*/ 2664 h 2666"/>
                <a:gd name="T14" fmla="*/ 589 w 2679"/>
                <a:gd name="T15" fmla="*/ 2607 h 2666"/>
                <a:gd name="T16" fmla="*/ 584 w 2679"/>
                <a:gd name="T17" fmla="*/ 2500 h 2666"/>
                <a:gd name="T18" fmla="*/ 772 w 2679"/>
                <a:gd name="T19" fmla="*/ 772 h 2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79" h="2666">
                  <a:moveTo>
                    <a:pt x="772" y="772"/>
                  </a:moveTo>
                  <a:cubicBezTo>
                    <a:pt x="1234" y="314"/>
                    <a:pt x="1951" y="237"/>
                    <a:pt x="2500" y="584"/>
                  </a:cubicBezTo>
                  <a:cubicBezTo>
                    <a:pt x="2550" y="616"/>
                    <a:pt x="2616" y="601"/>
                    <a:pt x="2648" y="552"/>
                  </a:cubicBezTo>
                  <a:cubicBezTo>
                    <a:pt x="2679" y="502"/>
                    <a:pt x="2665" y="436"/>
                    <a:pt x="2615" y="404"/>
                  </a:cubicBezTo>
                  <a:cubicBezTo>
                    <a:pt x="1982" y="0"/>
                    <a:pt x="1153" y="90"/>
                    <a:pt x="621" y="622"/>
                  </a:cubicBezTo>
                  <a:cubicBezTo>
                    <a:pt x="90" y="1153"/>
                    <a:pt x="0" y="1982"/>
                    <a:pt x="405" y="2615"/>
                  </a:cubicBezTo>
                  <a:cubicBezTo>
                    <a:pt x="425" y="2647"/>
                    <a:pt x="461" y="2666"/>
                    <a:pt x="499" y="2664"/>
                  </a:cubicBezTo>
                  <a:cubicBezTo>
                    <a:pt x="538" y="2663"/>
                    <a:pt x="572" y="2641"/>
                    <a:pt x="589" y="2607"/>
                  </a:cubicBezTo>
                  <a:cubicBezTo>
                    <a:pt x="607" y="2573"/>
                    <a:pt x="605" y="2532"/>
                    <a:pt x="584" y="2500"/>
                  </a:cubicBezTo>
                  <a:cubicBezTo>
                    <a:pt x="237" y="1951"/>
                    <a:pt x="314" y="1234"/>
                    <a:pt x="772" y="7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92"/>
            <p:cNvSpPr>
              <a:spLocks/>
            </p:cNvSpPr>
            <p:nvPr/>
          </p:nvSpPr>
          <p:spPr bwMode="auto">
            <a:xfrm>
              <a:off x="5421" y="-714"/>
              <a:ext cx="141" cy="141"/>
            </a:xfrm>
            <a:custGeom>
              <a:avLst/>
              <a:gdLst>
                <a:gd name="T0" fmla="*/ 2128 w 2677"/>
                <a:gd name="T1" fmla="*/ 21 h 2666"/>
                <a:gd name="T2" fmla="*/ 2096 w 2677"/>
                <a:gd name="T3" fmla="*/ 168 h 2666"/>
                <a:gd name="T4" fmla="*/ 1909 w 2677"/>
                <a:gd name="T5" fmla="*/ 1897 h 2666"/>
                <a:gd name="T6" fmla="*/ 180 w 2677"/>
                <a:gd name="T7" fmla="*/ 2085 h 2666"/>
                <a:gd name="T8" fmla="*/ 32 w 2677"/>
                <a:gd name="T9" fmla="*/ 2117 h 2666"/>
                <a:gd name="T10" fmla="*/ 65 w 2677"/>
                <a:gd name="T11" fmla="*/ 2264 h 2666"/>
                <a:gd name="T12" fmla="*/ 2059 w 2677"/>
                <a:gd name="T13" fmla="*/ 2048 h 2666"/>
                <a:gd name="T14" fmla="*/ 2276 w 2677"/>
                <a:gd name="T15" fmla="*/ 53 h 2666"/>
                <a:gd name="T16" fmla="*/ 2209 w 2677"/>
                <a:gd name="T17" fmla="*/ 6 h 2666"/>
                <a:gd name="T18" fmla="*/ 2128 w 2677"/>
                <a:gd name="T19" fmla="*/ 21 h 2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77" h="2666">
                  <a:moveTo>
                    <a:pt x="2128" y="21"/>
                  </a:moveTo>
                  <a:cubicBezTo>
                    <a:pt x="2079" y="53"/>
                    <a:pt x="2064" y="119"/>
                    <a:pt x="2096" y="168"/>
                  </a:cubicBezTo>
                  <a:cubicBezTo>
                    <a:pt x="2448" y="717"/>
                    <a:pt x="2370" y="1437"/>
                    <a:pt x="1909" y="1897"/>
                  </a:cubicBezTo>
                  <a:cubicBezTo>
                    <a:pt x="1448" y="2358"/>
                    <a:pt x="728" y="2436"/>
                    <a:pt x="180" y="2085"/>
                  </a:cubicBezTo>
                  <a:cubicBezTo>
                    <a:pt x="130" y="2053"/>
                    <a:pt x="64" y="2067"/>
                    <a:pt x="32" y="2117"/>
                  </a:cubicBezTo>
                  <a:cubicBezTo>
                    <a:pt x="0" y="2167"/>
                    <a:pt x="15" y="2233"/>
                    <a:pt x="65" y="2264"/>
                  </a:cubicBezTo>
                  <a:cubicBezTo>
                    <a:pt x="699" y="2666"/>
                    <a:pt x="1526" y="2576"/>
                    <a:pt x="2059" y="2048"/>
                  </a:cubicBezTo>
                  <a:cubicBezTo>
                    <a:pt x="2587" y="1514"/>
                    <a:pt x="2677" y="687"/>
                    <a:pt x="2276" y="53"/>
                  </a:cubicBezTo>
                  <a:cubicBezTo>
                    <a:pt x="2261" y="29"/>
                    <a:pt x="2236" y="12"/>
                    <a:pt x="2209" y="6"/>
                  </a:cubicBezTo>
                  <a:cubicBezTo>
                    <a:pt x="2181" y="0"/>
                    <a:pt x="2152" y="5"/>
                    <a:pt x="2128" y="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93"/>
            <p:cNvSpPr>
              <a:spLocks/>
            </p:cNvSpPr>
            <p:nvPr/>
          </p:nvSpPr>
          <p:spPr bwMode="auto">
            <a:xfrm>
              <a:off x="5413" y="-722"/>
              <a:ext cx="57" cy="57"/>
            </a:xfrm>
            <a:custGeom>
              <a:avLst/>
              <a:gdLst>
                <a:gd name="T0" fmla="*/ 190 w 1084"/>
                <a:gd name="T1" fmla="*/ 1045 h 1084"/>
                <a:gd name="T2" fmla="*/ 1043 w 1084"/>
                <a:gd name="T3" fmla="*/ 192 h 1084"/>
                <a:gd name="T4" fmla="*/ 1042 w 1084"/>
                <a:gd name="T5" fmla="*/ 42 h 1084"/>
                <a:gd name="T6" fmla="*/ 893 w 1084"/>
                <a:gd name="T7" fmla="*/ 41 h 1084"/>
                <a:gd name="T8" fmla="*/ 39 w 1084"/>
                <a:gd name="T9" fmla="*/ 894 h 1084"/>
                <a:gd name="T10" fmla="*/ 10 w 1084"/>
                <a:gd name="T11" fmla="*/ 998 h 1084"/>
                <a:gd name="T12" fmla="*/ 86 w 1084"/>
                <a:gd name="T13" fmla="*/ 1074 h 1084"/>
                <a:gd name="T14" fmla="*/ 190 w 1084"/>
                <a:gd name="T15" fmla="*/ 1045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84" h="1084">
                  <a:moveTo>
                    <a:pt x="190" y="1045"/>
                  </a:moveTo>
                  <a:lnTo>
                    <a:pt x="1043" y="192"/>
                  </a:lnTo>
                  <a:cubicBezTo>
                    <a:pt x="1084" y="150"/>
                    <a:pt x="1083" y="83"/>
                    <a:pt x="1042" y="42"/>
                  </a:cubicBezTo>
                  <a:cubicBezTo>
                    <a:pt x="1001" y="1"/>
                    <a:pt x="934" y="0"/>
                    <a:pt x="893" y="41"/>
                  </a:cubicBezTo>
                  <a:lnTo>
                    <a:pt x="39" y="894"/>
                  </a:lnTo>
                  <a:cubicBezTo>
                    <a:pt x="12" y="921"/>
                    <a:pt x="0" y="961"/>
                    <a:pt x="10" y="998"/>
                  </a:cubicBezTo>
                  <a:cubicBezTo>
                    <a:pt x="20" y="1035"/>
                    <a:pt x="49" y="1064"/>
                    <a:pt x="86" y="1074"/>
                  </a:cubicBezTo>
                  <a:cubicBezTo>
                    <a:pt x="124" y="1084"/>
                    <a:pt x="163" y="1073"/>
                    <a:pt x="190" y="10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94"/>
            <p:cNvSpPr>
              <a:spLocks/>
            </p:cNvSpPr>
            <p:nvPr/>
          </p:nvSpPr>
          <p:spPr bwMode="auto">
            <a:xfrm>
              <a:off x="5447" y="-688"/>
              <a:ext cx="57" cy="57"/>
            </a:xfrm>
            <a:custGeom>
              <a:avLst/>
              <a:gdLst>
                <a:gd name="T0" fmla="*/ 893 w 1084"/>
                <a:gd name="T1" fmla="*/ 41 h 1084"/>
                <a:gd name="T2" fmla="*/ 39 w 1084"/>
                <a:gd name="T3" fmla="*/ 894 h 1084"/>
                <a:gd name="T4" fmla="*/ 10 w 1084"/>
                <a:gd name="T5" fmla="*/ 998 h 1084"/>
                <a:gd name="T6" fmla="*/ 86 w 1084"/>
                <a:gd name="T7" fmla="*/ 1074 h 1084"/>
                <a:gd name="T8" fmla="*/ 190 w 1084"/>
                <a:gd name="T9" fmla="*/ 1045 h 1084"/>
                <a:gd name="T10" fmla="*/ 1043 w 1084"/>
                <a:gd name="T11" fmla="*/ 192 h 1084"/>
                <a:gd name="T12" fmla="*/ 1042 w 1084"/>
                <a:gd name="T13" fmla="*/ 42 h 1084"/>
                <a:gd name="T14" fmla="*/ 893 w 1084"/>
                <a:gd name="T15" fmla="*/ 41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84" h="1084">
                  <a:moveTo>
                    <a:pt x="893" y="41"/>
                  </a:moveTo>
                  <a:lnTo>
                    <a:pt x="39" y="894"/>
                  </a:lnTo>
                  <a:cubicBezTo>
                    <a:pt x="12" y="921"/>
                    <a:pt x="0" y="961"/>
                    <a:pt x="10" y="998"/>
                  </a:cubicBezTo>
                  <a:cubicBezTo>
                    <a:pt x="20" y="1035"/>
                    <a:pt x="49" y="1064"/>
                    <a:pt x="86" y="1074"/>
                  </a:cubicBezTo>
                  <a:cubicBezTo>
                    <a:pt x="124" y="1084"/>
                    <a:pt x="163" y="1073"/>
                    <a:pt x="190" y="1045"/>
                  </a:cubicBezTo>
                  <a:lnTo>
                    <a:pt x="1043" y="192"/>
                  </a:lnTo>
                  <a:cubicBezTo>
                    <a:pt x="1084" y="150"/>
                    <a:pt x="1083" y="83"/>
                    <a:pt x="1042" y="42"/>
                  </a:cubicBezTo>
                  <a:cubicBezTo>
                    <a:pt x="1001" y="1"/>
                    <a:pt x="934" y="0"/>
                    <a:pt x="893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95"/>
            <p:cNvSpPr>
              <a:spLocks/>
            </p:cNvSpPr>
            <p:nvPr/>
          </p:nvSpPr>
          <p:spPr bwMode="auto">
            <a:xfrm>
              <a:off x="5419" y="-716"/>
              <a:ext cx="79" cy="80"/>
            </a:xfrm>
            <a:custGeom>
              <a:avLst/>
              <a:gdLst>
                <a:gd name="T0" fmla="*/ 190 w 1510"/>
                <a:gd name="T1" fmla="*/ 1471 h 1510"/>
                <a:gd name="T2" fmla="*/ 1470 w 1510"/>
                <a:gd name="T3" fmla="*/ 191 h 1510"/>
                <a:gd name="T4" fmla="*/ 1468 w 1510"/>
                <a:gd name="T5" fmla="*/ 42 h 1510"/>
                <a:gd name="T6" fmla="*/ 1319 w 1510"/>
                <a:gd name="T7" fmla="*/ 41 h 1510"/>
                <a:gd name="T8" fmla="*/ 39 w 1510"/>
                <a:gd name="T9" fmla="*/ 1321 h 1510"/>
                <a:gd name="T10" fmla="*/ 10 w 1510"/>
                <a:gd name="T11" fmla="*/ 1424 h 1510"/>
                <a:gd name="T12" fmla="*/ 86 w 1510"/>
                <a:gd name="T13" fmla="*/ 1501 h 1510"/>
                <a:gd name="T14" fmla="*/ 190 w 1510"/>
                <a:gd name="T15" fmla="*/ 1471 h 1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10" h="1510">
                  <a:moveTo>
                    <a:pt x="190" y="1471"/>
                  </a:moveTo>
                  <a:lnTo>
                    <a:pt x="1470" y="191"/>
                  </a:lnTo>
                  <a:cubicBezTo>
                    <a:pt x="1510" y="150"/>
                    <a:pt x="1510" y="83"/>
                    <a:pt x="1468" y="42"/>
                  </a:cubicBezTo>
                  <a:cubicBezTo>
                    <a:pt x="1427" y="1"/>
                    <a:pt x="1361" y="0"/>
                    <a:pt x="1319" y="41"/>
                  </a:cubicBezTo>
                  <a:lnTo>
                    <a:pt x="39" y="1321"/>
                  </a:lnTo>
                  <a:cubicBezTo>
                    <a:pt x="11" y="1347"/>
                    <a:pt x="0" y="1387"/>
                    <a:pt x="10" y="1424"/>
                  </a:cubicBezTo>
                  <a:cubicBezTo>
                    <a:pt x="20" y="1462"/>
                    <a:pt x="49" y="1491"/>
                    <a:pt x="86" y="1501"/>
                  </a:cubicBezTo>
                  <a:cubicBezTo>
                    <a:pt x="123" y="1510"/>
                    <a:pt x="163" y="1499"/>
                    <a:pt x="190" y="147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6" name="Group 137"/>
          <p:cNvGrpSpPr>
            <a:grpSpLocks noChangeAspect="1"/>
          </p:cNvGrpSpPr>
          <p:nvPr/>
        </p:nvGrpSpPr>
        <p:grpSpPr bwMode="auto">
          <a:xfrm>
            <a:off x="8897725" y="4831492"/>
            <a:ext cx="544766" cy="540000"/>
            <a:chOff x="5505" y="-663"/>
            <a:chExt cx="343" cy="340"/>
          </a:xfrm>
          <a:gradFill>
            <a:gsLst>
              <a:gs pos="0">
                <a:srgbClr val="FEC232"/>
              </a:gs>
              <a:gs pos="100000">
                <a:srgbClr val="DF6F51"/>
              </a:gs>
            </a:gsLst>
            <a:lin ang="2700000" scaled="1"/>
          </a:gradFill>
        </p:grpSpPr>
        <p:sp>
          <p:nvSpPr>
            <p:cNvPr id="197" name="Freeform 138"/>
            <p:cNvSpPr>
              <a:spLocks/>
            </p:cNvSpPr>
            <p:nvPr/>
          </p:nvSpPr>
          <p:spPr bwMode="auto">
            <a:xfrm>
              <a:off x="5573" y="-550"/>
              <a:ext cx="15" cy="15"/>
            </a:xfrm>
            <a:custGeom>
              <a:avLst/>
              <a:gdLst>
                <a:gd name="T0" fmla="*/ 225 w 274"/>
                <a:gd name="T1" fmla="*/ 48 h 274"/>
                <a:gd name="T2" fmla="*/ 48 w 274"/>
                <a:gd name="T3" fmla="*/ 48 h 274"/>
                <a:gd name="T4" fmla="*/ 48 w 274"/>
                <a:gd name="T5" fmla="*/ 225 h 274"/>
                <a:gd name="T6" fmla="*/ 225 w 274"/>
                <a:gd name="T7" fmla="*/ 225 h 274"/>
                <a:gd name="T8" fmla="*/ 225 w 274"/>
                <a:gd name="T9" fmla="*/ 48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4" h="274">
                  <a:moveTo>
                    <a:pt x="225" y="48"/>
                  </a:moveTo>
                  <a:cubicBezTo>
                    <a:pt x="176" y="0"/>
                    <a:pt x="97" y="0"/>
                    <a:pt x="48" y="48"/>
                  </a:cubicBezTo>
                  <a:cubicBezTo>
                    <a:pt x="0" y="97"/>
                    <a:pt x="0" y="176"/>
                    <a:pt x="48" y="225"/>
                  </a:cubicBezTo>
                  <a:cubicBezTo>
                    <a:pt x="97" y="274"/>
                    <a:pt x="176" y="274"/>
                    <a:pt x="225" y="225"/>
                  </a:cubicBezTo>
                  <a:cubicBezTo>
                    <a:pt x="274" y="176"/>
                    <a:pt x="274" y="97"/>
                    <a:pt x="225" y="4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139"/>
            <p:cNvSpPr>
              <a:spLocks noEditPoints="1"/>
            </p:cNvSpPr>
            <p:nvPr/>
          </p:nvSpPr>
          <p:spPr bwMode="auto">
            <a:xfrm>
              <a:off x="5507" y="-403"/>
              <a:ext cx="185" cy="80"/>
            </a:xfrm>
            <a:custGeom>
              <a:avLst/>
              <a:gdLst>
                <a:gd name="T0" fmla="*/ 3165 w 3500"/>
                <a:gd name="T1" fmla="*/ 696 h 1500"/>
                <a:gd name="T2" fmla="*/ 3250 w 3500"/>
                <a:gd name="T3" fmla="*/ 437 h 1500"/>
                <a:gd name="T4" fmla="*/ 2812 w 3500"/>
                <a:gd name="T5" fmla="*/ 0 h 1500"/>
                <a:gd name="T6" fmla="*/ 687 w 3500"/>
                <a:gd name="T7" fmla="*/ 0 h 1500"/>
                <a:gd name="T8" fmla="*/ 378 w 3500"/>
                <a:gd name="T9" fmla="*/ 128 h 1500"/>
                <a:gd name="T10" fmla="*/ 250 w 3500"/>
                <a:gd name="T11" fmla="*/ 437 h 1500"/>
                <a:gd name="T12" fmla="*/ 335 w 3500"/>
                <a:gd name="T13" fmla="*/ 696 h 1500"/>
                <a:gd name="T14" fmla="*/ 0 w 3500"/>
                <a:gd name="T15" fmla="*/ 1250 h 1500"/>
                <a:gd name="T16" fmla="*/ 0 w 3500"/>
                <a:gd name="T17" fmla="*/ 1375 h 1500"/>
                <a:gd name="T18" fmla="*/ 125 w 3500"/>
                <a:gd name="T19" fmla="*/ 1500 h 1500"/>
                <a:gd name="T20" fmla="*/ 3375 w 3500"/>
                <a:gd name="T21" fmla="*/ 1500 h 1500"/>
                <a:gd name="T22" fmla="*/ 3500 w 3500"/>
                <a:gd name="T23" fmla="*/ 1375 h 1500"/>
                <a:gd name="T24" fmla="*/ 3500 w 3500"/>
                <a:gd name="T25" fmla="*/ 1250 h 1500"/>
                <a:gd name="T26" fmla="*/ 3165 w 3500"/>
                <a:gd name="T27" fmla="*/ 696 h 1500"/>
                <a:gd name="T28" fmla="*/ 555 w 3500"/>
                <a:gd name="T29" fmla="*/ 305 h 1500"/>
                <a:gd name="T30" fmla="*/ 687 w 3500"/>
                <a:gd name="T31" fmla="*/ 250 h 1500"/>
                <a:gd name="T32" fmla="*/ 2812 w 3500"/>
                <a:gd name="T33" fmla="*/ 250 h 1500"/>
                <a:gd name="T34" fmla="*/ 3000 w 3500"/>
                <a:gd name="T35" fmla="*/ 437 h 1500"/>
                <a:gd name="T36" fmla="*/ 2945 w 3500"/>
                <a:gd name="T37" fmla="*/ 570 h 1500"/>
                <a:gd name="T38" fmla="*/ 2812 w 3500"/>
                <a:gd name="T39" fmla="*/ 625 h 1500"/>
                <a:gd name="T40" fmla="*/ 687 w 3500"/>
                <a:gd name="T41" fmla="*/ 625 h 1500"/>
                <a:gd name="T42" fmla="*/ 500 w 3500"/>
                <a:gd name="T43" fmla="*/ 437 h 1500"/>
                <a:gd name="T44" fmla="*/ 555 w 3500"/>
                <a:gd name="T45" fmla="*/ 305 h 1500"/>
                <a:gd name="T46" fmla="*/ 250 w 3500"/>
                <a:gd name="T47" fmla="*/ 1250 h 1500"/>
                <a:gd name="T48" fmla="*/ 625 w 3500"/>
                <a:gd name="T49" fmla="*/ 875 h 1500"/>
                <a:gd name="T50" fmla="*/ 687 w 3500"/>
                <a:gd name="T51" fmla="*/ 875 h 1500"/>
                <a:gd name="T52" fmla="*/ 2812 w 3500"/>
                <a:gd name="T53" fmla="*/ 875 h 1500"/>
                <a:gd name="T54" fmla="*/ 2875 w 3500"/>
                <a:gd name="T55" fmla="*/ 875 h 1500"/>
                <a:gd name="T56" fmla="*/ 3250 w 3500"/>
                <a:gd name="T57" fmla="*/ 1250 h 1500"/>
                <a:gd name="T58" fmla="*/ 250 w 3500"/>
                <a:gd name="T59" fmla="*/ 1250 h 1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00" h="1500">
                  <a:moveTo>
                    <a:pt x="3165" y="696"/>
                  </a:moveTo>
                  <a:cubicBezTo>
                    <a:pt x="3220" y="622"/>
                    <a:pt x="3250" y="532"/>
                    <a:pt x="3250" y="437"/>
                  </a:cubicBezTo>
                  <a:cubicBezTo>
                    <a:pt x="3250" y="196"/>
                    <a:pt x="3054" y="0"/>
                    <a:pt x="2812" y="0"/>
                  </a:cubicBezTo>
                  <a:lnTo>
                    <a:pt x="687" y="0"/>
                  </a:lnTo>
                  <a:cubicBezTo>
                    <a:pt x="571" y="0"/>
                    <a:pt x="461" y="45"/>
                    <a:pt x="378" y="128"/>
                  </a:cubicBezTo>
                  <a:cubicBezTo>
                    <a:pt x="295" y="211"/>
                    <a:pt x="250" y="320"/>
                    <a:pt x="250" y="437"/>
                  </a:cubicBezTo>
                  <a:cubicBezTo>
                    <a:pt x="250" y="534"/>
                    <a:pt x="282" y="624"/>
                    <a:pt x="335" y="696"/>
                  </a:cubicBezTo>
                  <a:cubicBezTo>
                    <a:pt x="136" y="801"/>
                    <a:pt x="0" y="1010"/>
                    <a:pt x="0" y="1250"/>
                  </a:cubicBezTo>
                  <a:lnTo>
                    <a:pt x="0" y="1375"/>
                  </a:lnTo>
                  <a:cubicBezTo>
                    <a:pt x="0" y="1444"/>
                    <a:pt x="56" y="1500"/>
                    <a:pt x="125" y="1500"/>
                  </a:cubicBezTo>
                  <a:lnTo>
                    <a:pt x="3375" y="1500"/>
                  </a:lnTo>
                  <a:cubicBezTo>
                    <a:pt x="3444" y="1500"/>
                    <a:pt x="3500" y="1444"/>
                    <a:pt x="3500" y="1375"/>
                  </a:cubicBezTo>
                  <a:lnTo>
                    <a:pt x="3500" y="1250"/>
                  </a:lnTo>
                  <a:cubicBezTo>
                    <a:pt x="3500" y="1010"/>
                    <a:pt x="3364" y="801"/>
                    <a:pt x="3165" y="696"/>
                  </a:cubicBezTo>
                  <a:close/>
                  <a:moveTo>
                    <a:pt x="555" y="305"/>
                  </a:moveTo>
                  <a:cubicBezTo>
                    <a:pt x="590" y="269"/>
                    <a:pt x="637" y="250"/>
                    <a:pt x="687" y="250"/>
                  </a:cubicBezTo>
                  <a:lnTo>
                    <a:pt x="2812" y="250"/>
                  </a:lnTo>
                  <a:cubicBezTo>
                    <a:pt x="2916" y="250"/>
                    <a:pt x="3000" y="334"/>
                    <a:pt x="3000" y="437"/>
                  </a:cubicBezTo>
                  <a:cubicBezTo>
                    <a:pt x="3000" y="487"/>
                    <a:pt x="2980" y="535"/>
                    <a:pt x="2945" y="570"/>
                  </a:cubicBezTo>
                  <a:cubicBezTo>
                    <a:pt x="2910" y="605"/>
                    <a:pt x="2863" y="625"/>
                    <a:pt x="2812" y="625"/>
                  </a:cubicBezTo>
                  <a:lnTo>
                    <a:pt x="687" y="625"/>
                  </a:lnTo>
                  <a:cubicBezTo>
                    <a:pt x="584" y="625"/>
                    <a:pt x="500" y="541"/>
                    <a:pt x="500" y="437"/>
                  </a:cubicBezTo>
                  <a:cubicBezTo>
                    <a:pt x="500" y="387"/>
                    <a:pt x="519" y="340"/>
                    <a:pt x="555" y="305"/>
                  </a:cubicBezTo>
                  <a:close/>
                  <a:moveTo>
                    <a:pt x="250" y="1250"/>
                  </a:moveTo>
                  <a:cubicBezTo>
                    <a:pt x="250" y="1043"/>
                    <a:pt x="418" y="875"/>
                    <a:pt x="625" y="875"/>
                  </a:cubicBezTo>
                  <a:lnTo>
                    <a:pt x="687" y="875"/>
                  </a:lnTo>
                  <a:lnTo>
                    <a:pt x="2812" y="875"/>
                  </a:lnTo>
                  <a:lnTo>
                    <a:pt x="2875" y="875"/>
                  </a:lnTo>
                  <a:cubicBezTo>
                    <a:pt x="3082" y="875"/>
                    <a:pt x="3250" y="1043"/>
                    <a:pt x="3250" y="1250"/>
                  </a:cubicBezTo>
                  <a:lnTo>
                    <a:pt x="250" y="125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140"/>
            <p:cNvSpPr>
              <a:spLocks noEditPoints="1"/>
            </p:cNvSpPr>
            <p:nvPr/>
          </p:nvSpPr>
          <p:spPr bwMode="auto">
            <a:xfrm>
              <a:off x="5505" y="-663"/>
              <a:ext cx="343" cy="340"/>
            </a:xfrm>
            <a:custGeom>
              <a:avLst/>
              <a:gdLst>
                <a:gd name="T0" fmla="*/ 6181 w 6487"/>
                <a:gd name="T1" fmla="*/ 5079 h 6400"/>
                <a:gd name="T2" fmla="*/ 5581 w 6487"/>
                <a:gd name="T3" fmla="*/ 4550 h 6400"/>
                <a:gd name="T4" fmla="*/ 5194 w 6487"/>
                <a:gd name="T5" fmla="*/ 4218 h 6400"/>
                <a:gd name="T6" fmla="*/ 3663 w 6487"/>
                <a:gd name="T7" fmla="*/ 2533 h 6400"/>
                <a:gd name="T8" fmla="*/ 3449 w 6487"/>
                <a:gd name="T9" fmla="*/ 2195 h 6400"/>
                <a:gd name="T10" fmla="*/ 3730 w 6487"/>
                <a:gd name="T11" fmla="*/ 2060 h 6400"/>
                <a:gd name="T12" fmla="*/ 4230 w 6487"/>
                <a:gd name="T13" fmla="*/ 1561 h 6400"/>
                <a:gd name="T14" fmla="*/ 3023 w 6487"/>
                <a:gd name="T15" fmla="*/ 147 h 6400"/>
                <a:gd name="T16" fmla="*/ 2316 w 6487"/>
                <a:gd name="T17" fmla="*/ 147 h 6400"/>
                <a:gd name="T18" fmla="*/ 677 w 6487"/>
                <a:gd name="T19" fmla="*/ 2138 h 6400"/>
                <a:gd name="T20" fmla="*/ 194 w 6487"/>
                <a:gd name="T21" fmla="*/ 2268 h 6400"/>
                <a:gd name="T22" fmla="*/ 1255 w 6487"/>
                <a:gd name="T23" fmla="*/ 4035 h 6400"/>
                <a:gd name="T24" fmla="*/ 1962 w 6487"/>
                <a:gd name="T25" fmla="*/ 4035 h 6400"/>
                <a:gd name="T26" fmla="*/ 2242 w 6487"/>
                <a:gd name="T27" fmla="*/ 3402 h 6400"/>
                <a:gd name="T28" fmla="*/ 2581 w 6487"/>
                <a:gd name="T29" fmla="*/ 3615 h 6400"/>
                <a:gd name="T30" fmla="*/ 4581 w 6487"/>
                <a:gd name="T31" fmla="*/ 5512 h 6400"/>
                <a:gd name="T32" fmla="*/ 4605 w 6487"/>
                <a:gd name="T33" fmla="*/ 5540 h 6400"/>
                <a:gd name="T34" fmla="*/ 5165 w 6487"/>
                <a:gd name="T35" fmla="*/ 6180 h 6400"/>
                <a:gd name="T36" fmla="*/ 5798 w 6487"/>
                <a:gd name="T37" fmla="*/ 6393 h 6400"/>
                <a:gd name="T38" fmla="*/ 6332 w 6487"/>
                <a:gd name="T39" fmla="*/ 5252 h 6400"/>
                <a:gd name="T40" fmla="*/ 2669 w 6487"/>
                <a:gd name="T41" fmla="*/ 250 h 6400"/>
                <a:gd name="T42" fmla="*/ 3907 w 6487"/>
                <a:gd name="T43" fmla="*/ 1384 h 6400"/>
                <a:gd name="T44" fmla="*/ 3907 w 6487"/>
                <a:gd name="T45" fmla="*/ 1737 h 6400"/>
                <a:gd name="T46" fmla="*/ 2493 w 6487"/>
                <a:gd name="T47" fmla="*/ 677 h 6400"/>
                <a:gd name="T48" fmla="*/ 2492 w 6487"/>
                <a:gd name="T49" fmla="*/ 323 h 6400"/>
                <a:gd name="T50" fmla="*/ 1432 w 6487"/>
                <a:gd name="T51" fmla="*/ 3859 h 6400"/>
                <a:gd name="T52" fmla="*/ 371 w 6487"/>
                <a:gd name="T53" fmla="*/ 2444 h 6400"/>
                <a:gd name="T54" fmla="*/ 725 w 6487"/>
                <a:gd name="T55" fmla="*/ 2444 h 6400"/>
                <a:gd name="T56" fmla="*/ 1785 w 6487"/>
                <a:gd name="T57" fmla="*/ 3859 h 6400"/>
                <a:gd name="T58" fmla="*/ 1962 w 6487"/>
                <a:gd name="T59" fmla="*/ 3328 h 6400"/>
                <a:gd name="T60" fmla="*/ 2316 w 6487"/>
                <a:gd name="T61" fmla="*/ 854 h 6400"/>
                <a:gd name="T62" fmla="*/ 3026 w 6487"/>
                <a:gd name="T63" fmla="*/ 2264 h 6400"/>
                <a:gd name="T64" fmla="*/ 2316 w 6487"/>
                <a:gd name="T65" fmla="*/ 2974 h 6400"/>
                <a:gd name="T66" fmla="*/ 2758 w 6487"/>
                <a:gd name="T67" fmla="*/ 3240 h 6400"/>
                <a:gd name="T68" fmla="*/ 2669 w 6487"/>
                <a:gd name="T69" fmla="*/ 3328 h 6400"/>
                <a:gd name="T70" fmla="*/ 2492 w 6487"/>
                <a:gd name="T71" fmla="*/ 3328 h 6400"/>
                <a:gd name="T72" fmla="*/ 2491 w 6487"/>
                <a:gd name="T73" fmla="*/ 3153 h 6400"/>
                <a:gd name="T74" fmla="*/ 3376 w 6487"/>
                <a:gd name="T75" fmla="*/ 2444 h 6400"/>
                <a:gd name="T76" fmla="*/ 3376 w 6487"/>
                <a:gd name="T77" fmla="*/ 2621 h 6400"/>
                <a:gd name="T78" fmla="*/ 3287 w 6487"/>
                <a:gd name="T79" fmla="*/ 2711 h 6400"/>
                <a:gd name="T80" fmla="*/ 3017 w 6487"/>
                <a:gd name="T81" fmla="*/ 3334 h 6400"/>
                <a:gd name="T82" fmla="*/ 4929 w 6487"/>
                <a:gd name="T83" fmla="*/ 4318 h 6400"/>
                <a:gd name="T84" fmla="*/ 3017 w 6487"/>
                <a:gd name="T85" fmla="*/ 3334 h 6400"/>
                <a:gd name="T86" fmla="*/ 5118 w 6487"/>
                <a:gd name="T87" fmla="*/ 4483 h 6400"/>
                <a:gd name="T88" fmla="*/ 4694 w 6487"/>
                <a:gd name="T89" fmla="*/ 5261 h 6400"/>
                <a:gd name="T90" fmla="*/ 6138 w 6487"/>
                <a:gd name="T91" fmla="*/ 5884 h 6400"/>
                <a:gd name="T92" fmla="*/ 5341 w 6487"/>
                <a:gd name="T93" fmla="*/ 6003 h 6400"/>
                <a:gd name="T94" fmla="*/ 5313 w 6487"/>
                <a:gd name="T95" fmla="*/ 5972 h 6400"/>
                <a:gd name="T96" fmla="*/ 5495 w 6487"/>
                <a:gd name="T97" fmla="*/ 4812 h 6400"/>
                <a:gd name="T98" fmla="*/ 6019 w 6487"/>
                <a:gd name="T99" fmla="*/ 5269 h 6400"/>
                <a:gd name="T100" fmla="*/ 6138 w 6487"/>
                <a:gd name="T101" fmla="*/ 5884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87" h="6400">
                  <a:moveTo>
                    <a:pt x="6332" y="5252"/>
                  </a:moveTo>
                  <a:cubicBezTo>
                    <a:pt x="6289" y="5186"/>
                    <a:pt x="6239" y="5128"/>
                    <a:pt x="6181" y="5079"/>
                  </a:cubicBezTo>
                  <a:lnTo>
                    <a:pt x="5597" y="4569"/>
                  </a:lnTo>
                  <a:cubicBezTo>
                    <a:pt x="5592" y="4562"/>
                    <a:pt x="5587" y="4556"/>
                    <a:pt x="5581" y="4550"/>
                  </a:cubicBezTo>
                  <a:cubicBezTo>
                    <a:pt x="5571" y="4540"/>
                    <a:pt x="5560" y="4532"/>
                    <a:pt x="5547" y="4526"/>
                  </a:cubicBezTo>
                  <a:lnTo>
                    <a:pt x="5194" y="4218"/>
                  </a:lnTo>
                  <a:lnTo>
                    <a:pt x="3559" y="2792"/>
                  </a:lnTo>
                  <a:cubicBezTo>
                    <a:pt x="3626" y="2722"/>
                    <a:pt x="3663" y="2630"/>
                    <a:pt x="3663" y="2533"/>
                  </a:cubicBezTo>
                  <a:cubicBezTo>
                    <a:pt x="3663" y="2433"/>
                    <a:pt x="3624" y="2339"/>
                    <a:pt x="3553" y="2268"/>
                  </a:cubicBezTo>
                  <a:cubicBezTo>
                    <a:pt x="3522" y="2237"/>
                    <a:pt x="3487" y="2212"/>
                    <a:pt x="3449" y="2195"/>
                  </a:cubicBezTo>
                  <a:lnTo>
                    <a:pt x="3601" y="2043"/>
                  </a:lnTo>
                  <a:cubicBezTo>
                    <a:pt x="3643" y="2055"/>
                    <a:pt x="3686" y="2060"/>
                    <a:pt x="3730" y="2060"/>
                  </a:cubicBezTo>
                  <a:cubicBezTo>
                    <a:pt x="3858" y="2060"/>
                    <a:pt x="3986" y="2012"/>
                    <a:pt x="4083" y="1914"/>
                  </a:cubicBezTo>
                  <a:cubicBezTo>
                    <a:pt x="4178" y="1820"/>
                    <a:pt x="4230" y="1694"/>
                    <a:pt x="4230" y="1561"/>
                  </a:cubicBezTo>
                  <a:cubicBezTo>
                    <a:pt x="4230" y="1427"/>
                    <a:pt x="4178" y="1302"/>
                    <a:pt x="4083" y="1207"/>
                  </a:cubicBezTo>
                  <a:lnTo>
                    <a:pt x="3023" y="147"/>
                  </a:lnTo>
                  <a:cubicBezTo>
                    <a:pt x="2928" y="52"/>
                    <a:pt x="2803" y="0"/>
                    <a:pt x="2669" y="0"/>
                  </a:cubicBezTo>
                  <a:cubicBezTo>
                    <a:pt x="2536" y="0"/>
                    <a:pt x="2410" y="52"/>
                    <a:pt x="2316" y="147"/>
                  </a:cubicBezTo>
                  <a:cubicBezTo>
                    <a:pt x="2185" y="277"/>
                    <a:pt x="2142" y="462"/>
                    <a:pt x="2186" y="629"/>
                  </a:cubicBezTo>
                  <a:lnTo>
                    <a:pt x="677" y="2138"/>
                  </a:lnTo>
                  <a:cubicBezTo>
                    <a:pt x="636" y="2127"/>
                    <a:pt x="592" y="2121"/>
                    <a:pt x="548" y="2121"/>
                  </a:cubicBezTo>
                  <a:cubicBezTo>
                    <a:pt x="414" y="2121"/>
                    <a:pt x="289" y="2173"/>
                    <a:pt x="194" y="2268"/>
                  </a:cubicBezTo>
                  <a:cubicBezTo>
                    <a:pt x="0" y="2463"/>
                    <a:pt x="0" y="2780"/>
                    <a:pt x="194" y="2975"/>
                  </a:cubicBezTo>
                  <a:lnTo>
                    <a:pt x="1255" y="4035"/>
                  </a:lnTo>
                  <a:cubicBezTo>
                    <a:pt x="1353" y="4133"/>
                    <a:pt x="1481" y="4182"/>
                    <a:pt x="1609" y="4182"/>
                  </a:cubicBezTo>
                  <a:cubicBezTo>
                    <a:pt x="1737" y="4182"/>
                    <a:pt x="1865" y="4133"/>
                    <a:pt x="1962" y="4035"/>
                  </a:cubicBezTo>
                  <a:cubicBezTo>
                    <a:pt x="2093" y="3905"/>
                    <a:pt x="2136" y="3719"/>
                    <a:pt x="2091" y="3553"/>
                  </a:cubicBezTo>
                  <a:lnTo>
                    <a:pt x="2242" y="3402"/>
                  </a:lnTo>
                  <a:cubicBezTo>
                    <a:pt x="2260" y="3440"/>
                    <a:pt x="2285" y="3475"/>
                    <a:pt x="2316" y="3505"/>
                  </a:cubicBezTo>
                  <a:cubicBezTo>
                    <a:pt x="2386" y="3576"/>
                    <a:pt x="2481" y="3615"/>
                    <a:pt x="2581" y="3615"/>
                  </a:cubicBezTo>
                  <a:cubicBezTo>
                    <a:pt x="2678" y="3615"/>
                    <a:pt x="2769" y="3578"/>
                    <a:pt x="2840" y="3511"/>
                  </a:cubicBezTo>
                  <a:lnTo>
                    <a:pt x="4581" y="5512"/>
                  </a:lnTo>
                  <a:cubicBezTo>
                    <a:pt x="4586" y="5520"/>
                    <a:pt x="4591" y="5527"/>
                    <a:pt x="4598" y="5533"/>
                  </a:cubicBezTo>
                  <a:cubicBezTo>
                    <a:pt x="4600" y="5535"/>
                    <a:pt x="4602" y="5537"/>
                    <a:pt x="4605" y="5540"/>
                  </a:cubicBezTo>
                  <a:lnTo>
                    <a:pt x="5124" y="6136"/>
                  </a:lnTo>
                  <a:cubicBezTo>
                    <a:pt x="5137" y="6151"/>
                    <a:pt x="5150" y="6166"/>
                    <a:pt x="5165" y="6180"/>
                  </a:cubicBezTo>
                  <a:cubicBezTo>
                    <a:pt x="5307" y="6323"/>
                    <a:pt x="5495" y="6400"/>
                    <a:pt x="5693" y="6400"/>
                  </a:cubicBezTo>
                  <a:cubicBezTo>
                    <a:pt x="5728" y="6400"/>
                    <a:pt x="5763" y="6398"/>
                    <a:pt x="5798" y="6393"/>
                  </a:cubicBezTo>
                  <a:cubicBezTo>
                    <a:pt x="6034" y="6360"/>
                    <a:pt x="6237" y="6219"/>
                    <a:pt x="6356" y="6006"/>
                  </a:cubicBezTo>
                  <a:cubicBezTo>
                    <a:pt x="6487" y="5773"/>
                    <a:pt x="6477" y="5477"/>
                    <a:pt x="6332" y="5252"/>
                  </a:cubicBezTo>
                  <a:close/>
                  <a:moveTo>
                    <a:pt x="2492" y="323"/>
                  </a:moveTo>
                  <a:cubicBezTo>
                    <a:pt x="2540" y="276"/>
                    <a:pt x="2602" y="250"/>
                    <a:pt x="2669" y="250"/>
                  </a:cubicBezTo>
                  <a:cubicBezTo>
                    <a:pt x="2736" y="250"/>
                    <a:pt x="2799" y="276"/>
                    <a:pt x="2846" y="323"/>
                  </a:cubicBezTo>
                  <a:lnTo>
                    <a:pt x="3907" y="1384"/>
                  </a:lnTo>
                  <a:cubicBezTo>
                    <a:pt x="3954" y="1431"/>
                    <a:pt x="3980" y="1494"/>
                    <a:pt x="3980" y="1561"/>
                  </a:cubicBezTo>
                  <a:cubicBezTo>
                    <a:pt x="3980" y="1627"/>
                    <a:pt x="3954" y="1690"/>
                    <a:pt x="3907" y="1737"/>
                  </a:cubicBezTo>
                  <a:cubicBezTo>
                    <a:pt x="3809" y="1835"/>
                    <a:pt x="3651" y="1835"/>
                    <a:pt x="3553" y="1737"/>
                  </a:cubicBezTo>
                  <a:lnTo>
                    <a:pt x="2493" y="677"/>
                  </a:lnTo>
                  <a:lnTo>
                    <a:pt x="2492" y="677"/>
                  </a:lnTo>
                  <a:cubicBezTo>
                    <a:pt x="2395" y="579"/>
                    <a:pt x="2395" y="421"/>
                    <a:pt x="2492" y="323"/>
                  </a:cubicBezTo>
                  <a:close/>
                  <a:moveTo>
                    <a:pt x="1785" y="3859"/>
                  </a:moveTo>
                  <a:cubicBezTo>
                    <a:pt x="1688" y="3956"/>
                    <a:pt x="1529" y="3956"/>
                    <a:pt x="1432" y="3859"/>
                  </a:cubicBezTo>
                  <a:lnTo>
                    <a:pt x="371" y="2798"/>
                  </a:lnTo>
                  <a:cubicBezTo>
                    <a:pt x="274" y="2701"/>
                    <a:pt x="274" y="2542"/>
                    <a:pt x="371" y="2444"/>
                  </a:cubicBezTo>
                  <a:cubicBezTo>
                    <a:pt x="418" y="2397"/>
                    <a:pt x="481" y="2371"/>
                    <a:pt x="548" y="2371"/>
                  </a:cubicBezTo>
                  <a:cubicBezTo>
                    <a:pt x="615" y="2371"/>
                    <a:pt x="678" y="2397"/>
                    <a:pt x="725" y="2444"/>
                  </a:cubicBezTo>
                  <a:lnTo>
                    <a:pt x="1785" y="3505"/>
                  </a:lnTo>
                  <a:cubicBezTo>
                    <a:pt x="1883" y="3603"/>
                    <a:pt x="1883" y="3761"/>
                    <a:pt x="1785" y="3859"/>
                  </a:cubicBezTo>
                  <a:close/>
                  <a:moveTo>
                    <a:pt x="2312" y="2979"/>
                  </a:moveTo>
                  <a:lnTo>
                    <a:pt x="1962" y="3328"/>
                  </a:lnTo>
                  <a:lnTo>
                    <a:pt x="901" y="2268"/>
                  </a:lnTo>
                  <a:lnTo>
                    <a:pt x="2316" y="854"/>
                  </a:lnTo>
                  <a:lnTo>
                    <a:pt x="3376" y="1914"/>
                  </a:lnTo>
                  <a:lnTo>
                    <a:pt x="3026" y="2264"/>
                  </a:lnTo>
                  <a:cubicBezTo>
                    <a:pt x="3025" y="2265"/>
                    <a:pt x="3024" y="2266"/>
                    <a:pt x="3023" y="2268"/>
                  </a:cubicBezTo>
                  <a:lnTo>
                    <a:pt x="2316" y="2974"/>
                  </a:lnTo>
                  <a:cubicBezTo>
                    <a:pt x="2315" y="2976"/>
                    <a:pt x="2313" y="2977"/>
                    <a:pt x="2312" y="2979"/>
                  </a:cubicBezTo>
                  <a:close/>
                  <a:moveTo>
                    <a:pt x="2758" y="3240"/>
                  </a:moveTo>
                  <a:lnTo>
                    <a:pt x="2757" y="3240"/>
                  </a:lnTo>
                  <a:lnTo>
                    <a:pt x="2669" y="3328"/>
                  </a:lnTo>
                  <a:cubicBezTo>
                    <a:pt x="2646" y="3352"/>
                    <a:pt x="2614" y="3365"/>
                    <a:pt x="2581" y="3365"/>
                  </a:cubicBezTo>
                  <a:cubicBezTo>
                    <a:pt x="2547" y="3365"/>
                    <a:pt x="2516" y="3352"/>
                    <a:pt x="2492" y="3328"/>
                  </a:cubicBezTo>
                  <a:cubicBezTo>
                    <a:pt x="2469" y="3305"/>
                    <a:pt x="2456" y="3273"/>
                    <a:pt x="2456" y="3240"/>
                  </a:cubicBezTo>
                  <a:cubicBezTo>
                    <a:pt x="2456" y="3207"/>
                    <a:pt x="2468" y="3176"/>
                    <a:pt x="2491" y="3153"/>
                  </a:cubicBezTo>
                  <a:lnTo>
                    <a:pt x="3201" y="2443"/>
                  </a:lnTo>
                  <a:cubicBezTo>
                    <a:pt x="3250" y="2396"/>
                    <a:pt x="3328" y="2396"/>
                    <a:pt x="3376" y="2444"/>
                  </a:cubicBezTo>
                  <a:cubicBezTo>
                    <a:pt x="3400" y="2468"/>
                    <a:pt x="3413" y="2499"/>
                    <a:pt x="3413" y="2533"/>
                  </a:cubicBezTo>
                  <a:cubicBezTo>
                    <a:pt x="3413" y="2566"/>
                    <a:pt x="3400" y="2598"/>
                    <a:pt x="3376" y="2621"/>
                  </a:cubicBezTo>
                  <a:lnTo>
                    <a:pt x="3289" y="2709"/>
                  </a:lnTo>
                  <a:cubicBezTo>
                    <a:pt x="3288" y="2709"/>
                    <a:pt x="3288" y="2710"/>
                    <a:pt x="3287" y="2711"/>
                  </a:cubicBezTo>
                  <a:lnTo>
                    <a:pt x="2758" y="3240"/>
                  </a:lnTo>
                  <a:close/>
                  <a:moveTo>
                    <a:pt x="3017" y="3334"/>
                  </a:moveTo>
                  <a:lnTo>
                    <a:pt x="3382" y="2969"/>
                  </a:lnTo>
                  <a:lnTo>
                    <a:pt x="4929" y="4318"/>
                  </a:lnTo>
                  <a:lnTo>
                    <a:pt x="4365" y="4883"/>
                  </a:lnTo>
                  <a:lnTo>
                    <a:pt x="3017" y="3334"/>
                  </a:lnTo>
                  <a:close/>
                  <a:moveTo>
                    <a:pt x="4529" y="5072"/>
                  </a:moveTo>
                  <a:lnTo>
                    <a:pt x="5118" y="4483"/>
                  </a:lnTo>
                  <a:lnTo>
                    <a:pt x="5307" y="4648"/>
                  </a:lnTo>
                  <a:lnTo>
                    <a:pt x="4694" y="5261"/>
                  </a:lnTo>
                  <a:lnTo>
                    <a:pt x="4529" y="5072"/>
                  </a:lnTo>
                  <a:close/>
                  <a:moveTo>
                    <a:pt x="6138" y="5884"/>
                  </a:moveTo>
                  <a:cubicBezTo>
                    <a:pt x="6058" y="6028"/>
                    <a:pt x="5921" y="6123"/>
                    <a:pt x="5764" y="6145"/>
                  </a:cubicBezTo>
                  <a:cubicBezTo>
                    <a:pt x="5607" y="6167"/>
                    <a:pt x="5453" y="6115"/>
                    <a:pt x="5341" y="6003"/>
                  </a:cubicBezTo>
                  <a:cubicBezTo>
                    <a:pt x="5332" y="5994"/>
                    <a:pt x="5323" y="5984"/>
                    <a:pt x="5314" y="5974"/>
                  </a:cubicBezTo>
                  <a:cubicBezTo>
                    <a:pt x="5314" y="5973"/>
                    <a:pt x="5313" y="5973"/>
                    <a:pt x="5313" y="5972"/>
                  </a:cubicBezTo>
                  <a:lnTo>
                    <a:pt x="4858" y="5450"/>
                  </a:lnTo>
                  <a:lnTo>
                    <a:pt x="5495" y="4812"/>
                  </a:lnTo>
                  <a:lnTo>
                    <a:pt x="6017" y="5268"/>
                  </a:lnTo>
                  <a:cubicBezTo>
                    <a:pt x="6018" y="5268"/>
                    <a:pt x="6018" y="5268"/>
                    <a:pt x="6019" y="5269"/>
                  </a:cubicBezTo>
                  <a:cubicBezTo>
                    <a:pt x="6058" y="5302"/>
                    <a:pt x="6092" y="5342"/>
                    <a:pt x="6122" y="5387"/>
                  </a:cubicBezTo>
                  <a:cubicBezTo>
                    <a:pt x="6216" y="5533"/>
                    <a:pt x="6223" y="5733"/>
                    <a:pt x="6138" y="588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141"/>
            <p:cNvSpPr>
              <a:spLocks/>
            </p:cNvSpPr>
            <p:nvPr/>
          </p:nvSpPr>
          <p:spPr bwMode="auto">
            <a:xfrm>
              <a:off x="5592" y="-597"/>
              <a:ext cx="42" cy="42"/>
            </a:xfrm>
            <a:custGeom>
              <a:avLst/>
              <a:gdLst>
                <a:gd name="T0" fmla="*/ 756 w 805"/>
                <a:gd name="T1" fmla="*/ 48 h 792"/>
                <a:gd name="T2" fmla="*/ 579 w 805"/>
                <a:gd name="T3" fmla="*/ 48 h 792"/>
                <a:gd name="T4" fmla="*/ 49 w 805"/>
                <a:gd name="T5" fmla="*/ 579 h 792"/>
                <a:gd name="T6" fmla="*/ 49 w 805"/>
                <a:gd name="T7" fmla="*/ 756 h 792"/>
                <a:gd name="T8" fmla="*/ 137 w 805"/>
                <a:gd name="T9" fmla="*/ 792 h 792"/>
                <a:gd name="T10" fmla="*/ 226 w 805"/>
                <a:gd name="T11" fmla="*/ 756 h 792"/>
                <a:gd name="T12" fmla="*/ 756 w 805"/>
                <a:gd name="T13" fmla="*/ 225 h 792"/>
                <a:gd name="T14" fmla="*/ 756 w 805"/>
                <a:gd name="T15" fmla="*/ 48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5" h="792">
                  <a:moveTo>
                    <a:pt x="756" y="48"/>
                  </a:moveTo>
                  <a:cubicBezTo>
                    <a:pt x="707" y="0"/>
                    <a:pt x="628" y="0"/>
                    <a:pt x="579" y="48"/>
                  </a:cubicBezTo>
                  <a:lnTo>
                    <a:pt x="49" y="579"/>
                  </a:lnTo>
                  <a:cubicBezTo>
                    <a:pt x="0" y="628"/>
                    <a:pt x="0" y="707"/>
                    <a:pt x="49" y="756"/>
                  </a:cubicBezTo>
                  <a:cubicBezTo>
                    <a:pt x="73" y="780"/>
                    <a:pt x="105" y="792"/>
                    <a:pt x="137" y="792"/>
                  </a:cubicBezTo>
                  <a:cubicBezTo>
                    <a:pt x="169" y="792"/>
                    <a:pt x="201" y="780"/>
                    <a:pt x="226" y="756"/>
                  </a:cubicBezTo>
                  <a:lnTo>
                    <a:pt x="756" y="225"/>
                  </a:lnTo>
                  <a:cubicBezTo>
                    <a:pt x="805" y="176"/>
                    <a:pt x="805" y="97"/>
                    <a:pt x="756" y="4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" name="Group 21"/>
          <p:cNvGrpSpPr>
            <a:grpSpLocks noChangeAspect="1"/>
          </p:cNvGrpSpPr>
          <p:nvPr/>
        </p:nvGrpSpPr>
        <p:grpSpPr bwMode="auto">
          <a:xfrm>
            <a:off x="1295822" y="1284289"/>
            <a:ext cx="449471" cy="540000"/>
            <a:chOff x="760" y="809"/>
            <a:chExt cx="283" cy="340"/>
          </a:xfrm>
          <a:gradFill>
            <a:gsLst>
              <a:gs pos="0">
                <a:srgbClr val="FEC232"/>
              </a:gs>
              <a:gs pos="100000">
                <a:srgbClr val="DF6F51"/>
              </a:gs>
            </a:gsLst>
            <a:lin ang="2700000" scaled="1"/>
          </a:gradFill>
        </p:grpSpPr>
        <p:sp>
          <p:nvSpPr>
            <p:cNvPr id="8" name="Freeform 22"/>
            <p:cNvSpPr>
              <a:spLocks noEditPoints="1"/>
            </p:cNvSpPr>
            <p:nvPr/>
          </p:nvSpPr>
          <p:spPr bwMode="auto">
            <a:xfrm>
              <a:off x="760" y="809"/>
              <a:ext cx="283" cy="340"/>
            </a:xfrm>
            <a:custGeom>
              <a:avLst/>
              <a:gdLst>
                <a:gd name="T0" fmla="*/ 3169 w 5356"/>
                <a:gd name="T1" fmla="*/ 4772 h 6400"/>
                <a:gd name="T2" fmla="*/ 3261 w 5356"/>
                <a:gd name="T3" fmla="*/ 4430 h 6400"/>
                <a:gd name="T4" fmla="*/ 4092 w 5356"/>
                <a:gd name="T5" fmla="*/ 3123 h 6400"/>
                <a:gd name="T6" fmla="*/ 4407 w 5356"/>
                <a:gd name="T7" fmla="*/ 2438 h 6400"/>
                <a:gd name="T8" fmla="*/ 4522 w 5356"/>
                <a:gd name="T9" fmla="*/ 1862 h 6400"/>
                <a:gd name="T10" fmla="*/ 2982 w 5356"/>
                <a:gd name="T11" fmla="*/ 208 h 6400"/>
                <a:gd name="T12" fmla="*/ 2885 w 5356"/>
                <a:gd name="T13" fmla="*/ 0 h 6400"/>
                <a:gd name="T14" fmla="*/ 2379 w 5356"/>
                <a:gd name="T15" fmla="*/ 208 h 6400"/>
                <a:gd name="T16" fmla="*/ 1097 w 5356"/>
                <a:gd name="T17" fmla="*/ 1862 h 6400"/>
                <a:gd name="T18" fmla="*/ 729 w 5356"/>
                <a:gd name="T19" fmla="*/ 2122 h 6400"/>
                <a:gd name="T20" fmla="*/ 1264 w 5356"/>
                <a:gd name="T21" fmla="*/ 3042 h 6400"/>
                <a:gd name="T22" fmla="*/ 2089 w 5356"/>
                <a:gd name="T23" fmla="*/ 4429 h 6400"/>
                <a:gd name="T24" fmla="*/ 2175 w 5356"/>
                <a:gd name="T25" fmla="*/ 4772 h 6400"/>
                <a:gd name="T26" fmla="*/ 0 w 5356"/>
                <a:gd name="T27" fmla="*/ 6033 h 6400"/>
                <a:gd name="T28" fmla="*/ 3072 w 5356"/>
                <a:gd name="T29" fmla="*/ 6400 h 6400"/>
                <a:gd name="T30" fmla="*/ 1532 w 5356"/>
                <a:gd name="T31" fmla="*/ 6213 h 6400"/>
                <a:gd name="T32" fmla="*/ 3819 w 5356"/>
                <a:gd name="T33" fmla="*/ 6213 h 6400"/>
                <a:gd name="T34" fmla="*/ 3512 w 5356"/>
                <a:gd name="T35" fmla="*/ 6400 h 6400"/>
                <a:gd name="T36" fmla="*/ 5356 w 5356"/>
                <a:gd name="T37" fmla="*/ 6033 h 6400"/>
                <a:gd name="T38" fmla="*/ 4006 w 5356"/>
                <a:gd name="T39" fmla="*/ 5752 h 6400"/>
                <a:gd name="T40" fmla="*/ 4333 w 5356"/>
                <a:gd name="T41" fmla="*/ 5752 h 6400"/>
                <a:gd name="T42" fmla="*/ 4082 w 5356"/>
                <a:gd name="T43" fmla="*/ 2466 h 6400"/>
                <a:gd name="T44" fmla="*/ 2982 w 5356"/>
                <a:gd name="T45" fmla="*/ 395 h 6400"/>
                <a:gd name="T46" fmla="*/ 3555 w 5356"/>
                <a:gd name="T47" fmla="*/ 1467 h 6400"/>
                <a:gd name="T48" fmla="*/ 4054 w 5356"/>
                <a:gd name="T49" fmla="*/ 1862 h 6400"/>
                <a:gd name="T50" fmla="*/ 2982 w 5356"/>
                <a:gd name="T51" fmla="*/ 395 h 6400"/>
                <a:gd name="T52" fmla="*/ 2791 w 5356"/>
                <a:gd name="T53" fmla="*/ 1862 h 6400"/>
                <a:gd name="T54" fmla="*/ 2791 w 5356"/>
                <a:gd name="T55" fmla="*/ 187 h 6400"/>
                <a:gd name="T56" fmla="*/ 2567 w 5356"/>
                <a:gd name="T57" fmla="*/ 187 h 6400"/>
                <a:gd name="T58" fmla="*/ 1689 w 5356"/>
                <a:gd name="T59" fmla="*/ 1561 h 6400"/>
                <a:gd name="T60" fmla="*/ 1289 w 5356"/>
                <a:gd name="T61" fmla="*/ 1373 h 6400"/>
                <a:gd name="T62" fmla="*/ 2379 w 5356"/>
                <a:gd name="T63" fmla="*/ 1862 h 6400"/>
                <a:gd name="T64" fmla="*/ 1123 w 5356"/>
                <a:gd name="T65" fmla="*/ 2559 h 6400"/>
                <a:gd name="T66" fmla="*/ 1270 w 5356"/>
                <a:gd name="T67" fmla="*/ 2844 h 6400"/>
                <a:gd name="T68" fmla="*/ 1446 w 5356"/>
                <a:gd name="T69" fmla="*/ 3143 h 6400"/>
                <a:gd name="T70" fmla="*/ 1765 w 5356"/>
                <a:gd name="T71" fmla="*/ 2372 h 6400"/>
                <a:gd name="T72" fmla="*/ 916 w 5356"/>
                <a:gd name="T73" fmla="*/ 2122 h 6400"/>
                <a:gd name="T74" fmla="*/ 4428 w 5356"/>
                <a:gd name="T75" fmla="*/ 2122 h 6400"/>
                <a:gd name="T76" fmla="*/ 2016 w 5356"/>
                <a:gd name="T77" fmla="*/ 2372 h 6400"/>
                <a:gd name="T78" fmla="*/ 3905 w 5356"/>
                <a:gd name="T79" fmla="*/ 3141 h 6400"/>
                <a:gd name="T80" fmla="*/ 2677 w 5356"/>
                <a:gd name="T81" fmla="*/ 4450 h 6400"/>
                <a:gd name="T82" fmla="*/ 1442 w 5356"/>
                <a:gd name="T83" fmla="*/ 3233 h 6400"/>
                <a:gd name="T84" fmla="*/ 2985 w 5356"/>
                <a:gd name="T85" fmla="*/ 4584 h 6400"/>
                <a:gd name="T86" fmla="*/ 2672 w 5356"/>
                <a:gd name="T87" fmla="*/ 5358 h 6400"/>
                <a:gd name="T88" fmla="*/ 2361 w 5356"/>
                <a:gd name="T89" fmla="*/ 4798 h 6400"/>
                <a:gd name="T90" fmla="*/ 1018 w 5356"/>
                <a:gd name="T91" fmla="*/ 5316 h 6400"/>
                <a:gd name="T92" fmla="*/ 1018 w 5356"/>
                <a:gd name="T93" fmla="*/ 5752 h 6400"/>
                <a:gd name="T94" fmla="*/ 187 w 5356"/>
                <a:gd name="T95" fmla="*/ 6033 h 6400"/>
                <a:gd name="T96" fmla="*/ 830 w 5356"/>
                <a:gd name="T97" fmla="*/ 6213 h 6400"/>
                <a:gd name="T98" fmla="*/ 1018 w 5356"/>
                <a:gd name="T99" fmla="*/ 6211 h 6400"/>
                <a:gd name="T100" fmla="*/ 1344 w 5356"/>
                <a:gd name="T101" fmla="*/ 6211 h 6400"/>
                <a:gd name="T102" fmla="*/ 2123 w 5356"/>
                <a:gd name="T103" fmla="*/ 5097 h 6400"/>
                <a:gd name="T104" fmla="*/ 3221 w 5356"/>
                <a:gd name="T105" fmla="*/ 5097 h 6400"/>
                <a:gd name="T106" fmla="*/ 1532 w 5356"/>
                <a:gd name="T107" fmla="*/ 5752 h 6400"/>
                <a:gd name="T108" fmla="*/ 4006 w 5356"/>
                <a:gd name="T109" fmla="*/ 6211 h 6400"/>
                <a:gd name="T110" fmla="*/ 5169 w 5356"/>
                <a:gd name="T111" fmla="*/ 6212 h 6400"/>
                <a:gd name="T112" fmla="*/ 4624 w 5356"/>
                <a:gd name="T113" fmla="*/ 5373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56" h="6400">
                  <a:moveTo>
                    <a:pt x="4660" y="5189"/>
                  </a:moveTo>
                  <a:lnTo>
                    <a:pt x="3204" y="4903"/>
                  </a:lnTo>
                  <a:cubicBezTo>
                    <a:pt x="3187" y="4861"/>
                    <a:pt x="3175" y="4817"/>
                    <a:pt x="3169" y="4772"/>
                  </a:cubicBezTo>
                  <a:cubicBezTo>
                    <a:pt x="3157" y="4684"/>
                    <a:pt x="3167" y="4593"/>
                    <a:pt x="3197" y="4510"/>
                  </a:cubicBezTo>
                  <a:lnTo>
                    <a:pt x="3213" y="4466"/>
                  </a:lnTo>
                  <a:cubicBezTo>
                    <a:pt x="3230" y="4455"/>
                    <a:pt x="3246" y="4443"/>
                    <a:pt x="3261" y="4430"/>
                  </a:cubicBezTo>
                  <a:cubicBezTo>
                    <a:pt x="3815" y="3982"/>
                    <a:pt x="4096" y="3579"/>
                    <a:pt x="4096" y="3233"/>
                  </a:cubicBezTo>
                  <a:cubicBezTo>
                    <a:pt x="4096" y="3197"/>
                    <a:pt x="4095" y="3160"/>
                    <a:pt x="4092" y="3125"/>
                  </a:cubicBezTo>
                  <a:cubicBezTo>
                    <a:pt x="4092" y="3124"/>
                    <a:pt x="4092" y="3124"/>
                    <a:pt x="4092" y="3123"/>
                  </a:cubicBezTo>
                  <a:cubicBezTo>
                    <a:pt x="4090" y="3104"/>
                    <a:pt x="4088" y="3077"/>
                    <a:pt x="4087" y="3043"/>
                  </a:cubicBezTo>
                  <a:cubicBezTo>
                    <a:pt x="4274" y="2993"/>
                    <a:pt x="4416" y="2796"/>
                    <a:pt x="4419" y="2561"/>
                  </a:cubicBezTo>
                  <a:cubicBezTo>
                    <a:pt x="4419" y="2519"/>
                    <a:pt x="4415" y="2478"/>
                    <a:pt x="4407" y="2438"/>
                  </a:cubicBezTo>
                  <a:cubicBezTo>
                    <a:pt x="4530" y="2385"/>
                    <a:pt x="4616" y="2263"/>
                    <a:pt x="4616" y="2122"/>
                  </a:cubicBezTo>
                  <a:lnTo>
                    <a:pt x="4616" y="1955"/>
                  </a:lnTo>
                  <a:cubicBezTo>
                    <a:pt x="4616" y="1904"/>
                    <a:pt x="4574" y="1862"/>
                    <a:pt x="4522" y="1862"/>
                  </a:cubicBezTo>
                  <a:lnTo>
                    <a:pt x="4241" y="1862"/>
                  </a:lnTo>
                  <a:lnTo>
                    <a:pt x="4241" y="1467"/>
                  </a:lnTo>
                  <a:cubicBezTo>
                    <a:pt x="4241" y="773"/>
                    <a:pt x="3676" y="208"/>
                    <a:pt x="2982" y="208"/>
                  </a:cubicBezTo>
                  <a:lnTo>
                    <a:pt x="2978" y="208"/>
                  </a:lnTo>
                  <a:lnTo>
                    <a:pt x="2978" y="94"/>
                  </a:lnTo>
                  <a:cubicBezTo>
                    <a:pt x="2978" y="42"/>
                    <a:pt x="2936" y="0"/>
                    <a:pt x="2885" y="0"/>
                  </a:cubicBezTo>
                  <a:lnTo>
                    <a:pt x="2473" y="0"/>
                  </a:lnTo>
                  <a:cubicBezTo>
                    <a:pt x="2421" y="0"/>
                    <a:pt x="2379" y="42"/>
                    <a:pt x="2379" y="94"/>
                  </a:cubicBezTo>
                  <a:lnTo>
                    <a:pt x="2379" y="208"/>
                  </a:lnTo>
                  <a:lnTo>
                    <a:pt x="2357" y="208"/>
                  </a:lnTo>
                  <a:cubicBezTo>
                    <a:pt x="1662" y="208"/>
                    <a:pt x="1097" y="773"/>
                    <a:pt x="1097" y="1467"/>
                  </a:cubicBezTo>
                  <a:lnTo>
                    <a:pt x="1097" y="1862"/>
                  </a:lnTo>
                  <a:lnTo>
                    <a:pt x="822" y="1862"/>
                  </a:lnTo>
                  <a:cubicBezTo>
                    <a:pt x="771" y="1862"/>
                    <a:pt x="729" y="1904"/>
                    <a:pt x="729" y="1955"/>
                  </a:cubicBezTo>
                  <a:lnTo>
                    <a:pt x="729" y="2122"/>
                  </a:lnTo>
                  <a:cubicBezTo>
                    <a:pt x="729" y="2267"/>
                    <a:pt x="819" y="2391"/>
                    <a:pt x="946" y="2442"/>
                  </a:cubicBezTo>
                  <a:cubicBezTo>
                    <a:pt x="939" y="2481"/>
                    <a:pt x="935" y="2521"/>
                    <a:pt x="935" y="2561"/>
                  </a:cubicBezTo>
                  <a:cubicBezTo>
                    <a:pt x="938" y="2794"/>
                    <a:pt x="1078" y="2990"/>
                    <a:pt x="1264" y="3042"/>
                  </a:cubicBezTo>
                  <a:cubicBezTo>
                    <a:pt x="1263" y="3076"/>
                    <a:pt x="1261" y="3104"/>
                    <a:pt x="1259" y="3125"/>
                  </a:cubicBezTo>
                  <a:cubicBezTo>
                    <a:pt x="1256" y="3159"/>
                    <a:pt x="1254" y="3195"/>
                    <a:pt x="1254" y="3233"/>
                  </a:cubicBezTo>
                  <a:cubicBezTo>
                    <a:pt x="1254" y="3579"/>
                    <a:pt x="1535" y="3982"/>
                    <a:pt x="2089" y="4429"/>
                  </a:cubicBezTo>
                  <a:cubicBezTo>
                    <a:pt x="2102" y="4440"/>
                    <a:pt x="2115" y="4450"/>
                    <a:pt x="2128" y="4460"/>
                  </a:cubicBezTo>
                  <a:lnTo>
                    <a:pt x="2147" y="4510"/>
                  </a:lnTo>
                  <a:cubicBezTo>
                    <a:pt x="2177" y="4593"/>
                    <a:pt x="2187" y="4684"/>
                    <a:pt x="2175" y="4772"/>
                  </a:cubicBezTo>
                  <a:cubicBezTo>
                    <a:pt x="2169" y="4817"/>
                    <a:pt x="2157" y="4861"/>
                    <a:pt x="2140" y="4903"/>
                  </a:cubicBezTo>
                  <a:lnTo>
                    <a:pt x="696" y="5189"/>
                  </a:lnTo>
                  <a:cubicBezTo>
                    <a:pt x="293" y="5267"/>
                    <a:pt x="0" y="5622"/>
                    <a:pt x="0" y="6033"/>
                  </a:cubicBezTo>
                  <a:lnTo>
                    <a:pt x="0" y="6306"/>
                  </a:lnTo>
                  <a:cubicBezTo>
                    <a:pt x="0" y="6358"/>
                    <a:pt x="42" y="6400"/>
                    <a:pt x="93" y="6400"/>
                  </a:cubicBezTo>
                  <a:lnTo>
                    <a:pt x="3072" y="6400"/>
                  </a:lnTo>
                  <a:cubicBezTo>
                    <a:pt x="3124" y="6400"/>
                    <a:pt x="3166" y="6358"/>
                    <a:pt x="3166" y="6306"/>
                  </a:cubicBezTo>
                  <a:cubicBezTo>
                    <a:pt x="3166" y="6254"/>
                    <a:pt x="3124" y="6213"/>
                    <a:pt x="3072" y="6213"/>
                  </a:cubicBezTo>
                  <a:lnTo>
                    <a:pt x="1532" y="6213"/>
                  </a:lnTo>
                  <a:lnTo>
                    <a:pt x="1532" y="5939"/>
                  </a:lnTo>
                  <a:lnTo>
                    <a:pt x="3819" y="5939"/>
                  </a:lnTo>
                  <a:lnTo>
                    <a:pt x="3819" y="6213"/>
                  </a:lnTo>
                  <a:lnTo>
                    <a:pt x="3512" y="6213"/>
                  </a:lnTo>
                  <a:cubicBezTo>
                    <a:pt x="3460" y="6213"/>
                    <a:pt x="3418" y="6254"/>
                    <a:pt x="3418" y="6306"/>
                  </a:cubicBezTo>
                  <a:cubicBezTo>
                    <a:pt x="3418" y="6358"/>
                    <a:pt x="3460" y="6400"/>
                    <a:pt x="3512" y="6400"/>
                  </a:cubicBezTo>
                  <a:lnTo>
                    <a:pt x="5263" y="6400"/>
                  </a:lnTo>
                  <a:cubicBezTo>
                    <a:pt x="5314" y="6400"/>
                    <a:pt x="5356" y="6358"/>
                    <a:pt x="5356" y="6306"/>
                  </a:cubicBezTo>
                  <a:lnTo>
                    <a:pt x="5356" y="6033"/>
                  </a:lnTo>
                  <a:cubicBezTo>
                    <a:pt x="5356" y="5622"/>
                    <a:pt x="5063" y="5267"/>
                    <a:pt x="4660" y="5189"/>
                  </a:cubicBezTo>
                  <a:close/>
                  <a:moveTo>
                    <a:pt x="4333" y="5752"/>
                  </a:moveTo>
                  <a:lnTo>
                    <a:pt x="4006" y="5752"/>
                  </a:lnTo>
                  <a:lnTo>
                    <a:pt x="4006" y="5251"/>
                  </a:lnTo>
                  <a:lnTo>
                    <a:pt x="4333" y="5316"/>
                  </a:lnTo>
                  <a:lnTo>
                    <a:pt x="4333" y="5752"/>
                  </a:lnTo>
                  <a:close/>
                  <a:moveTo>
                    <a:pt x="4231" y="2559"/>
                  </a:moveTo>
                  <a:cubicBezTo>
                    <a:pt x="4230" y="2688"/>
                    <a:pt x="4168" y="2798"/>
                    <a:pt x="4082" y="2845"/>
                  </a:cubicBezTo>
                  <a:cubicBezTo>
                    <a:pt x="4081" y="2739"/>
                    <a:pt x="4081" y="2611"/>
                    <a:pt x="4082" y="2466"/>
                  </a:cubicBezTo>
                  <a:lnTo>
                    <a:pt x="4221" y="2466"/>
                  </a:lnTo>
                  <a:cubicBezTo>
                    <a:pt x="4228" y="2496"/>
                    <a:pt x="4232" y="2528"/>
                    <a:pt x="4231" y="2559"/>
                  </a:cubicBezTo>
                  <a:close/>
                  <a:moveTo>
                    <a:pt x="2982" y="395"/>
                  </a:moveTo>
                  <a:cubicBezTo>
                    <a:pt x="3541" y="395"/>
                    <a:pt x="4002" y="826"/>
                    <a:pt x="4050" y="1373"/>
                  </a:cubicBezTo>
                  <a:lnTo>
                    <a:pt x="3649" y="1373"/>
                  </a:lnTo>
                  <a:cubicBezTo>
                    <a:pt x="3597" y="1373"/>
                    <a:pt x="3555" y="1415"/>
                    <a:pt x="3555" y="1467"/>
                  </a:cubicBezTo>
                  <a:cubicBezTo>
                    <a:pt x="3555" y="1519"/>
                    <a:pt x="3597" y="1561"/>
                    <a:pt x="3649" y="1561"/>
                  </a:cubicBezTo>
                  <a:lnTo>
                    <a:pt x="4054" y="1561"/>
                  </a:lnTo>
                  <a:lnTo>
                    <a:pt x="4054" y="1862"/>
                  </a:lnTo>
                  <a:lnTo>
                    <a:pt x="2978" y="1862"/>
                  </a:lnTo>
                  <a:lnTo>
                    <a:pt x="2978" y="395"/>
                  </a:lnTo>
                  <a:lnTo>
                    <a:pt x="2982" y="395"/>
                  </a:lnTo>
                  <a:close/>
                  <a:moveTo>
                    <a:pt x="2567" y="1561"/>
                  </a:moveTo>
                  <a:lnTo>
                    <a:pt x="2791" y="1561"/>
                  </a:lnTo>
                  <a:lnTo>
                    <a:pt x="2791" y="1862"/>
                  </a:lnTo>
                  <a:lnTo>
                    <a:pt x="2567" y="1862"/>
                  </a:lnTo>
                  <a:lnTo>
                    <a:pt x="2567" y="1561"/>
                  </a:lnTo>
                  <a:close/>
                  <a:moveTo>
                    <a:pt x="2791" y="187"/>
                  </a:moveTo>
                  <a:lnTo>
                    <a:pt x="2791" y="1373"/>
                  </a:lnTo>
                  <a:lnTo>
                    <a:pt x="2567" y="1373"/>
                  </a:lnTo>
                  <a:lnTo>
                    <a:pt x="2567" y="187"/>
                  </a:lnTo>
                  <a:lnTo>
                    <a:pt x="2791" y="187"/>
                  </a:lnTo>
                  <a:close/>
                  <a:moveTo>
                    <a:pt x="1285" y="1561"/>
                  </a:moveTo>
                  <a:lnTo>
                    <a:pt x="1689" y="1561"/>
                  </a:lnTo>
                  <a:cubicBezTo>
                    <a:pt x="1741" y="1561"/>
                    <a:pt x="1783" y="1519"/>
                    <a:pt x="1783" y="1467"/>
                  </a:cubicBezTo>
                  <a:cubicBezTo>
                    <a:pt x="1783" y="1415"/>
                    <a:pt x="1741" y="1373"/>
                    <a:pt x="1689" y="1373"/>
                  </a:cubicBezTo>
                  <a:lnTo>
                    <a:pt x="1289" y="1373"/>
                  </a:lnTo>
                  <a:cubicBezTo>
                    <a:pt x="1336" y="826"/>
                    <a:pt x="1797" y="395"/>
                    <a:pt x="2357" y="395"/>
                  </a:cubicBezTo>
                  <a:lnTo>
                    <a:pt x="2379" y="395"/>
                  </a:lnTo>
                  <a:lnTo>
                    <a:pt x="2379" y="1862"/>
                  </a:lnTo>
                  <a:lnTo>
                    <a:pt x="1285" y="1862"/>
                  </a:lnTo>
                  <a:lnTo>
                    <a:pt x="1285" y="1561"/>
                  </a:lnTo>
                  <a:close/>
                  <a:moveTo>
                    <a:pt x="1123" y="2559"/>
                  </a:moveTo>
                  <a:cubicBezTo>
                    <a:pt x="1123" y="2528"/>
                    <a:pt x="1126" y="2496"/>
                    <a:pt x="1133" y="2466"/>
                  </a:cubicBezTo>
                  <a:lnTo>
                    <a:pt x="1271" y="2466"/>
                  </a:lnTo>
                  <a:cubicBezTo>
                    <a:pt x="1272" y="2607"/>
                    <a:pt x="1272" y="2736"/>
                    <a:pt x="1270" y="2844"/>
                  </a:cubicBezTo>
                  <a:cubicBezTo>
                    <a:pt x="1185" y="2797"/>
                    <a:pt x="1124" y="2687"/>
                    <a:pt x="1123" y="2559"/>
                  </a:cubicBezTo>
                  <a:close/>
                  <a:moveTo>
                    <a:pt x="1442" y="3233"/>
                  </a:moveTo>
                  <a:cubicBezTo>
                    <a:pt x="1442" y="3200"/>
                    <a:pt x="1443" y="3170"/>
                    <a:pt x="1446" y="3143"/>
                  </a:cubicBezTo>
                  <a:cubicBezTo>
                    <a:pt x="1457" y="3022"/>
                    <a:pt x="1460" y="2730"/>
                    <a:pt x="1459" y="2466"/>
                  </a:cubicBezTo>
                  <a:lnTo>
                    <a:pt x="1671" y="2466"/>
                  </a:lnTo>
                  <a:cubicBezTo>
                    <a:pt x="1723" y="2466"/>
                    <a:pt x="1765" y="2424"/>
                    <a:pt x="1765" y="2372"/>
                  </a:cubicBezTo>
                  <a:cubicBezTo>
                    <a:pt x="1765" y="2321"/>
                    <a:pt x="1723" y="2279"/>
                    <a:pt x="1671" y="2279"/>
                  </a:cubicBezTo>
                  <a:lnTo>
                    <a:pt x="1073" y="2279"/>
                  </a:lnTo>
                  <a:cubicBezTo>
                    <a:pt x="986" y="2279"/>
                    <a:pt x="916" y="2208"/>
                    <a:pt x="916" y="2122"/>
                  </a:cubicBezTo>
                  <a:lnTo>
                    <a:pt x="916" y="2049"/>
                  </a:lnTo>
                  <a:lnTo>
                    <a:pt x="4428" y="2049"/>
                  </a:lnTo>
                  <a:lnTo>
                    <a:pt x="4428" y="2122"/>
                  </a:lnTo>
                  <a:cubicBezTo>
                    <a:pt x="4428" y="2208"/>
                    <a:pt x="4358" y="2279"/>
                    <a:pt x="4271" y="2279"/>
                  </a:cubicBezTo>
                  <a:lnTo>
                    <a:pt x="2110" y="2279"/>
                  </a:lnTo>
                  <a:cubicBezTo>
                    <a:pt x="2058" y="2279"/>
                    <a:pt x="2016" y="2321"/>
                    <a:pt x="2016" y="2372"/>
                  </a:cubicBezTo>
                  <a:cubicBezTo>
                    <a:pt x="2016" y="2424"/>
                    <a:pt x="2058" y="2466"/>
                    <a:pt x="2110" y="2466"/>
                  </a:cubicBezTo>
                  <a:lnTo>
                    <a:pt x="3895" y="2466"/>
                  </a:lnTo>
                  <a:cubicBezTo>
                    <a:pt x="3893" y="2675"/>
                    <a:pt x="3893" y="3013"/>
                    <a:pt x="3905" y="3141"/>
                  </a:cubicBezTo>
                  <a:cubicBezTo>
                    <a:pt x="3908" y="3171"/>
                    <a:pt x="3909" y="3202"/>
                    <a:pt x="3909" y="3233"/>
                  </a:cubicBezTo>
                  <a:cubicBezTo>
                    <a:pt x="3909" y="3516"/>
                    <a:pt x="3644" y="3879"/>
                    <a:pt x="3143" y="4284"/>
                  </a:cubicBezTo>
                  <a:cubicBezTo>
                    <a:pt x="3012" y="4391"/>
                    <a:pt x="2847" y="4450"/>
                    <a:pt x="2677" y="4450"/>
                  </a:cubicBezTo>
                  <a:lnTo>
                    <a:pt x="2674" y="4450"/>
                  </a:lnTo>
                  <a:cubicBezTo>
                    <a:pt x="2504" y="4450"/>
                    <a:pt x="2338" y="4391"/>
                    <a:pt x="2207" y="4284"/>
                  </a:cubicBezTo>
                  <a:cubicBezTo>
                    <a:pt x="1706" y="3879"/>
                    <a:pt x="1442" y="3516"/>
                    <a:pt x="1442" y="3233"/>
                  </a:cubicBezTo>
                  <a:close/>
                  <a:moveTo>
                    <a:pt x="2673" y="4637"/>
                  </a:moveTo>
                  <a:lnTo>
                    <a:pt x="2678" y="4637"/>
                  </a:lnTo>
                  <a:cubicBezTo>
                    <a:pt x="2783" y="4637"/>
                    <a:pt x="2887" y="4619"/>
                    <a:pt x="2985" y="4584"/>
                  </a:cubicBezTo>
                  <a:cubicBezTo>
                    <a:pt x="2974" y="4655"/>
                    <a:pt x="2973" y="4727"/>
                    <a:pt x="2983" y="4798"/>
                  </a:cubicBezTo>
                  <a:cubicBezTo>
                    <a:pt x="2993" y="4870"/>
                    <a:pt x="3013" y="4940"/>
                    <a:pt x="3044" y="5006"/>
                  </a:cubicBezTo>
                  <a:cubicBezTo>
                    <a:pt x="3034" y="5202"/>
                    <a:pt x="2871" y="5358"/>
                    <a:pt x="2672" y="5358"/>
                  </a:cubicBezTo>
                  <a:cubicBezTo>
                    <a:pt x="2574" y="5358"/>
                    <a:pt x="2482" y="5320"/>
                    <a:pt x="2412" y="5252"/>
                  </a:cubicBezTo>
                  <a:cubicBezTo>
                    <a:pt x="2344" y="5186"/>
                    <a:pt x="2305" y="5099"/>
                    <a:pt x="2300" y="5006"/>
                  </a:cubicBezTo>
                  <a:cubicBezTo>
                    <a:pt x="2331" y="4940"/>
                    <a:pt x="2351" y="4870"/>
                    <a:pt x="2361" y="4798"/>
                  </a:cubicBezTo>
                  <a:cubicBezTo>
                    <a:pt x="2371" y="4726"/>
                    <a:pt x="2370" y="4653"/>
                    <a:pt x="2358" y="4582"/>
                  </a:cubicBezTo>
                  <a:cubicBezTo>
                    <a:pt x="2459" y="4618"/>
                    <a:pt x="2566" y="4637"/>
                    <a:pt x="2673" y="4637"/>
                  </a:cubicBezTo>
                  <a:close/>
                  <a:moveTo>
                    <a:pt x="1018" y="5316"/>
                  </a:moveTo>
                  <a:lnTo>
                    <a:pt x="1344" y="5252"/>
                  </a:lnTo>
                  <a:lnTo>
                    <a:pt x="1344" y="5752"/>
                  </a:lnTo>
                  <a:lnTo>
                    <a:pt x="1018" y="5752"/>
                  </a:lnTo>
                  <a:lnTo>
                    <a:pt x="1018" y="5316"/>
                  </a:lnTo>
                  <a:close/>
                  <a:moveTo>
                    <a:pt x="187" y="6213"/>
                  </a:moveTo>
                  <a:lnTo>
                    <a:pt x="187" y="6033"/>
                  </a:lnTo>
                  <a:cubicBezTo>
                    <a:pt x="187" y="5711"/>
                    <a:pt x="416" y="5434"/>
                    <a:pt x="732" y="5373"/>
                  </a:cubicBezTo>
                  <a:lnTo>
                    <a:pt x="830" y="5353"/>
                  </a:lnTo>
                  <a:lnTo>
                    <a:pt x="830" y="6213"/>
                  </a:lnTo>
                  <a:lnTo>
                    <a:pt x="187" y="6213"/>
                  </a:lnTo>
                  <a:close/>
                  <a:moveTo>
                    <a:pt x="1344" y="6211"/>
                  </a:moveTo>
                  <a:lnTo>
                    <a:pt x="1018" y="6211"/>
                  </a:lnTo>
                  <a:lnTo>
                    <a:pt x="1018" y="5939"/>
                  </a:lnTo>
                  <a:lnTo>
                    <a:pt x="1344" y="5939"/>
                  </a:lnTo>
                  <a:lnTo>
                    <a:pt x="1344" y="6211"/>
                  </a:lnTo>
                  <a:close/>
                  <a:moveTo>
                    <a:pt x="1532" y="5752"/>
                  </a:moveTo>
                  <a:lnTo>
                    <a:pt x="1532" y="5214"/>
                  </a:lnTo>
                  <a:lnTo>
                    <a:pt x="2123" y="5097"/>
                  </a:lnTo>
                  <a:cubicBezTo>
                    <a:pt x="2145" y="5207"/>
                    <a:pt x="2199" y="5307"/>
                    <a:pt x="2281" y="5387"/>
                  </a:cubicBezTo>
                  <a:cubicBezTo>
                    <a:pt x="2387" y="5489"/>
                    <a:pt x="2525" y="5545"/>
                    <a:pt x="2672" y="5545"/>
                  </a:cubicBezTo>
                  <a:cubicBezTo>
                    <a:pt x="2943" y="5545"/>
                    <a:pt x="3169" y="5353"/>
                    <a:pt x="3221" y="5097"/>
                  </a:cubicBezTo>
                  <a:lnTo>
                    <a:pt x="3819" y="5215"/>
                  </a:lnTo>
                  <a:lnTo>
                    <a:pt x="3819" y="5752"/>
                  </a:lnTo>
                  <a:lnTo>
                    <a:pt x="1532" y="5752"/>
                  </a:lnTo>
                  <a:close/>
                  <a:moveTo>
                    <a:pt x="4333" y="5939"/>
                  </a:moveTo>
                  <a:lnTo>
                    <a:pt x="4333" y="6211"/>
                  </a:lnTo>
                  <a:lnTo>
                    <a:pt x="4006" y="6211"/>
                  </a:lnTo>
                  <a:lnTo>
                    <a:pt x="4006" y="5939"/>
                  </a:lnTo>
                  <a:lnTo>
                    <a:pt x="4333" y="5939"/>
                  </a:lnTo>
                  <a:close/>
                  <a:moveTo>
                    <a:pt x="5169" y="6212"/>
                  </a:moveTo>
                  <a:lnTo>
                    <a:pt x="4521" y="6212"/>
                  </a:lnTo>
                  <a:lnTo>
                    <a:pt x="4521" y="5352"/>
                  </a:lnTo>
                  <a:lnTo>
                    <a:pt x="4624" y="5373"/>
                  </a:lnTo>
                  <a:cubicBezTo>
                    <a:pt x="4940" y="5434"/>
                    <a:pt x="5169" y="5711"/>
                    <a:pt x="5169" y="6033"/>
                  </a:cubicBezTo>
                  <a:lnTo>
                    <a:pt x="5169" y="62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"/>
            <p:cNvSpPr>
              <a:spLocks/>
            </p:cNvSpPr>
            <p:nvPr/>
          </p:nvSpPr>
          <p:spPr bwMode="auto">
            <a:xfrm>
              <a:off x="878" y="991"/>
              <a:ext cx="46" cy="25"/>
            </a:xfrm>
            <a:custGeom>
              <a:avLst/>
              <a:gdLst>
                <a:gd name="T0" fmla="*/ 439 w 878"/>
                <a:gd name="T1" fmla="*/ 454 h 454"/>
                <a:gd name="T2" fmla="*/ 865 w 878"/>
                <a:gd name="T3" fmla="*/ 128 h 454"/>
                <a:gd name="T4" fmla="*/ 798 w 878"/>
                <a:gd name="T5" fmla="*/ 13 h 454"/>
                <a:gd name="T6" fmla="*/ 684 w 878"/>
                <a:gd name="T7" fmla="*/ 79 h 454"/>
                <a:gd name="T8" fmla="*/ 439 w 878"/>
                <a:gd name="T9" fmla="*/ 267 h 454"/>
                <a:gd name="T10" fmla="*/ 195 w 878"/>
                <a:gd name="T11" fmla="*/ 79 h 454"/>
                <a:gd name="T12" fmla="*/ 80 w 878"/>
                <a:gd name="T13" fmla="*/ 13 h 454"/>
                <a:gd name="T14" fmla="*/ 13 w 878"/>
                <a:gd name="T15" fmla="*/ 128 h 454"/>
                <a:gd name="T16" fmla="*/ 439 w 878"/>
                <a:gd name="T17" fmla="*/ 454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8" h="454">
                  <a:moveTo>
                    <a:pt x="439" y="454"/>
                  </a:moveTo>
                  <a:cubicBezTo>
                    <a:pt x="638" y="454"/>
                    <a:pt x="813" y="320"/>
                    <a:pt x="865" y="128"/>
                  </a:cubicBezTo>
                  <a:cubicBezTo>
                    <a:pt x="878" y="78"/>
                    <a:pt x="848" y="26"/>
                    <a:pt x="798" y="13"/>
                  </a:cubicBezTo>
                  <a:cubicBezTo>
                    <a:pt x="748" y="0"/>
                    <a:pt x="697" y="29"/>
                    <a:pt x="684" y="79"/>
                  </a:cubicBezTo>
                  <a:cubicBezTo>
                    <a:pt x="654" y="190"/>
                    <a:pt x="553" y="267"/>
                    <a:pt x="439" y="267"/>
                  </a:cubicBezTo>
                  <a:cubicBezTo>
                    <a:pt x="325" y="267"/>
                    <a:pt x="224" y="190"/>
                    <a:pt x="195" y="79"/>
                  </a:cubicBezTo>
                  <a:cubicBezTo>
                    <a:pt x="181" y="29"/>
                    <a:pt x="130" y="0"/>
                    <a:pt x="80" y="13"/>
                  </a:cubicBezTo>
                  <a:cubicBezTo>
                    <a:pt x="30" y="26"/>
                    <a:pt x="0" y="78"/>
                    <a:pt x="13" y="128"/>
                  </a:cubicBezTo>
                  <a:cubicBezTo>
                    <a:pt x="65" y="320"/>
                    <a:pt x="240" y="454"/>
                    <a:pt x="439" y="45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2" name="Groupe 261"/>
          <p:cNvGrpSpPr/>
          <p:nvPr/>
        </p:nvGrpSpPr>
        <p:grpSpPr>
          <a:xfrm>
            <a:off x="7400301" y="3052766"/>
            <a:ext cx="539750" cy="538163"/>
            <a:chOff x="7389813" y="3094038"/>
            <a:chExt cx="539750" cy="538163"/>
          </a:xfrm>
        </p:grpSpPr>
        <p:sp>
          <p:nvSpPr>
            <p:cNvPr id="44" name="Freeform 27"/>
            <p:cNvSpPr>
              <a:spLocks noEditPoints="1"/>
            </p:cNvSpPr>
            <p:nvPr/>
          </p:nvSpPr>
          <p:spPr bwMode="auto">
            <a:xfrm>
              <a:off x="7389813" y="3224213"/>
              <a:ext cx="539750" cy="277813"/>
            </a:xfrm>
            <a:custGeom>
              <a:avLst/>
              <a:gdLst>
                <a:gd name="T0" fmla="*/ 6371 w 6428"/>
                <a:gd name="T1" fmla="*/ 1536 h 3310"/>
                <a:gd name="T2" fmla="*/ 3214 w 6428"/>
                <a:gd name="T3" fmla="*/ 0 h 3310"/>
                <a:gd name="T4" fmla="*/ 57 w 6428"/>
                <a:gd name="T5" fmla="*/ 1536 h 3310"/>
                <a:gd name="T6" fmla="*/ 57 w 6428"/>
                <a:gd name="T7" fmla="*/ 1774 h 3310"/>
                <a:gd name="T8" fmla="*/ 3214 w 6428"/>
                <a:gd name="T9" fmla="*/ 3310 h 3310"/>
                <a:gd name="T10" fmla="*/ 6371 w 6428"/>
                <a:gd name="T11" fmla="*/ 1774 h 3310"/>
                <a:gd name="T12" fmla="*/ 6371 w 6428"/>
                <a:gd name="T13" fmla="*/ 1536 h 3310"/>
                <a:gd name="T14" fmla="*/ 4493 w 6428"/>
                <a:gd name="T15" fmla="*/ 1655 h 3310"/>
                <a:gd name="T16" fmla="*/ 3214 w 6428"/>
                <a:gd name="T17" fmla="*/ 2934 h 3310"/>
                <a:gd name="T18" fmla="*/ 1935 w 6428"/>
                <a:gd name="T19" fmla="*/ 1655 h 3310"/>
                <a:gd name="T20" fmla="*/ 3214 w 6428"/>
                <a:gd name="T21" fmla="*/ 376 h 3310"/>
                <a:gd name="T22" fmla="*/ 4493 w 6428"/>
                <a:gd name="T23" fmla="*/ 1655 h 3310"/>
                <a:gd name="T24" fmla="*/ 457 w 6428"/>
                <a:gd name="T25" fmla="*/ 1655 h 3310"/>
                <a:gd name="T26" fmla="*/ 1896 w 6428"/>
                <a:gd name="T27" fmla="*/ 655 h 3310"/>
                <a:gd name="T28" fmla="*/ 1896 w 6428"/>
                <a:gd name="T29" fmla="*/ 2655 h 3310"/>
                <a:gd name="T30" fmla="*/ 457 w 6428"/>
                <a:gd name="T31" fmla="*/ 1655 h 3310"/>
                <a:gd name="T32" fmla="*/ 4532 w 6428"/>
                <a:gd name="T33" fmla="*/ 2655 h 3310"/>
                <a:gd name="T34" fmla="*/ 4532 w 6428"/>
                <a:gd name="T35" fmla="*/ 655 h 3310"/>
                <a:gd name="T36" fmla="*/ 5971 w 6428"/>
                <a:gd name="T37" fmla="*/ 1655 h 3310"/>
                <a:gd name="T38" fmla="*/ 4532 w 6428"/>
                <a:gd name="T39" fmla="*/ 2655 h 3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28" h="3310">
                  <a:moveTo>
                    <a:pt x="6371" y="1536"/>
                  </a:moveTo>
                  <a:cubicBezTo>
                    <a:pt x="5790" y="827"/>
                    <a:pt x="4558" y="0"/>
                    <a:pt x="3214" y="0"/>
                  </a:cubicBezTo>
                  <a:cubicBezTo>
                    <a:pt x="1865" y="0"/>
                    <a:pt x="634" y="833"/>
                    <a:pt x="57" y="1536"/>
                  </a:cubicBezTo>
                  <a:cubicBezTo>
                    <a:pt x="0" y="1605"/>
                    <a:pt x="0" y="1705"/>
                    <a:pt x="57" y="1774"/>
                  </a:cubicBezTo>
                  <a:cubicBezTo>
                    <a:pt x="652" y="2500"/>
                    <a:pt x="1887" y="3310"/>
                    <a:pt x="3214" y="3310"/>
                  </a:cubicBezTo>
                  <a:cubicBezTo>
                    <a:pt x="4589" y="3310"/>
                    <a:pt x="5815" y="2452"/>
                    <a:pt x="6371" y="1774"/>
                  </a:cubicBezTo>
                  <a:cubicBezTo>
                    <a:pt x="6428" y="1705"/>
                    <a:pt x="6428" y="1605"/>
                    <a:pt x="6371" y="1536"/>
                  </a:cubicBezTo>
                  <a:close/>
                  <a:moveTo>
                    <a:pt x="4493" y="1655"/>
                  </a:moveTo>
                  <a:cubicBezTo>
                    <a:pt x="4493" y="2360"/>
                    <a:pt x="3919" y="2934"/>
                    <a:pt x="3214" y="2934"/>
                  </a:cubicBezTo>
                  <a:cubicBezTo>
                    <a:pt x="2509" y="2934"/>
                    <a:pt x="1935" y="2360"/>
                    <a:pt x="1935" y="1655"/>
                  </a:cubicBezTo>
                  <a:cubicBezTo>
                    <a:pt x="1935" y="950"/>
                    <a:pt x="2509" y="376"/>
                    <a:pt x="3214" y="376"/>
                  </a:cubicBezTo>
                  <a:cubicBezTo>
                    <a:pt x="3919" y="376"/>
                    <a:pt x="4493" y="950"/>
                    <a:pt x="4493" y="1655"/>
                  </a:cubicBezTo>
                  <a:close/>
                  <a:moveTo>
                    <a:pt x="457" y="1655"/>
                  </a:moveTo>
                  <a:cubicBezTo>
                    <a:pt x="668" y="1435"/>
                    <a:pt x="1179" y="960"/>
                    <a:pt x="1896" y="655"/>
                  </a:cubicBezTo>
                  <a:cubicBezTo>
                    <a:pt x="1446" y="1246"/>
                    <a:pt x="1446" y="2064"/>
                    <a:pt x="1896" y="2655"/>
                  </a:cubicBezTo>
                  <a:cubicBezTo>
                    <a:pt x="1351" y="2424"/>
                    <a:pt x="844" y="2059"/>
                    <a:pt x="457" y="1655"/>
                  </a:cubicBezTo>
                  <a:close/>
                  <a:moveTo>
                    <a:pt x="4532" y="2655"/>
                  </a:moveTo>
                  <a:cubicBezTo>
                    <a:pt x="4982" y="2064"/>
                    <a:pt x="4982" y="1246"/>
                    <a:pt x="4532" y="655"/>
                  </a:cubicBezTo>
                  <a:cubicBezTo>
                    <a:pt x="5077" y="886"/>
                    <a:pt x="5584" y="1251"/>
                    <a:pt x="5971" y="1655"/>
                  </a:cubicBezTo>
                  <a:cubicBezTo>
                    <a:pt x="5760" y="1875"/>
                    <a:pt x="5249" y="2350"/>
                    <a:pt x="4532" y="2655"/>
                  </a:cubicBezTo>
                  <a:close/>
                </a:path>
              </a:pathLst>
            </a:custGeom>
            <a:gradFill>
              <a:gsLst>
                <a:gs pos="0">
                  <a:srgbClr val="FEC232"/>
                </a:gs>
                <a:gs pos="100000">
                  <a:srgbClr val="DF6F51"/>
                </a:gs>
              </a:gsLst>
              <a:lin ang="27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8"/>
            <p:cNvSpPr>
              <a:spLocks noEditPoints="1"/>
            </p:cNvSpPr>
            <p:nvPr/>
          </p:nvSpPr>
          <p:spPr bwMode="auto">
            <a:xfrm>
              <a:off x="7605713" y="3308351"/>
              <a:ext cx="107950" cy="107950"/>
            </a:xfrm>
            <a:custGeom>
              <a:avLst/>
              <a:gdLst>
                <a:gd name="T0" fmla="*/ 0 w 1280"/>
                <a:gd name="T1" fmla="*/ 640 h 1280"/>
                <a:gd name="T2" fmla="*/ 640 w 1280"/>
                <a:gd name="T3" fmla="*/ 1280 h 1280"/>
                <a:gd name="T4" fmla="*/ 1280 w 1280"/>
                <a:gd name="T5" fmla="*/ 640 h 1280"/>
                <a:gd name="T6" fmla="*/ 640 w 1280"/>
                <a:gd name="T7" fmla="*/ 0 h 1280"/>
                <a:gd name="T8" fmla="*/ 0 w 1280"/>
                <a:gd name="T9" fmla="*/ 640 h 1280"/>
                <a:gd name="T10" fmla="*/ 904 w 1280"/>
                <a:gd name="T11" fmla="*/ 640 h 1280"/>
                <a:gd name="T12" fmla="*/ 640 w 1280"/>
                <a:gd name="T13" fmla="*/ 904 h 1280"/>
                <a:gd name="T14" fmla="*/ 376 w 1280"/>
                <a:gd name="T15" fmla="*/ 640 h 1280"/>
                <a:gd name="T16" fmla="*/ 640 w 1280"/>
                <a:gd name="T17" fmla="*/ 376 h 1280"/>
                <a:gd name="T18" fmla="*/ 904 w 1280"/>
                <a:gd name="T19" fmla="*/ 640 h 1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0" h="1280">
                  <a:moveTo>
                    <a:pt x="0" y="640"/>
                  </a:moveTo>
                  <a:cubicBezTo>
                    <a:pt x="0" y="993"/>
                    <a:pt x="287" y="1280"/>
                    <a:pt x="640" y="1280"/>
                  </a:cubicBezTo>
                  <a:cubicBezTo>
                    <a:pt x="993" y="1280"/>
                    <a:pt x="1280" y="993"/>
                    <a:pt x="1280" y="640"/>
                  </a:cubicBezTo>
                  <a:cubicBezTo>
                    <a:pt x="1280" y="287"/>
                    <a:pt x="993" y="0"/>
                    <a:pt x="640" y="0"/>
                  </a:cubicBezTo>
                  <a:cubicBezTo>
                    <a:pt x="287" y="0"/>
                    <a:pt x="0" y="287"/>
                    <a:pt x="0" y="640"/>
                  </a:cubicBezTo>
                  <a:close/>
                  <a:moveTo>
                    <a:pt x="904" y="640"/>
                  </a:moveTo>
                  <a:cubicBezTo>
                    <a:pt x="904" y="785"/>
                    <a:pt x="785" y="904"/>
                    <a:pt x="640" y="904"/>
                  </a:cubicBezTo>
                  <a:cubicBezTo>
                    <a:pt x="495" y="904"/>
                    <a:pt x="376" y="785"/>
                    <a:pt x="376" y="640"/>
                  </a:cubicBezTo>
                  <a:cubicBezTo>
                    <a:pt x="376" y="495"/>
                    <a:pt x="495" y="376"/>
                    <a:pt x="640" y="376"/>
                  </a:cubicBezTo>
                  <a:cubicBezTo>
                    <a:pt x="785" y="376"/>
                    <a:pt x="904" y="495"/>
                    <a:pt x="904" y="640"/>
                  </a:cubicBezTo>
                  <a:close/>
                </a:path>
              </a:pathLst>
            </a:custGeom>
            <a:gradFill>
              <a:gsLst>
                <a:gs pos="0">
                  <a:srgbClr val="FEC232"/>
                </a:gs>
                <a:gs pos="100000">
                  <a:srgbClr val="DF6F51"/>
                </a:gs>
              </a:gsLst>
              <a:lin ang="27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9"/>
            <p:cNvSpPr>
              <a:spLocks/>
            </p:cNvSpPr>
            <p:nvPr/>
          </p:nvSpPr>
          <p:spPr bwMode="auto">
            <a:xfrm>
              <a:off x="7643813" y="3094038"/>
              <a:ext cx="31750" cy="68263"/>
            </a:xfrm>
            <a:custGeom>
              <a:avLst/>
              <a:gdLst>
                <a:gd name="T0" fmla="*/ 188 w 376"/>
                <a:gd name="T1" fmla="*/ 816 h 816"/>
                <a:gd name="T2" fmla="*/ 376 w 376"/>
                <a:gd name="T3" fmla="*/ 627 h 816"/>
                <a:gd name="T4" fmla="*/ 376 w 376"/>
                <a:gd name="T5" fmla="*/ 188 h 816"/>
                <a:gd name="T6" fmla="*/ 188 w 376"/>
                <a:gd name="T7" fmla="*/ 0 h 816"/>
                <a:gd name="T8" fmla="*/ 0 w 376"/>
                <a:gd name="T9" fmla="*/ 188 h 816"/>
                <a:gd name="T10" fmla="*/ 0 w 376"/>
                <a:gd name="T11" fmla="*/ 627 h 816"/>
                <a:gd name="T12" fmla="*/ 188 w 376"/>
                <a:gd name="T13" fmla="*/ 816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6" h="816">
                  <a:moveTo>
                    <a:pt x="188" y="816"/>
                  </a:moveTo>
                  <a:cubicBezTo>
                    <a:pt x="292" y="816"/>
                    <a:pt x="376" y="731"/>
                    <a:pt x="376" y="627"/>
                  </a:cubicBezTo>
                  <a:lnTo>
                    <a:pt x="376" y="188"/>
                  </a:lnTo>
                  <a:cubicBezTo>
                    <a:pt x="376" y="84"/>
                    <a:pt x="292" y="0"/>
                    <a:pt x="188" y="0"/>
                  </a:cubicBezTo>
                  <a:cubicBezTo>
                    <a:pt x="84" y="0"/>
                    <a:pt x="0" y="84"/>
                    <a:pt x="0" y="188"/>
                  </a:cubicBezTo>
                  <a:lnTo>
                    <a:pt x="0" y="627"/>
                  </a:lnTo>
                  <a:cubicBezTo>
                    <a:pt x="0" y="731"/>
                    <a:pt x="84" y="816"/>
                    <a:pt x="188" y="816"/>
                  </a:cubicBezTo>
                  <a:close/>
                </a:path>
              </a:pathLst>
            </a:custGeom>
            <a:gradFill>
              <a:gsLst>
                <a:gs pos="0">
                  <a:srgbClr val="FEC232"/>
                </a:gs>
                <a:gs pos="100000">
                  <a:srgbClr val="DF6F51"/>
                </a:gs>
              </a:gsLst>
              <a:lin ang="27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30"/>
            <p:cNvSpPr>
              <a:spLocks/>
            </p:cNvSpPr>
            <p:nvPr/>
          </p:nvSpPr>
          <p:spPr bwMode="auto">
            <a:xfrm>
              <a:off x="7743825" y="3114676"/>
              <a:ext cx="57150" cy="73025"/>
            </a:xfrm>
            <a:custGeom>
              <a:avLst/>
              <a:gdLst>
                <a:gd name="T0" fmla="*/ 122 w 681"/>
                <a:gd name="T1" fmla="*/ 817 h 869"/>
                <a:gd name="T2" fmla="*/ 379 w 681"/>
                <a:gd name="T3" fmla="*/ 747 h 869"/>
                <a:gd name="T4" fmla="*/ 629 w 681"/>
                <a:gd name="T5" fmla="*/ 308 h 869"/>
                <a:gd name="T6" fmla="*/ 559 w 681"/>
                <a:gd name="T7" fmla="*/ 51 h 869"/>
                <a:gd name="T8" fmla="*/ 302 w 681"/>
                <a:gd name="T9" fmla="*/ 121 h 869"/>
                <a:gd name="T10" fmla="*/ 52 w 681"/>
                <a:gd name="T11" fmla="*/ 561 h 869"/>
                <a:gd name="T12" fmla="*/ 122 w 681"/>
                <a:gd name="T13" fmla="*/ 817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1" h="869">
                  <a:moveTo>
                    <a:pt x="122" y="817"/>
                  </a:moveTo>
                  <a:cubicBezTo>
                    <a:pt x="212" y="869"/>
                    <a:pt x="327" y="838"/>
                    <a:pt x="379" y="747"/>
                  </a:cubicBezTo>
                  <a:lnTo>
                    <a:pt x="629" y="308"/>
                  </a:lnTo>
                  <a:cubicBezTo>
                    <a:pt x="681" y="218"/>
                    <a:pt x="649" y="103"/>
                    <a:pt x="559" y="51"/>
                  </a:cubicBezTo>
                  <a:cubicBezTo>
                    <a:pt x="469" y="0"/>
                    <a:pt x="354" y="31"/>
                    <a:pt x="302" y="121"/>
                  </a:cubicBezTo>
                  <a:lnTo>
                    <a:pt x="52" y="561"/>
                  </a:lnTo>
                  <a:cubicBezTo>
                    <a:pt x="0" y="651"/>
                    <a:pt x="32" y="766"/>
                    <a:pt x="122" y="817"/>
                  </a:cubicBezTo>
                  <a:close/>
                </a:path>
              </a:pathLst>
            </a:custGeom>
            <a:gradFill>
              <a:gsLst>
                <a:gs pos="0">
                  <a:srgbClr val="FEC232"/>
                </a:gs>
                <a:gs pos="100000">
                  <a:srgbClr val="DF6F51"/>
                </a:gs>
              </a:gsLst>
              <a:lin ang="27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31"/>
            <p:cNvSpPr>
              <a:spLocks/>
            </p:cNvSpPr>
            <p:nvPr/>
          </p:nvSpPr>
          <p:spPr bwMode="auto">
            <a:xfrm>
              <a:off x="7518400" y="3114676"/>
              <a:ext cx="57150" cy="73025"/>
            </a:xfrm>
            <a:custGeom>
              <a:avLst/>
              <a:gdLst>
                <a:gd name="T0" fmla="*/ 302 w 681"/>
                <a:gd name="T1" fmla="*/ 747 h 869"/>
                <a:gd name="T2" fmla="*/ 559 w 681"/>
                <a:gd name="T3" fmla="*/ 817 h 869"/>
                <a:gd name="T4" fmla="*/ 629 w 681"/>
                <a:gd name="T5" fmla="*/ 561 h 869"/>
                <a:gd name="T6" fmla="*/ 379 w 681"/>
                <a:gd name="T7" fmla="*/ 121 h 869"/>
                <a:gd name="T8" fmla="*/ 122 w 681"/>
                <a:gd name="T9" fmla="*/ 51 h 869"/>
                <a:gd name="T10" fmla="*/ 52 w 681"/>
                <a:gd name="T11" fmla="*/ 308 h 869"/>
                <a:gd name="T12" fmla="*/ 302 w 681"/>
                <a:gd name="T13" fmla="*/ 747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1" h="869">
                  <a:moveTo>
                    <a:pt x="302" y="747"/>
                  </a:moveTo>
                  <a:cubicBezTo>
                    <a:pt x="354" y="837"/>
                    <a:pt x="469" y="869"/>
                    <a:pt x="559" y="817"/>
                  </a:cubicBezTo>
                  <a:cubicBezTo>
                    <a:pt x="649" y="766"/>
                    <a:pt x="681" y="651"/>
                    <a:pt x="629" y="561"/>
                  </a:cubicBezTo>
                  <a:lnTo>
                    <a:pt x="379" y="121"/>
                  </a:lnTo>
                  <a:cubicBezTo>
                    <a:pt x="327" y="31"/>
                    <a:pt x="212" y="0"/>
                    <a:pt x="122" y="51"/>
                  </a:cubicBezTo>
                  <a:cubicBezTo>
                    <a:pt x="32" y="103"/>
                    <a:pt x="0" y="218"/>
                    <a:pt x="52" y="308"/>
                  </a:cubicBezTo>
                  <a:lnTo>
                    <a:pt x="302" y="747"/>
                  </a:lnTo>
                  <a:close/>
                </a:path>
              </a:pathLst>
            </a:custGeom>
            <a:gradFill>
              <a:gsLst>
                <a:gs pos="0">
                  <a:srgbClr val="FEC232"/>
                </a:gs>
                <a:gs pos="100000">
                  <a:srgbClr val="DF6F51"/>
                </a:gs>
              </a:gsLst>
              <a:lin ang="27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32"/>
            <p:cNvSpPr>
              <a:spLocks/>
            </p:cNvSpPr>
            <p:nvPr/>
          </p:nvSpPr>
          <p:spPr bwMode="auto">
            <a:xfrm>
              <a:off x="7643813" y="3563938"/>
              <a:ext cx="31750" cy="68263"/>
            </a:xfrm>
            <a:custGeom>
              <a:avLst/>
              <a:gdLst>
                <a:gd name="T0" fmla="*/ 188 w 376"/>
                <a:gd name="T1" fmla="*/ 0 h 816"/>
                <a:gd name="T2" fmla="*/ 0 w 376"/>
                <a:gd name="T3" fmla="*/ 189 h 816"/>
                <a:gd name="T4" fmla="*/ 0 w 376"/>
                <a:gd name="T5" fmla="*/ 628 h 816"/>
                <a:gd name="T6" fmla="*/ 188 w 376"/>
                <a:gd name="T7" fmla="*/ 816 h 816"/>
                <a:gd name="T8" fmla="*/ 376 w 376"/>
                <a:gd name="T9" fmla="*/ 628 h 816"/>
                <a:gd name="T10" fmla="*/ 376 w 376"/>
                <a:gd name="T11" fmla="*/ 189 h 816"/>
                <a:gd name="T12" fmla="*/ 188 w 376"/>
                <a:gd name="T13" fmla="*/ 0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6" h="816">
                  <a:moveTo>
                    <a:pt x="188" y="0"/>
                  </a:moveTo>
                  <a:cubicBezTo>
                    <a:pt x="84" y="0"/>
                    <a:pt x="0" y="85"/>
                    <a:pt x="0" y="189"/>
                  </a:cubicBezTo>
                  <a:lnTo>
                    <a:pt x="0" y="628"/>
                  </a:lnTo>
                  <a:cubicBezTo>
                    <a:pt x="0" y="732"/>
                    <a:pt x="84" y="816"/>
                    <a:pt x="188" y="816"/>
                  </a:cubicBezTo>
                  <a:cubicBezTo>
                    <a:pt x="292" y="816"/>
                    <a:pt x="376" y="732"/>
                    <a:pt x="376" y="628"/>
                  </a:cubicBezTo>
                  <a:lnTo>
                    <a:pt x="376" y="189"/>
                  </a:lnTo>
                  <a:cubicBezTo>
                    <a:pt x="376" y="85"/>
                    <a:pt x="292" y="0"/>
                    <a:pt x="188" y="0"/>
                  </a:cubicBezTo>
                  <a:close/>
                </a:path>
              </a:pathLst>
            </a:custGeom>
            <a:gradFill>
              <a:gsLst>
                <a:gs pos="0">
                  <a:srgbClr val="FEC232"/>
                </a:gs>
                <a:gs pos="100000">
                  <a:srgbClr val="DF6F51"/>
                </a:gs>
              </a:gsLst>
              <a:lin ang="27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3"/>
            <p:cNvSpPr>
              <a:spLocks/>
            </p:cNvSpPr>
            <p:nvPr/>
          </p:nvSpPr>
          <p:spPr bwMode="auto">
            <a:xfrm>
              <a:off x="7518400" y="3536951"/>
              <a:ext cx="57150" cy="73025"/>
            </a:xfrm>
            <a:custGeom>
              <a:avLst/>
              <a:gdLst>
                <a:gd name="T0" fmla="*/ 559 w 681"/>
                <a:gd name="T1" fmla="*/ 52 h 869"/>
                <a:gd name="T2" fmla="*/ 302 w 681"/>
                <a:gd name="T3" fmla="*/ 122 h 869"/>
                <a:gd name="T4" fmla="*/ 52 w 681"/>
                <a:gd name="T5" fmla="*/ 561 h 869"/>
                <a:gd name="T6" fmla="*/ 122 w 681"/>
                <a:gd name="T7" fmla="*/ 818 h 869"/>
                <a:gd name="T8" fmla="*/ 379 w 681"/>
                <a:gd name="T9" fmla="*/ 748 h 869"/>
                <a:gd name="T10" fmla="*/ 629 w 681"/>
                <a:gd name="T11" fmla="*/ 308 h 869"/>
                <a:gd name="T12" fmla="*/ 559 w 681"/>
                <a:gd name="T13" fmla="*/ 52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1" h="869">
                  <a:moveTo>
                    <a:pt x="559" y="52"/>
                  </a:moveTo>
                  <a:cubicBezTo>
                    <a:pt x="469" y="0"/>
                    <a:pt x="354" y="32"/>
                    <a:pt x="302" y="122"/>
                  </a:cubicBezTo>
                  <a:lnTo>
                    <a:pt x="52" y="561"/>
                  </a:lnTo>
                  <a:cubicBezTo>
                    <a:pt x="0" y="651"/>
                    <a:pt x="32" y="766"/>
                    <a:pt x="122" y="818"/>
                  </a:cubicBezTo>
                  <a:cubicBezTo>
                    <a:pt x="212" y="869"/>
                    <a:pt x="327" y="838"/>
                    <a:pt x="379" y="748"/>
                  </a:cubicBezTo>
                  <a:lnTo>
                    <a:pt x="629" y="308"/>
                  </a:lnTo>
                  <a:cubicBezTo>
                    <a:pt x="681" y="218"/>
                    <a:pt x="649" y="103"/>
                    <a:pt x="559" y="52"/>
                  </a:cubicBezTo>
                  <a:close/>
                </a:path>
              </a:pathLst>
            </a:custGeom>
            <a:gradFill>
              <a:gsLst>
                <a:gs pos="0">
                  <a:srgbClr val="FEC232"/>
                </a:gs>
                <a:gs pos="100000">
                  <a:srgbClr val="DF6F51"/>
                </a:gs>
              </a:gsLst>
              <a:lin ang="27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34"/>
            <p:cNvSpPr>
              <a:spLocks/>
            </p:cNvSpPr>
            <p:nvPr/>
          </p:nvSpPr>
          <p:spPr bwMode="auto">
            <a:xfrm>
              <a:off x="7743825" y="3536951"/>
              <a:ext cx="57150" cy="73025"/>
            </a:xfrm>
            <a:custGeom>
              <a:avLst/>
              <a:gdLst>
                <a:gd name="T0" fmla="*/ 379 w 681"/>
                <a:gd name="T1" fmla="*/ 122 h 869"/>
                <a:gd name="T2" fmla="*/ 122 w 681"/>
                <a:gd name="T3" fmla="*/ 52 h 869"/>
                <a:gd name="T4" fmla="*/ 52 w 681"/>
                <a:gd name="T5" fmla="*/ 308 h 869"/>
                <a:gd name="T6" fmla="*/ 302 w 681"/>
                <a:gd name="T7" fmla="*/ 748 h 869"/>
                <a:gd name="T8" fmla="*/ 559 w 681"/>
                <a:gd name="T9" fmla="*/ 818 h 869"/>
                <a:gd name="T10" fmla="*/ 629 w 681"/>
                <a:gd name="T11" fmla="*/ 561 h 869"/>
                <a:gd name="T12" fmla="*/ 379 w 681"/>
                <a:gd name="T13" fmla="*/ 122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1" h="869">
                  <a:moveTo>
                    <a:pt x="379" y="122"/>
                  </a:moveTo>
                  <a:cubicBezTo>
                    <a:pt x="327" y="32"/>
                    <a:pt x="212" y="0"/>
                    <a:pt x="122" y="52"/>
                  </a:cubicBezTo>
                  <a:cubicBezTo>
                    <a:pt x="32" y="103"/>
                    <a:pt x="0" y="218"/>
                    <a:pt x="52" y="308"/>
                  </a:cubicBezTo>
                  <a:lnTo>
                    <a:pt x="302" y="748"/>
                  </a:lnTo>
                  <a:cubicBezTo>
                    <a:pt x="354" y="838"/>
                    <a:pt x="469" y="869"/>
                    <a:pt x="559" y="818"/>
                  </a:cubicBezTo>
                  <a:cubicBezTo>
                    <a:pt x="649" y="766"/>
                    <a:pt x="681" y="651"/>
                    <a:pt x="629" y="561"/>
                  </a:cubicBezTo>
                  <a:lnTo>
                    <a:pt x="379" y="122"/>
                  </a:lnTo>
                  <a:close/>
                </a:path>
              </a:pathLst>
            </a:custGeom>
            <a:gradFill>
              <a:gsLst>
                <a:gs pos="0">
                  <a:srgbClr val="FEC232"/>
                </a:gs>
                <a:gs pos="100000">
                  <a:srgbClr val="DF6F51"/>
                </a:gs>
              </a:gsLst>
              <a:lin ang="27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1" name="Groupe 260"/>
          <p:cNvGrpSpPr/>
          <p:nvPr/>
        </p:nvGrpSpPr>
        <p:grpSpPr>
          <a:xfrm>
            <a:off x="10492175" y="3052766"/>
            <a:ext cx="430213" cy="538163"/>
            <a:chOff x="10526713" y="3094038"/>
            <a:chExt cx="430213" cy="538163"/>
          </a:xfrm>
        </p:grpSpPr>
        <p:sp>
          <p:nvSpPr>
            <p:cNvPr id="202" name="Freeform 38"/>
            <p:cNvSpPr>
              <a:spLocks noEditPoints="1"/>
            </p:cNvSpPr>
            <p:nvPr/>
          </p:nvSpPr>
          <p:spPr bwMode="auto">
            <a:xfrm>
              <a:off x="10526713" y="3094038"/>
              <a:ext cx="430213" cy="538163"/>
            </a:xfrm>
            <a:custGeom>
              <a:avLst/>
              <a:gdLst>
                <a:gd name="T0" fmla="*/ 5114 w 5114"/>
                <a:gd name="T1" fmla="*/ 4594 h 6400"/>
                <a:gd name="T2" fmla="*/ 4832 w 5114"/>
                <a:gd name="T3" fmla="*/ 0 h 6400"/>
                <a:gd name="T4" fmla="*/ 337 w 5114"/>
                <a:gd name="T5" fmla="*/ 282 h 6400"/>
                <a:gd name="T6" fmla="*/ 0 w 5114"/>
                <a:gd name="T7" fmla="*/ 1183 h 6400"/>
                <a:gd name="T8" fmla="*/ 337 w 5114"/>
                <a:gd name="T9" fmla="*/ 1782 h 6400"/>
                <a:gd name="T10" fmla="*/ 337 w 5114"/>
                <a:gd name="T11" fmla="*/ 2602 h 6400"/>
                <a:gd name="T12" fmla="*/ 0 w 5114"/>
                <a:gd name="T13" fmla="*/ 3200 h 6400"/>
                <a:gd name="T14" fmla="*/ 337 w 5114"/>
                <a:gd name="T15" fmla="*/ 3798 h 6400"/>
                <a:gd name="T16" fmla="*/ 337 w 5114"/>
                <a:gd name="T17" fmla="*/ 4618 h 6400"/>
                <a:gd name="T18" fmla="*/ 0 w 5114"/>
                <a:gd name="T19" fmla="*/ 5217 h 6400"/>
                <a:gd name="T20" fmla="*/ 337 w 5114"/>
                <a:gd name="T21" fmla="*/ 6118 h 6400"/>
                <a:gd name="T22" fmla="*/ 4832 w 5114"/>
                <a:gd name="T23" fmla="*/ 6400 h 6400"/>
                <a:gd name="T24" fmla="*/ 5114 w 5114"/>
                <a:gd name="T25" fmla="*/ 4970 h 6400"/>
                <a:gd name="T26" fmla="*/ 4926 w 5114"/>
                <a:gd name="T27" fmla="*/ 4970 h 6400"/>
                <a:gd name="T28" fmla="*/ 4832 w 5114"/>
                <a:gd name="T29" fmla="*/ 6212 h 6400"/>
                <a:gd name="T30" fmla="*/ 525 w 5114"/>
                <a:gd name="T31" fmla="*/ 6118 h 6400"/>
                <a:gd name="T32" fmla="*/ 648 w 5114"/>
                <a:gd name="T33" fmla="*/ 5217 h 6400"/>
                <a:gd name="T34" fmla="*/ 835 w 5114"/>
                <a:gd name="T35" fmla="*/ 5217 h 6400"/>
                <a:gd name="T36" fmla="*/ 525 w 5114"/>
                <a:gd name="T37" fmla="*/ 4005 h 6400"/>
                <a:gd name="T38" fmla="*/ 742 w 5114"/>
                <a:gd name="T39" fmla="*/ 4302 h 6400"/>
                <a:gd name="T40" fmla="*/ 525 w 5114"/>
                <a:gd name="T41" fmla="*/ 3804 h 6400"/>
                <a:gd name="T42" fmla="*/ 648 w 5114"/>
                <a:gd name="T43" fmla="*/ 3200 h 6400"/>
                <a:gd name="T44" fmla="*/ 835 w 5114"/>
                <a:gd name="T45" fmla="*/ 3200 h 6400"/>
                <a:gd name="T46" fmla="*/ 525 w 5114"/>
                <a:gd name="T47" fmla="*/ 1988 h 6400"/>
                <a:gd name="T48" fmla="*/ 742 w 5114"/>
                <a:gd name="T49" fmla="*/ 2286 h 6400"/>
                <a:gd name="T50" fmla="*/ 525 w 5114"/>
                <a:gd name="T51" fmla="*/ 1788 h 6400"/>
                <a:gd name="T52" fmla="*/ 648 w 5114"/>
                <a:gd name="T53" fmla="*/ 1183 h 6400"/>
                <a:gd name="T54" fmla="*/ 835 w 5114"/>
                <a:gd name="T55" fmla="*/ 1183 h 6400"/>
                <a:gd name="T56" fmla="*/ 525 w 5114"/>
                <a:gd name="T57" fmla="*/ 282 h 6400"/>
                <a:gd name="T58" fmla="*/ 4832 w 5114"/>
                <a:gd name="T59" fmla="*/ 188 h 6400"/>
                <a:gd name="T60" fmla="*/ 4926 w 5114"/>
                <a:gd name="T61" fmla="*/ 4594 h 6400"/>
                <a:gd name="T62" fmla="*/ 188 w 5114"/>
                <a:gd name="T63" fmla="*/ 1183 h 6400"/>
                <a:gd name="T64" fmla="*/ 337 w 5114"/>
                <a:gd name="T65" fmla="*/ 1399 h 6400"/>
                <a:gd name="T66" fmla="*/ 188 w 5114"/>
                <a:gd name="T67" fmla="*/ 2192 h 6400"/>
                <a:gd name="T68" fmla="*/ 337 w 5114"/>
                <a:gd name="T69" fmla="*/ 2407 h 6400"/>
                <a:gd name="T70" fmla="*/ 188 w 5114"/>
                <a:gd name="T71" fmla="*/ 3200 h 6400"/>
                <a:gd name="T72" fmla="*/ 337 w 5114"/>
                <a:gd name="T73" fmla="*/ 3415 h 6400"/>
                <a:gd name="T74" fmla="*/ 188 w 5114"/>
                <a:gd name="T75" fmla="*/ 4208 h 6400"/>
                <a:gd name="T76" fmla="*/ 337 w 5114"/>
                <a:gd name="T77" fmla="*/ 4424 h 6400"/>
                <a:gd name="T78" fmla="*/ 188 w 5114"/>
                <a:gd name="T79" fmla="*/ 5217 h 6400"/>
                <a:gd name="T80" fmla="*/ 337 w 5114"/>
                <a:gd name="T81" fmla="*/ 5432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14" h="6400">
                  <a:moveTo>
                    <a:pt x="5020" y="4688"/>
                  </a:moveTo>
                  <a:cubicBezTo>
                    <a:pt x="5072" y="4688"/>
                    <a:pt x="5114" y="4646"/>
                    <a:pt x="5114" y="4594"/>
                  </a:cubicBezTo>
                  <a:lnTo>
                    <a:pt x="5114" y="282"/>
                  </a:lnTo>
                  <a:cubicBezTo>
                    <a:pt x="5114" y="126"/>
                    <a:pt x="4988" y="0"/>
                    <a:pt x="4832" y="0"/>
                  </a:cubicBezTo>
                  <a:lnTo>
                    <a:pt x="619" y="0"/>
                  </a:lnTo>
                  <a:cubicBezTo>
                    <a:pt x="464" y="0"/>
                    <a:pt x="337" y="126"/>
                    <a:pt x="337" y="282"/>
                  </a:cubicBezTo>
                  <a:lnTo>
                    <a:pt x="337" y="773"/>
                  </a:lnTo>
                  <a:cubicBezTo>
                    <a:pt x="145" y="811"/>
                    <a:pt x="0" y="981"/>
                    <a:pt x="0" y="1183"/>
                  </a:cubicBezTo>
                  <a:cubicBezTo>
                    <a:pt x="0" y="1386"/>
                    <a:pt x="145" y="1556"/>
                    <a:pt x="337" y="1593"/>
                  </a:cubicBezTo>
                  <a:lnTo>
                    <a:pt x="337" y="1782"/>
                  </a:lnTo>
                  <a:cubicBezTo>
                    <a:pt x="145" y="1819"/>
                    <a:pt x="0" y="1989"/>
                    <a:pt x="0" y="2192"/>
                  </a:cubicBezTo>
                  <a:cubicBezTo>
                    <a:pt x="0" y="2395"/>
                    <a:pt x="145" y="2564"/>
                    <a:pt x="337" y="2602"/>
                  </a:cubicBezTo>
                  <a:lnTo>
                    <a:pt x="337" y="2790"/>
                  </a:lnTo>
                  <a:cubicBezTo>
                    <a:pt x="145" y="2828"/>
                    <a:pt x="0" y="2997"/>
                    <a:pt x="0" y="3200"/>
                  </a:cubicBezTo>
                  <a:cubicBezTo>
                    <a:pt x="0" y="3403"/>
                    <a:pt x="145" y="3572"/>
                    <a:pt x="337" y="3610"/>
                  </a:cubicBezTo>
                  <a:lnTo>
                    <a:pt x="337" y="3798"/>
                  </a:lnTo>
                  <a:cubicBezTo>
                    <a:pt x="145" y="3836"/>
                    <a:pt x="0" y="4005"/>
                    <a:pt x="0" y="4208"/>
                  </a:cubicBezTo>
                  <a:cubicBezTo>
                    <a:pt x="0" y="4411"/>
                    <a:pt x="145" y="4581"/>
                    <a:pt x="337" y="4618"/>
                  </a:cubicBezTo>
                  <a:lnTo>
                    <a:pt x="337" y="4807"/>
                  </a:lnTo>
                  <a:cubicBezTo>
                    <a:pt x="145" y="4844"/>
                    <a:pt x="0" y="5014"/>
                    <a:pt x="0" y="5217"/>
                  </a:cubicBezTo>
                  <a:cubicBezTo>
                    <a:pt x="0" y="5419"/>
                    <a:pt x="145" y="5589"/>
                    <a:pt x="337" y="5627"/>
                  </a:cubicBezTo>
                  <a:lnTo>
                    <a:pt x="337" y="6118"/>
                  </a:lnTo>
                  <a:cubicBezTo>
                    <a:pt x="337" y="6274"/>
                    <a:pt x="464" y="6400"/>
                    <a:pt x="619" y="6400"/>
                  </a:cubicBezTo>
                  <a:lnTo>
                    <a:pt x="4832" y="6400"/>
                  </a:lnTo>
                  <a:cubicBezTo>
                    <a:pt x="4988" y="6400"/>
                    <a:pt x="5114" y="6274"/>
                    <a:pt x="5114" y="6118"/>
                  </a:cubicBezTo>
                  <a:lnTo>
                    <a:pt x="5114" y="4970"/>
                  </a:lnTo>
                  <a:cubicBezTo>
                    <a:pt x="5114" y="4918"/>
                    <a:pt x="5072" y="4876"/>
                    <a:pt x="5020" y="4876"/>
                  </a:cubicBezTo>
                  <a:cubicBezTo>
                    <a:pt x="4968" y="4876"/>
                    <a:pt x="4926" y="4918"/>
                    <a:pt x="4926" y="4970"/>
                  </a:cubicBezTo>
                  <a:lnTo>
                    <a:pt x="4926" y="6118"/>
                  </a:lnTo>
                  <a:cubicBezTo>
                    <a:pt x="4926" y="6170"/>
                    <a:pt x="4884" y="6212"/>
                    <a:pt x="4832" y="6212"/>
                  </a:cubicBezTo>
                  <a:lnTo>
                    <a:pt x="619" y="6212"/>
                  </a:lnTo>
                  <a:cubicBezTo>
                    <a:pt x="567" y="6212"/>
                    <a:pt x="525" y="6170"/>
                    <a:pt x="525" y="6118"/>
                  </a:cubicBezTo>
                  <a:lnTo>
                    <a:pt x="525" y="5013"/>
                  </a:lnTo>
                  <a:cubicBezTo>
                    <a:pt x="598" y="5052"/>
                    <a:pt x="648" y="5129"/>
                    <a:pt x="648" y="5217"/>
                  </a:cubicBezTo>
                  <a:cubicBezTo>
                    <a:pt x="648" y="5268"/>
                    <a:pt x="690" y="5311"/>
                    <a:pt x="742" y="5311"/>
                  </a:cubicBezTo>
                  <a:cubicBezTo>
                    <a:pt x="793" y="5311"/>
                    <a:pt x="835" y="5268"/>
                    <a:pt x="835" y="5217"/>
                  </a:cubicBezTo>
                  <a:cubicBezTo>
                    <a:pt x="835" y="5023"/>
                    <a:pt x="704" y="4860"/>
                    <a:pt x="525" y="4813"/>
                  </a:cubicBezTo>
                  <a:lnTo>
                    <a:pt x="525" y="4005"/>
                  </a:lnTo>
                  <a:cubicBezTo>
                    <a:pt x="598" y="4044"/>
                    <a:pt x="648" y="4120"/>
                    <a:pt x="648" y="4208"/>
                  </a:cubicBezTo>
                  <a:cubicBezTo>
                    <a:pt x="648" y="4260"/>
                    <a:pt x="690" y="4302"/>
                    <a:pt x="742" y="4302"/>
                  </a:cubicBezTo>
                  <a:cubicBezTo>
                    <a:pt x="793" y="4302"/>
                    <a:pt x="835" y="4260"/>
                    <a:pt x="835" y="4208"/>
                  </a:cubicBezTo>
                  <a:cubicBezTo>
                    <a:pt x="835" y="4015"/>
                    <a:pt x="704" y="3852"/>
                    <a:pt x="525" y="3804"/>
                  </a:cubicBezTo>
                  <a:lnTo>
                    <a:pt x="525" y="2997"/>
                  </a:lnTo>
                  <a:cubicBezTo>
                    <a:pt x="598" y="3035"/>
                    <a:pt x="648" y="3112"/>
                    <a:pt x="648" y="3200"/>
                  </a:cubicBezTo>
                  <a:cubicBezTo>
                    <a:pt x="648" y="3252"/>
                    <a:pt x="690" y="3294"/>
                    <a:pt x="742" y="3294"/>
                  </a:cubicBezTo>
                  <a:cubicBezTo>
                    <a:pt x="793" y="3294"/>
                    <a:pt x="835" y="3252"/>
                    <a:pt x="835" y="3200"/>
                  </a:cubicBezTo>
                  <a:cubicBezTo>
                    <a:pt x="835" y="3007"/>
                    <a:pt x="704" y="2844"/>
                    <a:pt x="525" y="2796"/>
                  </a:cubicBezTo>
                  <a:lnTo>
                    <a:pt x="525" y="1988"/>
                  </a:lnTo>
                  <a:cubicBezTo>
                    <a:pt x="598" y="2027"/>
                    <a:pt x="648" y="2104"/>
                    <a:pt x="648" y="2192"/>
                  </a:cubicBezTo>
                  <a:cubicBezTo>
                    <a:pt x="648" y="2244"/>
                    <a:pt x="690" y="2286"/>
                    <a:pt x="742" y="2286"/>
                  </a:cubicBezTo>
                  <a:cubicBezTo>
                    <a:pt x="793" y="2286"/>
                    <a:pt x="835" y="2244"/>
                    <a:pt x="835" y="2192"/>
                  </a:cubicBezTo>
                  <a:cubicBezTo>
                    <a:pt x="835" y="1998"/>
                    <a:pt x="704" y="1835"/>
                    <a:pt x="525" y="1788"/>
                  </a:cubicBezTo>
                  <a:lnTo>
                    <a:pt x="525" y="980"/>
                  </a:lnTo>
                  <a:cubicBezTo>
                    <a:pt x="598" y="1019"/>
                    <a:pt x="648" y="1095"/>
                    <a:pt x="648" y="1183"/>
                  </a:cubicBezTo>
                  <a:cubicBezTo>
                    <a:pt x="648" y="1235"/>
                    <a:pt x="690" y="1277"/>
                    <a:pt x="742" y="1277"/>
                  </a:cubicBezTo>
                  <a:cubicBezTo>
                    <a:pt x="793" y="1277"/>
                    <a:pt x="835" y="1235"/>
                    <a:pt x="835" y="1183"/>
                  </a:cubicBezTo>
                  <a:cubicBezTo>
                    <a:pt x="835" y="990"/>
                    <a:pt x="704" y="827"/>
                    <a:pt x="525" y="780"/>
                  </a:cubicBezTo>
                  <a:lnTo>
                    <a:pt x="525" y="282"/>
                  </a:lnTo>
                  <a:cubicBezTo>
                    <a:pt x="525" y="230"/>
                    <a:pt x="567" y="188"/>
                    <a:pt x="619" y="188"/>
                  </a:cubicBezTo>
                  <a:lnTo>
                    <a:pt x="4832" y="188"/>
                  </a:lnTo>
                  <a:cubicBezTo>
                    <a:pt x="4884" y="188"/>
                    <a:pt x="4926" y="230"/>
                    <a:pt x="4926" y="282"/>
                  </a:cubicBezTo>
                  <a:lnTo>
                    <a:pt x="4926" y="4594"/>
                  </a:lnTo>
                  <a:cubicBezTo>
                    <a:pt x="4926" y="4646"/>
                    <a:pt x="4968" y="4688"/>
                    <a:pt x="5020" y="4688"/>
                  </a:cubicBezTo>
                  <a:close/>
                  <a:moveTo>
                    <a:pt x="188" y="1183"/>
                  </a:moveTo>
                  <a:cubicBezTo>
                    <a:pt x="188" y="1085"/>
                    <a:pt x="250" y="1001"/>
                    <a:pt x="337" y="968"/>
                  </a:cubicBezTo>
                  <a:lnTo>
                    <a:pt x="337" y="1399"/>
                  </a:lnTo>
                  <a:cubicBezTo>
                    <a:pt x="250" y="1366"/>
                    <a:pt x="188" y="1282"/>
                    <a:pt x="188" y="1183"/>
                  </a:cubicBezTo>
                  <a:close/>
                  <a:moveTo>
                    <a:pt x="188" y="2192"/>
                  </a:moveTo>
                  <a:cubicBezTo>
                    <a:pt x="188" y="2093"/>
                    <a:pt x="250" y="2009"/>
                    <a:pt x="337" y="1977"/>
                  </a:cubicBezTo>
                  <a:lnTo>
                    <a:pt x="337" y="2407"/>
                  </a:lnTo>
                  <a:cubicBezTo>
                    <a:pt x="250" y="2374"/>
                    <a:pt x="188" y="2290"/>
                    <a:pt x="188" y="2192"/>
                  </a:cubicBezTo>
                  <a:close/>
                  <a:moveTo>
                    <a:pt x="188" y="3200"/>
                  </a:moveTo>
                  <a:cubicBezTo>
                    <a:pt x="188" y="3102"/>
                    <a:pt x="250" y="3018"/>
                    <a:pt x="337" y="2985"/>
                  </a:cubicBezTo>
                  <a:lnTo>
                    <a:pt x="337" y="3415"/>
                  </a:lnTo>
                  <a:cubicBezTo>
                    <a:pt x="250" y="3382"/>
                    <a:pt x="188" y="3299"/>
                    <a:pt x="188" y="3200"/>
                  </a:cubicBezTo>
                  <a:close/>
                  <a:moveTo>
                    <a:pt x="188" y="4208"/>
                  </a:moveTo>
                  <a:cubicBezTo>
                    <a:pt x="188" y="4110"/>
                    <a:pt x="250" y="4026"/>
                    <a:pt x="337" y="3993"/>
                  </a:cubicBezTo>
                  <a:lnTo>
                    <a:pt x="337" y="4424"/>
                  </a:lnTo>
                  <a:cubicBezTo>
                    <a:pt x="250" y="4391"/>
                    <a:pt x="188" y="4307"/>
                    <a:pt x="188" y="4208"/>
                  </a:cubicBezTo>
                  <a:close/>
                  <a:moveTo>
                    <a:pt x="188" y="5217"/>
                  </a:moveTo>
                  <a:cubicBezTo>
                    <a:pt x="188" y="5118"/>
                    <a:pt x="250" y="5034"/>
                    <a:pt x="337" y="5001"/>
                  </a:cubicBezTo>
                  <a:lnTo>
                    <a:pt x="337" y="5432"/>
                  </a:lnTo>
                  <a:cubicBezTo>
                    <a:pt x="250" y="5399"/>
                    <a:pt x="188" y="5315"/>
                    <a:pt x="188" y="5217"/>
                  </a:cubicBezTo>
                  <a:close/>
                </a:path>
              </a:pathLst>
            </a:custGeom>
            <a:gradFill>
              <a:gsLst>
                <a:gs pos="0">
                  <a:srgbClr val="FEC232"/>
                </a:gs>
                <a:gs pos="100000">
                  <a:srgbClr val="DF6F51"/>
                </a:gs>
              </a:gsLst>
              <a:lin ang="27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39"/>
            <p:cNvSpPr>
              <a:spLocks/>
            </p:cNvSpPr>
            <p:nvPr/>
          </p:nvSpPr>
          <p:spPr bwMode="auto">
            <a:xfrm>
              <a:off x="10779126" y="3152776"/>
              <a:ext cx="114300" cy="115888"/>
            </a:xfrm>
            <a:custGeom>
              <a:avLst/>
              <a:gdLst>
                <a:gd name="T0" fmla="*/ 94 w 1374"/>
                <a:gd name="T1" fmla="*/ 0 h 1374"/>
                <a:gd name="T2" fmla="*/ 0 w 1374"/>
                <a:gd name="T3" fmla="*/ 93 h 1374"/>
                <a:gd name="T4" fmla="*/ 0 w 1374"/>
                <a:gd name="T5" fmla="*/ 499 h 1374"/>
                <a:gd name="T6" fmla="*/ 94 w 1374"/>
                <a:gd name="T7" fmla="*/ 593 h 1374"/>
                <a:gd name="T8" fmla="*/ 187 w 1374"/>
                <a:gd name="T9" fmla="*/ 499 h 1374"/>
                <a:gd name="T10" fmla="*/ 187 w 1374"/>
                <a:gd name="T11" fmla="*/ 191 h 1374"/>
                <a:gd name="T12" fmla="*/ 1182 w 1374"/>
                <a:gd name="T13" fmla="*/ 1186 h 1374"/>
                <a:gd name="T14" fmla="*/ 187 w 1374"/>
                <a:gd name="T15" fmla="*/ 1186 h 1374"/>
                <a:gd name="T16" fmla="*/ 187 w 1374"/>
                <a:gd name="T17" fmla="*/ 875 h 1374"/>
                <a:gd name="T18" fmla="*/ 94 w 1374"/>
                <a:gd name="T19" fmla="*/ 781 h 1374"/>
                <a:gd name="T20" fmla="*/ 0 w 1374"/>
                <a:gd name="T21" fmla="*/ 875 h 1374"/>
                <a:gd name="T22" fmla="*/ 0 w 1374"/>
                <a:gd name="T23" fmla="*/ 1280 h 1374"/>
                <a:gd name="T24" fmla="*/ 94 w 1374"/>
                <a:gd name="T25" fmla="*/ 1374 h 1374"/>
                <a:gd name="T26" fmla="*/ 1280 w 1374"/>
                <a:gd name="T27" fmla="*/ 1374 h 1374"/>
                <a:gd name="T28" fmla="*/ 1374 w 1374"/>
                <a:gd name="T29" fmla="*/ 1280 h 1374"/>
                <a:gd name="T30" fmla="*/ 94 w 1374"/>
                <a:gd name="T31" fmla="*/ 0 h 1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74" h="1374">
                  <a:moveTo>
                    <a:pt x="94" y="0"/>
                  </a:moveTo>
                  <a:cubicBezTo>
                    <a:pt x="42" y="0"/>
                    <a:pt x="0" y="42"/>
                    <a:pt x="0" y="93"/>
                  </a:cubicBezTo>
                  <a:lnTo>
                    <a:pt x="0" y="499"/>
                  </a:lnTo>
                  <a:cubicBezTo>
                    <a:pt x="0" y="551"/>
                    <a:pt x="42" y="593"/>
                    <a:pt x="94" y="593"/>
                  </a:cubicBezTo>
                  <a:cubicBezTo>
                    <a:pt x="145" y="593"/>
                    <a:pt x="187" y="551"/>
                    <a:pt x="187" y="499"/>
                  </a:cubicBezTo>
                  <a:lnTo>
                    <a:pt x="187" y="191"/>
                  </a:lnTo>
                  <a:cubicBezTo>
                    <a:pt x="715" y="237"/>
                    <a:pt x="1137" y="658"/>
                    <a:pt x="1182" y="1186"/>
                  </a:cubicBezTo>
                  <a:lnTo>
                    <a:pt x="187" y="1186"/>
                  </a:lnTo>
                  <a:lnTo>
                    <a:pt x="187" y="875"/>
                  </a:lnTo>
                  <a:cubicBezTo>
                    <a:pt x="187" y="823"/>
                    <a:pt x="145" y="781"/>
                    <a:pt x="94" y="781"/>
                  </a:cubicBezTo>
                  <a:cubicBezTo>
                    <a:pt x="42" y="781"/>
                    <a:pt x="0" y="823"/>
                    <a:pt x="0" y="875"/>
                  </a:cubicBezTo>
                  <a:lnTo>
                    <a:pt x="0" y="1280"/>
                  </a:lnTo>
                  <a:cubicBezTo>
                    <a:pt x="0" y="1332"/>
                    <a:pt x="42" y="1374"/>
                    <a:pt x="94" y="1374"/>
                  </a:cubicBezTo>
                  <a:lnTo>
                    <a:pt x="1280" y="1374"/>
                  </a:lnTo>
                  <a:cubicBezTo>
                    <a:pt x="1332" y="1374"/>
                    <a:pt x="1374" y="1332"/>
                    <a:pt x="1374" y="1280"/>
                  </a:cubicBezTo>
                  <a:cubicBezTo>
                    <a:pt x="1374" y="574"/>
                    <a:pt x="800" y="0"/>
                    <a:pt x="94" y="0"/>
                  </a:cubicBezTo>
                  <a:close/>
                </a:path>
              </a:pathLst>
            </a:custGeom>
            <a:gradFill>
              <a:gsLst>
                <a:gs pos="0">
                  <a:srgbClr val="FEC232"/>
                </a:gs>
                <a:gs pos="100000">
                  <a:srgbClr val="DF6F51"/>
                </a:gs>
              </a:gsLst>
              <a:lin ang="27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40"/>
            <p:cNvSpPr>
              <a:spLocks noEditPoints="1"/>
            </p:cNvSpPr>
            <p:nvPr/>
          </p:nvSpPr>
          <p:spPr bwMode="auto">
            <a:xfrm>
              <a:off x="10653713" y="3192463"/>
              <a:ext cx="200025" cy="200025"/>
            </a:xfrm>
            <a:custGeom>
              <a:avLst/>
              <a:gdLst>
                <a:gd name="T0" fmla="*/ 1186 w 2373"/>
                <a:gd name="T1" fmla="*/ 0 h 2373"/>
                <a:gd name="T2" fmla="*/ 0 w 2373"/>
                <a:gd name="T3" fmla="*/ 1186 h 2373"/>
                <a:gd name="T4" fmla="*/ 94 w 2373"/>
                <a:gd name="T5" fmla="*/ 1280 h 2373"/>
                <a:gd name="T6" fmla="*/ 188 w 2373"/>
                <a:gd name="T7" fmla="*/ 1186 h 2373"/>
                <a:gd name="T8" fmla="*/ 1092 w 2373"/>
                <a:gd name="T9" fmla="*/ 192 h 2373"/>
                <a:gd name="T10" fmla="*/ 1092 w 2373"/>
                <a:gd name="T11" fmla="*/ 1186 h 2373"/>
                <a:gd name="T12" fmla="*/ 1099 w 2373"/>
                <a:gd name="T13" fmla="*/ 1220 h 2373"/>
                <a:gd name="T14" fmla="*/ 1450 w 2373"/>
                <a:gd name="T15" fmla="*/ 2150 h 2373"/>
                <a:gd name="T16" fmla="*/ 1186 w 2373"/>
                <a:gd name="T17" fmla="*/ 2185 h 2373"/>
                <a:gd name="T18" fmla="*/ 246 w 2373"/>
                <a:gd name="T19" fmla="*/ 1525 h 2373"/>
                <a:gd name="T20" fmla="*/ 126 w 2373"/>
                <a:gd name="T21" fmla="*/ 1468 h 2373"/>
                <a:gd name="T22" fmla="*/ 69 w 2373"/>
                <a:gd name="T23" fmla="*/ 1588 h 2373"/>
                <a:gd name="T24" fmla="*/ 1186 w 2373"/>
                <a:gd name="T25" fmla="*/ 2373 h 2373"/>
                <a:gd name="T26" fmla="*/ 1601 w 2373"/>
                <a:gd name="T27" fmla="*/ 2298 h 2373"/>
                <a:gd name="T28" fmla="*/ 1606 w 2373"/>
                <a:gd name="T29" fmla="*/ 2297 h 2373"/>
                <a:gd name="T30" fmla="*/ 1611 w 2373"/>
                <a:gd name="T31" fmla="*/ 2294 h 2373"/>
                <a:gd name="T32" fmla="*/ 2373 w 2373"/>
                <a:gd name="T33" fmla="*/ 1186 h 2373"/>
                <a:gd name="T34" fmla="*/ 2279 w 2373"/>
                <a:gd name="T35" fmla="*/ 1092 h 2373"/>
                <a:gd name="T36" fmla="*/ 1280 w 2373"/>
                <a:gd name="T37" fmla="*/ 1092 h 2373"/>
                <a:gd name="T38" fmla="*/ 1280 w 2373"/>
                <a:gd name="T39" fmla="*/ 94 h 2373"/>
                <a:gd name="T40" fmla="*/ 1186 w 2373"/>
                <a:gd name="T41" fmla="*/ 0 h 2373"/>
                <a:gd name="T42" fmla="*/ 1626 w 2373"/>
                <a:gd name="T43" fmla="*/ 2083 h 2373"/>
                <a:gd name="T44" fmla="*/ 1322 w 2373"/>
                <a:gd name="T45" fmla="*/ 1280 h 2373"/>
                <a:gd name="T46" fmla="*/ 2181 w 2373"/>
                <a:gd name="T47" fmla="*/ 1280 h 2373"/>
                <a:gd name="T48" fmla="*/ 1626 w 2373"/>
                <a:gd name="T49" fmla="*/ 2083 h 2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73" h="2373">
                  <a:moveTo>
                    <a:pt x="1186" y="0"/>
                  </a:moveTo>
                  <a:cubicBezTo>
                    <a:pt x="532" y="0"/>
                    <a:pt x="0" y="532"/>
                    <a:pt x="0" y="1186"/>
                  </a:cubicBezTo>
                  <a:cubicBezTo>
                    <a:pt x="0" y="1238"/>
                    <a:pt x="42" y="1280"/>
                    <a:pt x="94" y="1280"/>
                  </a:cubicBezTo>
                  <a:cubicBezTo>
                    <a:pt x="145" y="1280"/>
                    <a:pt x="188" y="1238"/>
                    <a:pt x="188" y="1186"/>
                  </a:cubicBezTo>
                  <a:cubicBezTo>
                    <a:pt x="188" y="667"/>
                    <a:pt x="586" y="239"/>
                    <a:pt x="1092" y="192"/>
                  </a:cubicBezTo>
                  <a:lnTo>
                    <a:pt x="1092" y="1186"/>
                  </a:lnTo>
                  <a:cubicBezTo>
                    <a:pt x="1093" y="1198"/>
                    <a:pt x="1095" y="1209"/>
                    <a:pt x="1099" y="1220"/>
                  </a:cubicBezTo>
                  <a:lnTo>
                    <a:pt x="1450" y="2150"/>
                  </a:lnTo>
                  <a:cubicBezTo>
                    <a:pt x="1366" y="2173"/>
                    <a:pt x="1278" y="2185"/>
                    <a:pt x="1186" y="2185"/>
                  </a:cubicBezTo>
                  <a:cubicBezTo>
                    <a:pt x="766" y="2185"/>
                    <a:pt x="388" y="1920"/>
                    <a:pt x="246" y="1525"/>
                  </a:cubicBezTo>
                  <a:cubicBezTo>
                    <a:pt x="229" y="1476"/>
                    <a:pt x="175" y="1450"/>
                    <a:pt x="126" y="1468"/>
                  </a:cubicBezTo>
                  <a:cubicBezTo>
                    <a:pt x="77" y="1486"/>
                    <a:pt x="52" y="1539"/>
                    <a:pt x="69" y="1588"/>
                  </a:cubicBezTo>
                  <a:cubicBezTo>
                    <a:pt x="238" y="2058"/>
                    <a:pt x="687" y="2373"/>
                    <a:pt x="1186" y="2373"/>
                  </a:cubicBezTo>
                  <a:cubicBezTo>
                    <a:pt x="1332" y="2373"/>
                    <a:pt x="1472" y="2347"/>
                    <a:pt x="1601" y="2298"/>
                  </a:cubicBezTo>
                  <a:cubicBezTo>
                    <a:pt x="1603" y="2298"/>
                    <a:pt x="1605" y="2297"/>
                    <a:pt x="1606" y="2297"/>
                  </a:cubicBezTo>
                  <a:cubicBezTo>
                    <a:pt x="1608" y="2296"/>
                    <a:pt x="1610" y="2295"/>
                    <a:pt x="1611" y="2294"/>
                  </a:cubicBezTo>
                  <a:cubicBezTo>
                    <a:pt x="2056" y="2123"/>
                    <a:pt x="2373" y="1691"/>
                    <a:pt x="2373" y="1186"/>
                  </a:cubicBezTo>
                  <a:cubicBezTo>
                    <a:pt x="2373" y="1134"/>
                    <a:pt x="2331" y="1092"/>
                    <a:pt x="2279" y="1092"/>
                  </a:cubicBezTo>
                  <a:lnTo>
                    <a:pt x="1280" y="1092"/>
                  </a:lnTo>
                  <a:lnTo>
                    <a:pt x="1280" y="94"/>
                  </a:lnTo>
                  <a:cubicBezTo>
                    <a:pt x="1280" y="42"/>
                    <a:pt x="1238" y="0"/>
                    <a:pt x="1186" y="0"/>
                  </a:cubicBezTo>
                  <a:close/>
                  <a:moveTo>
                    <a:pt x="1626" y="2083"/>
                  </a:moveTo>
                  <a:lnTo>
                    <a:pt x="1322" y="1280"/>
                  </a:lnTo>
                  <a:lnTo>
                    <a:pt x="2181" y="1280"/>
                  </a:lnTo>
                  <a:cubicBezTo>
                    <a:pt x="2148" y="1633"/>
                    <a:pt x="1930" y="1933"/>
                    <a:pt x="1626" y="2083"/>
                  </a:cubicBezTo>
                  <a:close/>
                </a:path>
              </a:pathLst>
            </a:custGeom>
            <a:gradFill>
              <a:gsLst>
                <a:gs pos="0">
                  <a:srgbClr val="FEC232"/>
                </a:gs>
                <a:gs pos="100000">
                  <a:srgbClr val="DF6F51"/>
                </a:gs>
              </a:gsLst>
              <a:lin ang="27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41"/>
            <p:cNvSpPr>
              <a:spLocks/>
            </p:cNvSpPr>
            <p:nvPr/>
          </p:nvSpPr>
          <p:spPr bwMode="auto">
            <a:xfrm>
              <a:off x="10642601" y="3440113"/>
              <a:ext cx="250825" cy="15875"/>
            </a:xfrm>
            <a:custGeom>
              <a:avLst/>
              <a:gdLst>
                <a:gd name="T0" fmla="*/ 2893 w 2987"/>
                <a:gd name="T1" fmla="*/ 0 h 188"/>
                <a:gd name="T2" fmla="*/ 94 w 2987"/>
                <a:gd name="T3" fmla="*/ 0 h 188"/>
                <a:gd name="T4" fmla="*/ 0 w 2987"/>
                <a:gd name="T5" fmla="*/ 94 h 188"/>
                <a:gd name="T6" fmla="*/ 94 w 2987"/>
                <a:gd name="T7" fmla="*/ 188 h 188"/>
                <a:gd name="T8" fmla="*/ 2893 w 2987"/>
                <a:gd name="T9" fmla="*/ 188 h 188"/>
                <a:gd name="T10" fmla="*/ 2987 w 2987"/>
                <a:gd name="T11" fmla="*/ 94 h 188"/>
                <a:gd name="T12" fmla="*/ 2893 w 2987"/>
                <a:gd name="T13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87" h="188">
                  <a:moveTo>
                    <a:pt x="2893" y="0"/>
                  </a:moveTo>
                  <a:lnTo>
                    <a:pt x="94" y="0"/>
                  </a:ln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lnTo>
                    <a:pt x="2893" y="188"/>
                  </a:lnTo>
                  <a:cubicBezTo>
                    <a:pt x="2945" y="188"/>
                    <a:pt x="2987" y="146"/>
                    <a:pt x="2987" y="94"/>
                  </a:cubicBezTo>
                  <a:cubicBezTo>
                    <a:pt x="2987" y="42"/>
                    <a:pt x="2945" y="0"/>
                    <a:pt x="2893" y="0"/>
                  </a:cubicBezTo>
                  <a:close/>
                </a:path>
              </a:pathLst>
            </a:custGeom>
            <a:gradFill>
              <a:gsLst>
                <a:gs pos="0">
                  <a:srgbClr val="FEC232"/>
                </a:gs>
                <a:gs pos="100000">
                  <a:srgbClr val="DF6F51"/>
                </a:gs>
              </a:gsLst>
              <a:lin ang="27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42"/>
            <p:cNvSpPr>
              <a:spLocks/>
            </p:cNvSpPr>
            <p:nvPr/>
          </p:nvSpPr>
          <p:spPr bwMode="auto">
            <a:xfrm>
              <a:off x="10642601" y="3487738"/>
              <a:ext cx="250825" cy="15875"/>
            </a:xfrm>
            <a:custGeom>
              <a:avLst/>
              <a:gdLst>
                <a:gd name="T0" fmla="*/ 2987 w 2987"/>
                <a:gd name="T1" fmla="*/ 94 h 188"/>
                <a:gd name="T2" fmla="*/ 2893 w 2987"/>
                <a:gd name="T3" fmla="*/ 0 h 188"/>
                <a:gd name="T4" fmla="*/ 94 w 2987"/>
                <a:gd name="T5" fmla="*/ 0 h 188"/>
                <a:gd name="T6" fmla="*/ 0 w 2987"/>
                <a:gd name="T7" fmla="*/ 94 h 188"/>
                <a:gd name="T8" fmla="*/ 94 w 2987"/>
                <a:gd name="T9" fmla="*/ 188 h 188"/>
                <a:gd name="T10" fmla="*/ 2893 w 2987"/>
                <a:gd name="T11" fmla="*/ 188 h 188"/>
                <a:gd name="T12" fmla="*/ 2987 w 2987"/>
                <a:gd name="T13" fmla="*/ 9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87" h="188">
                  <a:moveTo>
                    <a:pt x="2987" y="94"/>
                  </a:moveTo>
                  <a:cubicBezTo>
                    <a:pt x="2987" y="42"/>
                    <a:pt x="2945" y="0"/>
                    <a:pt x="2893" y="0"/>
                  </a:cubicBezTo>
                  <a:lnTo>
                    <a:pt x="94" y="0"/>
                  </a:ln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lnTo>
                    <a:pt x="2893" y="188"/>
                  </a:lnTo>
                  <a:cubicBezTo>
                    <a:pt x="2945" y="188"/>
                    <a:pt x="2987" y="146"/>
                    <a:pt x="2987" y="94"/>
                  </a:cubicBezTo>
                  <a:close/>
                </a:path>
              </a:pathLst>
            </a:custGeom>
            <a:gradFill>
              <a:gsLst>
                <a:gs pos="0">
                  <a:srgbClr val="FEC232"/>
                </a:gs>
                <a:gs pos="100000">
                  <a:srgbClr val="DF6F51"/>
                </a:gs>
              </a:gsLst>
              <a:lin ang="27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43"/>
            <p:cNvSpPr>
              <a:spLocks/>
            </p:cNvSpPr>
            <p:nvPr/>
          </p:nvSpPr>
          <p:spPr bwMode="auto">
            <a:xfrm>
              <a:off x="10642601" y="3535363"/>
              <a:ext cx="184150" cy="15875"/>
            </a:xfrm>
            <a:custGeom>
              <a:avLst/>
              <a:gdLst>
                <a:gd name="T0" fmla="*/ 94 w 2181"/>
                <a:gd name="T1" fmla="*/ 0 h 188"/>
                <a:gd name="T2" fmla="*/ 0 w 2181"/>
                <a:gd name="T3" fmla="*/ 94 h 188"/>
                <a:gd name="T4" fmla="*/ 94 w 2181"/>
                <a:gd name="T5" fmla="*/ 188 h 188"/>
                <a:gd name="T6" fmla="*/ 2087 w 2181"/>
                <a:gd name="T7" fmla="*/ 188 h 188"/>
                <a:gd name="T8" fmla="*/ 2181 w 2181"/>
                <a:gd name="T9" fmla="*/ 94 h 188"/>
                <a:gd name="T10" fmla="*/ 2087 w 2181"/>
                <a:gd name="T11" fmla="*/ 0 h 188"/>
                <a:gd name="T12" fmla="*/ 94 w 2181"/>
                <a:gd name="T13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1" h="188">
                  <a:moveTo>
                    <a:pt x="94" y="0"/>
                  </a:move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lnTo>
                    <a:pt x="2087" y="188"/>
                  </a:lnTo>
                  <a:cubicBezTo>
                    <a:pt x="2139" y="188"/>
                    <a:pt x="2181" y="146"/>
                    <a:pt x="2181" y="94"/>
                  </a:cubicBezTo>
                  <a:cubicBezTo>
                    <a:pt x="2181" y="42"/>
                    <a:pt x="2139" y="0"/>
                    <a:pt x="2087" y="0"/>
                  </a:cubicBezTo>
                  <a:lnTo>
                    <a:pt x="94" y="0"/>
                  </a:lnTo>
                  <a:close/>
                </a:path>
              </a:pathLst>
            </a:custGeom>
            <a:gradFill>
              <a:gsLst>
                <a:gs pos="0">
                  <a:srgbClr val="FEC232"/>
                </a:gs>
                <a:gs pos="100000">
                  <a:srgbClr val="DF6F51"/>
                </a:gs>
              </a:gsLst>
              <a:lin ang="27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8" name="Group 46"/>
          <p:cNvGrpSpPr>
            <a:grpSpLocks noChangeAspect="1"/>
          </p:cNvGrpSpPr>
          <p:nvPr/>
        </p:nvGrpSpPr>
        <p:grpSpPr bwMode="auto">
          <a:xfrm>
            <a:off x="10450453" y="1284289"/>
            <a:ext cx="584856" cy="540000"/>
            <a:chOff x="6575" y="805"/>
            <a:chExt cx="339" cy="313"/>
          </a:xfrm>
          <a:gradFill>
            <a:gsLst>
              <a:gs pos="0">
                <a:srgbClr val="FEC232"/>
              </a:gs>
              <a:gs pos="100000">
                <a:srgbClr val="DF6F51"/>
              </a:gs>
            </a:gsLst>
            <a:lin ang="2700000" scaled="1"/>
          </a:gradFill>
        </p:grpSpPr>
        <p:sp>
          <p:nvSpPr>
            <p:cNvPr id="210" name="Freeform 47"/>
            <p:cNvSpPr>
              <a:spLocks noEditPoints="1"/>
            </p:cNvSpPr>
            <p:nvPr/>
          </p:nvSpPr>
          <p:spPr bwMode="auto">
            <a:xfrm>
              <a:off x="6651" y="805"/>
              <a:ext cx="187" cy="177"/>
            </a:xfrm>
            <a:custGeom>
              <a:avLst/>
              <a:gdLst>
                <a:gd name="T0" fmla="*/ 3179 w 3520"/>
                <a:gd name="T1" fmla="*/ 2437 h 3347"/>
                <a:gd name="T2" fmla="*/ 3520 w 3520"/>
                <a:gd name="T3" fmla="*/ 1674 h 3347"/>
                <a:gd name="T4" fmla="*/ 3179 w 3520"/>
                <a:gd name="T5" fmla="*/ 911 h 3347"/>
                <a:gd name="T6" fmla="*/ 2094 w 3520"/>
                <a:gd name="T7" fmla="*/ 2 h 3347"/>
                <a:gd name="T8" fmla="*/ 1760 w 3520"/>
                <a:gd name="T9" fmla="*/ 142 h 3347"/>
                <a:gd name="T10" fmla="*/ 1426 w 3520"/>
                <a:gd name="T11" fmla="*/ 2 h 3347"/>
                <a:gd name="T12" fmla="*/ 341 w 3520"/>
                <a:gd name="T13" fmla="*/ 911 h 3347"/>
                <a:gd name="T14" fmla="*/ 0 w 3520"/>
                <a:gd name="T15" fmla="*/ 1674 h 3347"/>
                <a:gd name="T16" fmla="*/ 341 w 3520"/>
                <a:gd name="T17" fmla="*/ 2437 h 3347"/>
                <a:gd name="T18" fmla="*/ 1426 w 3520"/>
                <a:gd name="T19" fmla="*/ 3347 h 3347"/>
                <a:gd name="T20" fmla="*/ 1736 w 3520"/>
                <a:gd name="T21" fmla="*/ 3232 h 3347"/>
                <a:gd name="T22" fmla="*/ 1784 w 3520"/>
                <a:gd name="T23" fmla="*/ 3232 h 3347"/>
                <a:gd name="T24" fmla="*/ 2094 w 3520"/>
                <a:gd name="T25" fmla="*/ 3347 h 3347"/>
                <a:gd name="T26" fmla="*/ 1635 w 3520"/>
                <a:gd name="T27" fmla="*/ 2770 h 3347"/>
                <a:gd name="T28" fmla="*/ 1429 w 3520"/>
                <a:gd name="T29" fmla="*/ 3097 h 3347"/>
                <a:gd name="T30" fmla="*/ 1214 w 3520"/>
                <a:gd name="T31" fmla="*/ 2844 h 3347"/>
                <a:gd name="T32" fmla="*/ 1519 w 3520"/>
                <a:gd name="T33" fmla="*/ 2736 h 3347"/>
                <a:gd name="T34" fmla="*/ 1089 w 3520"/>
                <a:gd name="T35" fmla="*/ 2627 h 3347"/>
                <a:gd name="T36" fmla="*/ 591 w 3520"/>
                <a:gd name="T37" fmla="*/ 2437 h 3347"/>
                <a:gd name="T38" fmla="*/ 514 w 3520"/>
                <a:gd name="T39" fmla="*/ 2165 h 3347"/>
                <a:gd name="T40" fmla="*/ 514 w 3520"/>
                <a:gd name="T41" fmla="*/ 1183 h 3347"/>
                <a:gd name="T42" fmla="*/ 591 w 3520"/>
                <a:gd name="T43" fmla="*/ 911 h 3347"/>
                <a:gd name="T44" fmla="*/ 969 w 3520"/>
                <a:gd name="T45" fmla="*/ 545 h 3347"/>
                <a:gd name="T46" fmla="*/ 1062 w 3520"/>
                <a:gd name="T47" fmla="*/ 713 h 3347"/>
                <a:gd name="T48" fmla="*/ 1183 w 3520"/>
                <a:gd name="T49" fmla="*/ 870 h 3347"/>
                <a:gd name="T50" fmla="*/ 1172 w 3520"/>
                <a:gd name="T51" fmla="*/ 371 h 3347"/>
                <a:gd name="T52" fmla="*/ 1560 w 3520"/>
                <a:gd name="T53" fmla="*/ 294 h 3347"/>
                <a:gd name="T54" fmla="*/ 1635 w 3520"/>
                <a:gd name="T55" fmla="*/ 2770 h 3347"/>
                <a:gd name="T56" fmla="*/ 2370 w 3520"/>
                <a:gd name="T57" fmla="*/ 2483 h 3347"/>
                <a:gd name="T58" fmla="*/ 2348 w 3520"/>
                <a:gd name="T59" fmla="*/ 2977 h 3347"/>
                <a:gd name="T60" fmla="*/ 1960 w 3520"/>
                <a:gd name="T61" fmla="*/ 3054 h 3347"/>
                <a:gd name="T62" fmla="*/ 1885 w 3520"/>
                <a:gd name="T63" fmla="*/ 579 h 3347"/>
                <a:gd name="T64" fmla="*/ 2090 w 3520"/>
                <a:gd name="T65" fmla="*/ 252 h 3347"/>
                <a:gd name="T66" fmla="*/ 2306 w 3520"/>
                <a:gd name="T67" fmla="*/ 504 h 3347"/>
                <a:gd name="T68" fmla="*/ 2001 w 3520"/>
                <a:gd name="T69" fmla="*/ 613 h 3347"/>
                <a:gd name="T70" fmla="*/ 2207 w 3520"/>
                <a:gd name="T71" fmla="*/ 781 h 3347"/>
                <a:gd name="T72" fmla="*/ 2601 w 3520"/>
                <a:gd name="T73" fmla="*/ 547 h 3347"/>
                <a:gd name="T74" fmla="*/ 2921 w 3520"/>
                <a:gd name="T75" fmla="*/ 997 h 3347"/>
                <a:gd name="T76" fmla="*/ 3270 w 3520"/>
                <a:gd name="T77" fmla="*/ 1674 h 3347"/>
                <a:gd name="T78" fmla="*/ 2921 w 3520"/>
                <a:gd name="T79" fmla="*/ 2351 h 3347"/>
                <a:gd name="T80" fmla="*/ 2552 w 3520"/>
                <a:gd name="T81" fmla="*/ 2803 h 3347"/>
                <a:gd name="T82" fmla="*/ 2540 w 3520"/>
                <a:gd name="T83" fmla="*/ 2803 h 3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520" h="3347">
                  <a:moveTo>
                    <a:pt x="2597" y="3052"/>
                  </a:moveTo>
                  <a:cubicBezTo>
                    <a:pt x="2958" y="3034"/>
                    <a:pt x="3179" y="2802"/>
                    <a:pt x="3179" y="2437"/>
                  </a:cubicBezTo>
                  <a:cubicBezTo>
                    <a:pt x="3179" y="2410"/>
                    <a:pt x="3178" y="2382"/>
                    <a:pt x="3174" y="2355"/>
                  </a:cubicBezTo>
                  <a:cubicBezTo>
                    <a:pt x="3416" y="2201"/>
                    <a:pt x="3520" y="1994"/>
                    <a:pt x="3520" y="1674"/>
                  </a:cubicBezTo>
                  <a:cubicBezTo>
                    <a:pt x="3520" y="1354"/>
                    <a:pt x="3416" y="1147"/>
                    <a:pt x="3174" y="993"/>
                  </a:cubicBezTo>
                  <a:cubicBezTo>
                    <a:pt x="3178" y="966"/>
                    <a:pt x="3179" y="939"/>
                    <a:pt x="3179" y="911"/>
                  </a:cubicBezTo>
                  <a:cubicBezTo>
                    <a:pt x="3179" y="546"/>
                    <a:pt x="2958" y="314"/>
                    <a:pt x="2597" y="296"/>
                  </a:cubicBezTo>
                  <a:cubicBezTo>
                    <a:pt x="2501" y="116"/>
                    <a:pt x="2312" y="5"/>
                    <a:pt x="2094" y="2"/>
                  </a:cubicBezTo>
                  <a:cubicBezTo>
                    <a:pt x="1967" y="0"/>
                    <a:pt x="1863" y="38"/>
                    <a:pt x="1784" y="116"/>
                  </a:cubicBezTo>
                  <a:cubicBezTo>
                    <a:pt x="1776" y="124"/>
                    <a:pt x="1768" y="133"/>
                    <a:pt x="1760" y="142"/>
                  </a:cubicBezTo>
                  <a:cubicBezTo>
                    <a:pt x="1752" y="133"/>
                    <a:pt x="1744" y="124"/>
                    <a:pt x="1736" y="116"/>
                  </a:cubicBezTo>
                  <a:cubicBezTo>
                    <a:pt x="1657" y="38"/>
                    <a:pt x="1553" y="0"/>
                    <a:pt x="1426" y="2"/>
                  </a:cubicBezTo>
                  <a:cubicBezTo>
                    <a:pt x="1208" y="5"/>
                    <a:pt x="1019" y="116"/>
                    <a:pt x="923" y="296"/>
                  </a:cubicBezTo>
                  <a:cubicBezTo>
                    <a:pt x="562" y="314"/>
                    <a:pt x="341" y="546"/>
                    <a:pt x="341" y="911"/>
                  </a:cubicBezTo>
                  <a:cubicBezTo>
                    <a:pt x="341" y="939"/>
                    <a:pt x="342" y="966"/>
                    <a:pt x="346" y="993"/>
                  </a:cubicBezTo>
                  <a:cubicBezTo>
                    <a:pt x="104" y="1147"/>
                    <a:pt x="0" y="1354"/>
                    <a:pt x="0" y="1674"/>
                  </a:cubicBezTo>
                  <a:cubicBezTo>
                    <a:pt x="0" y="1994"/>
                    <a:pt x="104" y="2201"/>
                    <a:pt x="346" y="2355"/>
                  </a:cubicBezTo>
                  <a:cubicBezTo>
                    <a:pt x="342" y="2382"/>
                    <a:pt x="341" y="2410"/>
                    <a:pt x="341" y="2437"/>
                  </a:cubicBezTo>
                  <a:cubicBezTo>
                    <a:pt x="341" y="2802"/>
                    <a:pt x="562" y="3034"/>
                    <a:pt x="923" y="3052"/>
                  </a:cubicBezTo>
                  <a:cubicBezTo>
                    <a:pt x="1019" y="3232"/>
                    <a:pt x="1208" y="3344"/>
                    <a:pt x="1426" y="3347"/>
                  </a:cubicBezTo>
                  <a:cubicBezTo>
                    <a:pt x="1429" y="3347"/>
                    <a:pt x="1432" y="3347"/>
                    <a:pt x="1434" y="3347"/>
                  </a:cubicBezTo>
                  <a:cubicBezTo>
                    <a:pt x="1558" y="3347"/>
                    <a:pt x="1659" y="3308"/>
                    <a:pt x="1736" y="3232"/>
                  </a:cubicBezTo>
                  <a:cubicBezTo>
                    <a:pt x="1744" y="3224"/>
                    <a:pt x="1752" y="3216"/>
                    <a:pt x="1760" y="3207"/>
                  </a:cubicBezTo>
                  <a:cubicBezTo>
                    <a:pt x="1768" y="3216"/>
                    <a:pt x="1776" y="3224"/>
                    <a:pt x="1784" y="3232"/>
                  </a:cubicBezTo>
                  <a:cubicBezTo>
                    <a:pt x="1861" y="3308"/>
                    <a:pt x="1962" y="3347"/>
                    <a:pt x="2086" y="3347"/>
                  </a:cubicBezTo>
                  <a:cubicBezTo>
                    <a:pt x="2088" y="3347"/>
                    <a:pt x="2091" y="3347"/>
                    <a:pt x="2094" y="3347"/>
                  </a:cubicBezTo>
                  <a:cubicBezTo>
                    <a:pt x="2312" y="3343"/>
                    <a:pt x="2501" y="3232"/>
                    <a:pt x="2597" y="3052"/>
                  </a:cubicBezTo>
                  <a:close/>
                  <a:moveTo>
                    <a:pt x="1635" y="2770"/>
                  </a:moveTo>
                  <a:cubicBezTo>
                    <a:pt x="1635" y="2908"/>
                    <a:pt x="1609" y="3006"/>
                    <a:pt x="1560" y="3054"/>
                  </a:cubicBezTo>
                  <a:cubicBezTo>
                    <a:pt x="1531" y="3084"/>
                    <a:pt x="1488" y="3097"/>
                    <a:pt x="1429" y="3097"/>
                  </a:cubicBezTo>
                  <a:cubicBezTo>
                    <a:pt x="1300" y="3095"/>
                    <a:pt x="1189" y="3029"/>
                    <a:pt x="1138" y="2923"/>
                  </a:cubicBezTo>
                  <a:cubicBezTo>
                    <a:pt x="1155" y="2890"/>
                    <a:pt x="1181" y="2863"/>
                    <a:pt x="1214" y="2844"/>
                  </a:cubicBezTo>
                  <a:cubicBezTo>
                    <a:pt x="1260" y="2817"/>
                    <a:pt x="1314" y="2810"/>
                    <a:pt x="1366" y="2824"/>
                  </a:cubicBezTo>
                  <a:cubicBezTo>
                    <a:pt x="1432" y="2842"/>
                    <a:pt x="1501" y="2802"/>
                    <a:pt x="1519" y="2736"/>
                  </a:cubicBezTo>
                  <a:cubicBezTo>
                    <a:pt x="1537" y="2669"/>
                    <a:pt x="1497" y="2600"/>
                    <a:pt x="1430" y="2582"/>
                  </a:cubicBezTo>
                  <a:cubicBezTo>
                    <a:pt x="1314" y="2551"/>
                    <a:pt x="1193" y="2567"/>
                    <a:pt x="1089" y="2627"/>
                  </a:cubicBezTo>
                  <a:cubicBezTo>
                    <a:pt x="1016" y="2669"/>
                    <a:pt x="958" y="2729"/>
                    <a:pt x="919" y="2801"/>
                  </a:cubicBezTo>
                  <a:cubicBezTo>
                    <a:pt x="701" y="2786"/>
                    <a:pt x="591" y="2663"/>
                    <a:pt x="591" y="2437"/>
                  </a:cubicBezTo>
                  <a:cubicBezTo>
                    <a:pt x="591" y="2408"/>
                    <a:pt x="594" y="2379"/>
                    <a:pt x="599" y="2351"/>
                  </a:cubicBezTo>
                  <a:cubicBezTo>
                    <a:pt x="613" y="2277"/>
                    <a:pt x="579" y="2202"/>
                    <a:pt x="514" y="2165"/>
                  </a:cubicBezTo>
                  <a:cubicBezTo>
                    <a:pt x="319" y="2053"/>
                    <a:pt x="250" y="1924"/>
                    <a:pt x="250" y="1674"/>
                  </a:cubicBezTo>
                  <a:cubicBezTo>
                    <a:pt x="250" y="1424"/>
                    <a:pt x="319" y="1295"/>
                    <a:pt x="514" y="1183"/>
                  </a:cubicBezTo>
                  <a:cubicBezTo>
                    <a:pt x="579" y="1146"/>
                    <a:pt x="613" y="1071"/>
                    <a:pt x="599" y="997"/>
                  </a:cubicBezTo>
                  <a:cubicBezTo>
                    <a:pt x="594" y="969"/>
                    <a:pt x="591" y="940"/>
                    <a:pt x="591" y="911"/>
                  </a:cubicBezTo>
                  <a:cubicBezTo>
                    <a:pt x="591" y="668"/>
                    <a:pt x="718" y="545"/>
                    <a:pt x="968" y="545"/>
                  </a:cubicBezTo>
                  <a:lnTo>
                    <a:pt x="969" y="545"/>
                  </a:lnTo>
                  <a:cubicBezTo>
                    <a:pt x="973" y="545"/>
                    <a:pt x="977" y="545"/>
                    <a:pt x="980" y="545"/>
                  </a:cubicBezTo>
                  <a:cubicBezTo>
                    <a:pt x="1044" y="572"/>
                    <a:pt x="1080" y="643"/>
                    <a:pt x="1062" y="713"/>
                  </a:cubicBezTo>
                  <a:cubicBezTo>
                    <a:pt x="1044" y="779"/>
                    <a:pt x="1084" y="848"/>
                    <a:pt x="1151" y="866"/>
                  </a:cubicBezTo>
                  <a:cubicBezTo>
                    <a:pt x="1161" y="869"/>
                    <a:pt x="1172" y="870"/>
                    <a:pt x="1183" y="870"/>
                  </a:cubicBezTo>
                  <a:cubicBezTo>
                    <a:pt x="1238" y="870"/>
                    <a:pt x="1289" y="833"/>
                    <a:pt x="1303" y="777"/>
                  </a:cubicBezTo>
                  <a:cubicBezTo>
                    <a:pt x="1344" y="623"/>
                    <a:pt x="1288" y="466"/>
                    <a:pt x="1172" y="371"/>
                  </a:cubicBezTo>
                  <a:cubicBezTo>
                    <a:pt x="1230" y="297"/>
                    <a:pt x="1323" y="253"/>
                    <a:pt x="1430" y="252"/>
                  </a:cubicBezTo>
                  <a:cubicBezTo>
                    <a:pt x="1488" y="251"/>
                    <a:pt x="1531" y="265"/>
                    <a:pt x="1560" y="294"/>
                  </a:cubicBezTo>
                  <a:cubicBezTo>
                    <a:pt x="1609" y="342"/>
                    <a:pt x="1635" y="440"/>
                    <a:pt x="1635" y="579"/>
                  </a:cubicBezTo>
                  <a:lnTo>
                    <a:pt x="1635" y="2770"/>
                  </a:lnTo>
                  <a:close/>
                  <a:moveTo>
                    <a:pt x="2458" y="2636"/>
                  </a:moveTo>
                  <a:cubicBezTo>
                    <a:pt x="2476" y="2569"/>
                    <a:pt x="2436" y="2500"/>
                    <a:pt x="2370" y="2483"/>
                  </a:cubicBezTo>
                  <a:cubicBezTo>
                    <a:pt x="2303" y="2465"/>
                    <a:pt x="2234" y="2505"/>
                    <a:pt x="2217" y="2571"/>
                  </a:cubicBezTo>
                  <a:cubicBezTo>
                    <a:pt x="2176" y="2725"/>
                    <a:pt x="2232" y="2883"/>
                    <a:pt x="2348" y="2977"/>
                  </a:cubicBezTo>
                  <a:cubicBezTo>
                    <a:pt x="2290" y="3051"/>
                    <a:pt x="2197" y="3095"/>
                    <a:pt x="2090" y="3097"/>
                  </a:cubicBezTo>
                  <a:cubicBezTo>
                    <a:pt x="2032" y="3098"/>
                    <a:pt x="1989" y="3084"/>
                    <a:pt x="1960" y="3054"/>
                  </a:cubicBezTo>
                  <a:cubicBezTo>
                    <a:pt x="1911" y="3006"/>
                    <a:pt x="1885" y="2908"/>
                    <a:pt x="1885" y="2770"/>
                  </a:cubicBezTo>
                  <a:lnTo>
                    <a:pt x="1885" y="579"/>
                  </a:lnTo>
                  <a:cubicBezTo>
                    <a:pt x="1885" y="440"/>
                    <a:pt x="1911" y="342"/>
                    <a:pt x="1960" y="294"/>
                  </a:cubicBezTo>
                  <a:cubicBezTo>
                    <a:pt x="1989" y="265"/>
                    <a:pt x="2032" y="251"/>
                    <a:pt x="2090" y="252"/>
                  </a:cubicBezTo>
                  <a:cubicBezTo>
                    <a:pt x="2220" y="253"/>
                    <a:pt x="2331" y="320"/>
                    <a:pt x="2382" y="425"/>
                  </a:cubicBezTo>
                  <a:cubicBezTo>
                    <a:pt x="2365" y="458"/>
                    <a:pt x="2339" y="485"/>
                    <a:pt x="2306" y="504"/>
                  </a:cubicBezTo>
                  <a:cubicBezTo>
                    <a:pt x="2260" y="531"/>
                    <a:pt x="2206" y="538"/>
                    <a:pt x="2154" y="524"/>
                  </a:cubicBezTo>
                  <a:cubicBezTo>
                    <a:pt x="2088" y="506"/>
                    <a:pt x="2019" y="546"/>
                    <a:pt x="2001" y="613"/>
                  </a:cubicBezTo>
                  <a:cubicBezTo>
                    <a:pt x="1983" y="679"/>
                    <a:pt x="2023" y="748"/>
                    <a:pt x="2090" y="766"/>
                  </a:cubicBezTo>
                  <a:cubicBezTo>
                    <a:pt x="2128" y="776"/>
                    <a:pt x="2168" y="781"/>
                    <a:pt x="2207" y="781"/>
                  </a:cubicBezTo>
                  <a:cubicBezTo>
                    <a:pt x="2285" y="781"/>
                    <a:pt x="2362" y="761"/>
                    <a:pt x="2431" y="721"/>
                  </a:cubicBezTo>
                  <a:cubicBezTo>
                    <a:pt x="2504" y="679"/>
                    <a:pt x="2562" y="619"/>
                    <a:pt x="2601" y="547"/>
                  </a:cubicBezTo>
                  <a:cubicBezTo>
                    <a:pt x="2819" y="562"/>
                    <a:pt x="2929" y="685"/>
                    <a:pt x="2929" y="911"/>
                  </a:cubicBezTo>
                  <a:cubicBezTo>
                    <a:pt x="2929" y="940"/>
                    <a:pt x="2926" y="969"/>
                    <a:pt x="2921" y="997"/>
                  </a:cubicBezTo>
                  <a:cubicBezTo>
                    <a:pt x="2907" y="1071"/>
                    <a:pt x="2941" y="1146"/>
                    <a:pt x="3006" y="1183"/>
                  </a:cubicBezTo>
                  <a:cubicBezTo>
                    <a:pt x="3201" y="1295"/>
                    <a:pt x="3270" y="1424"/>
                    <a:pt x="3270" y="1674"/>
                  </a:cubicBezTo>
                  <a:cubicBezTo>
                    <a:pt x="3270" y="1924"/>
                    <a:pt x="3201" y="2053"/>
                    <a:pt x="3006" y="2165"/>
                  </a:cubicBezTo>
                  <a:cubicBezTo>
                    <a:pt x="2941" y="2202"/>
                    <a:pt x="2907" y="2277"/>
                    <a:pt x="2921" y="2351"/>
                  </a:cubicBezTo>
                  <a:cubicBezTo>
                    <a:pt x="2926" y="2379"/>
                    <a:pt x="2929" y="2408"/>
                    <a:pt x="2929" y="2437"/>
                  </a:cubicBezTo>
                  <a:cubicBezTo>
                    <a:pt x="2929" y="2680"/>
                    <a:pt x="2802" y="2803"/>
                    <a:pt x="2552" y="2803"/>
                  </a:cubicBezTo>
                  <a:lnTo>
                    <a:pt x="2551" y="2803"/>
                  </a:lnTo>
                  <a:cubicBezTo>
                    <a:pt x="2547" y="2803"/>
                    <a:pt x="2544" y="2803"/>
                    <a:pt x="2540" y="2803"/>
                  </a:cubicBezTo>
                  <a:cubicBezTo>
                    <a:pt x="2476" y="2776"/>
                    <a:pt x="2440" y="2705"/>
                    <a:pt x="2458" y="26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48"/>
            <p:cNvSpPr>
              <a:spLocks/>
            </p:cNvSpPr>
            <p:nvPr/>
          </p:nvSpPr>
          <p:spPr bwMode="auto">
            <a:xfrm>
              <a:off x="6686" y="880"/>
              <a:ext cx="27" cy="35"/>
            </a:xfrm>
            <a:custGeom>
              <a:avLst/>
              <a:gdLst>
                <a:gd name="T0" fmla="*/ 394 w 519"/>
                <a:gd name="T1" fmla="*/ 0 h 665"/>
                <a:gd name="T2" fmla="*/ 59 w 519"/>
                <a:gd name="T3" fmla="*/ 220 h 665"/>
                <a:gd name="T4" fmla="*/ 126 w 519"/>
                <a:gd name="T5" fmla="*/ 614 h 665"/>
                <a:gd name="T6" fmla="*/ 140 w 519"/>
                <a:gd name="T7" fmla="*/ 629 h 665"/>
                <a:gd name="T8" fmla="*/ 229 w 519"/>
                <a:gd name="T9" fmla="*/ 665 h 665"/>
                <a:gd name="T10" fmla="*/ 317 w 519"/>
                <a:gd name="T11" fmla="*/ 629 h 665"/>
                <a:gd name="T12" fmla="*/ 317 w 519"/>
                <a:gd name="T13" fmla="*/ 452 h 665"/>
                <a:gd name="T14" fmla="*/ 309 w 519"/>
                <a:gd name="T15" fmla="*/ 443 h 665"/>
                <a:gd name="T16" fmla="*/ 288 w 519"/>
                <a:gd name="T17" fmla="*/ 320 h 665"/>
                <a:gd name="T18" fmla="*/ 394 w 519"/>
                <a:gd name="T19" fmla="*/ 250 h 665"/>
                <a:gd name="T20" fmla="*/ 519 w 519"/>
                <a:gd name="T21" fmla="*/ 125 h 665"/>
                <a:gd name="T22" fmla="*/ 394 w 519"/>
                <a:gd name="T23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9" h="665">
                  <a:moveTo>
                    <a:pt x="394" y="0"/>
                  </a:moveTo>
                  <a:cubicBezTo>
                    <a:pt x="246" y="0"/>
                    <a:pt x="118" y="85"/>
                    <a:pt x="59" y="220"/>
                  </a:cubicBezTo>
                  <a:cubicBezTo>
                    <a:pt x="0" y="355"/>
                    <a:pt x="26" y="506"/>
                    <a:pt x="126" y="614"/>
                  </a:cubicBezTo>
                  <a:cubicBezTo>
                    <a:pt x="131" y="619"/>
                    <a:pt x="135" y="624"/>
                    <a:pt x="140" y="629"/>
                  </a:cubicBezTo>
                  <a:cubicBezTo>
                    <a:pt x="165" y="653"/>
                    <a:pt x="197" y="665"/>
                    <a:pt x="229" y="665"/>
                  </a:cubicBezTo>
                  <a:cubicBezTo>
                    <a:pt x="261" y="665"/>
                    <a:pt x="293" y="653"/>
                    <a:pt x="317" y="629"/>
                  </a:cubicBezTo>
                  <a:cubicBezTo>
                    <a:pt x="366" y="580"/>
                    <a:pt x="366" y="501"/>
                    <a:pt x="317" y="452"/>
                  </a:cubicBezTo>
                  <a:cubicBezTo>
                    <a:pt x="314" y="449"/>
                    <a:pt x="311" y="446"/>
                    <a:pt x="309" y="443"/>
                  </a:cubicBezTo>
                  <a:cubicBezTo>
                    <a:pt x="262" y="393"/>
                    <a:pt x="281" y="336"/>
                    <a:pt x="288" y="320"/>
                  </a:cubicBezTo>
                  <a:cubicBezTo>
                    <a:pt x="295" y="304"/>
                    <a:pt x="324" y="250"/>
                    <a:pt x="394" y="250"/>
                  </a:cubicBezTo>
                  <a:cubicBezTo>
                    <a:pt x="463" y="250"/>
                    <a:pt x="519" y="194"/>
                    <a:pt x="519" y="125"/>
                  </a:cubicBezTo>
                  <a:cubicBezTo>
                    <a:pt x="519" y="56"/>
                    <a:pt x="463" y="0"/>
                    <a:pt x="3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49"/>
            <p:cNvSpPr>
              <a:spLocks/>
            </p:cNvSpPr>
            <p:nvPr/>
          </p:nvSpPr>
          <p:spPr bwMode="auto">
            <a:xfrm>
              <a:off x="6775" y="880"/>
              <a:ext cx="28" cy="35"/>
            </a:xfrm>
            <a:custGeom>
              <a:avLst/>
              <a:gdLst>
                <a:gd name="T0" fmla="*/ 202 w 519"/>
                <a:gd name="T1" fmla="*/ 452 h 665"/>
                <a:gd name="T2" fmla="*/ 202 w 519"/>
                <a:gd name="T3" fmla="*/ 629 h 665"/>
                <a:gd name="T4" fmla="*/ 290 w 519"/>
                <a:gd name="T5" fmla="*/ 665 h 665"/>
                <a:gd name="T6" fmla="*/ 379 w 519"/>
                <a:gd name="T7" fmla="*/ 629 h 665"/>
                <a:gd name="T8" fmla="*/ 393 w 519"/>
                <a:gd name="T9" fmla="*/ 614 h 665"/>
                <a:gd name="T10" fmla="*/ 461 w 519"/>
                <a:gd name="T11" fmla="*/ 220 h 665"/>
                <a:gd name="T12" fmla="*/ 125 w 519"/>
                <a:gd name="T13" fmla="*/ 0 h 665"/>
                <a:gd name="T14" fmla="*/ 0 w 519"/>
                <a:gd name="T15" fmla="*/ 125 h 665"/>
                <a:gd name="T16" fmla="*/ 125 w 519"/>
                <a:gd name="T17" fmla="*/ 250 h 665"/>
                <a:gd name="T18" fmla="*/ 231 w 519"/>
                <a:gd name="T19" fmla="*/ 320 h 665"/>
                <a:gd name="T20" fmla="*/ 210 w 519"/>
                <a:gd name="T21" fmla="*/ 443 h 665"/>
                <a:gd name="T22" fmla="*/ 202 w 519"/>
                <a:gd name="T23" fmla="*/ 452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9" h="665">
                  <a:moveTo>
                    <a:pt x="202" y="452"/>
                  </a:moveTo>
                  <a:cubicBezTo>
                    <a:pt x="153" y="501"/>
                    <a:pt x="153" y="580"/>
                    <a:pt x="202" y="629"/>
                  </a:cubicBezTo>
                  <a:cubicBezTo>
                    <a:pt x="226" y="653"/>
                    <a:pt x="258" y="665"/>
                    <a:pt x="290" y="665"/>
                  </a:cubicBezTo>
                  <a:cubicBezTo>
                    <a:pt x="322" y="665"/>
                    <a:pt x="354" y="653"/>
                    <a:pt x="379" y="629"/>
                  </a:cubicBezTo>
                  <a:cubicBezTo>
                    <a:pt x="384" y="624"/>
                    <a:pt x="389" y="619"/>
                    <a:pt x="393" y="614"/>
                  </a:cubicBezTo>
                  <a:cubicBezTo>
                    <a:pt x="494" y="506"/>
                    <a:pt x="519" y="356"/>
                    <a:pt x="461" y="220"/>
                  </a:cubicBezTo>
                  <a:cubicBezTo>
                    <a:pt x="401" y="85"/>
                    <a:pt x="273" y="0"/>
                    <a:pt x="125" y="0"/>
                  </a:cubicBez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5" y="250"/>
                    <a:pt x="224" y="304"/>
                    <a:pt x="231" y="320"/>
                  </a:cubicBezTo>
                  <a:cubicBezTo>
                    <a:pt x="238" y="336"/>
                    <a:pt x="257" y="393"/>
                    <a:pt x="210" y="443"/>
                  </a:cubicBezTo>
                  <a:cubicBezTo>
                    <a:pt x="208" y="446"/>
                    <a:pt x="205" y="449"/>
                    <a:pt x="202" y="4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50"/>
            <p:cNvSpPr>
              <a:spLocks noEditPoints="1"/>
            </p:cNvSpPr>
            <p:nvPr/>
          </p:nvSpPr>
          <p:spPr bwMode="auto">
            <a:xfrm>
              <a:off x="6575" y="843"/>
              <a:ext cx="131" cy="275"/>
            </a:xfrm>
            <a:custGeom>
              <a:avLst/>
              <a:gdLst>
                <a:gd name="T0" fmla="*/ 2083 w 2482"/>
                <a:gd name="T1" fmla="*/ 2637 h 5192"/>
                <a:gd name="T2" fmla="*/ 1212 w 2482"/>
                <a:gd name="T3" fmla="*/ 1779 h 5192"/>
                <a:gd name="T4" fmla="*/ 1212 w 2482"/>
                <a:gd name="T5" fmla="*/ 854 h 5192"/>
                <a:gd name="T6" fmla="*/ 833 w 2482"/>
                <a:gd name="T7" fmla="*/ 475 h 5192"/>
                <a:gd name="T8" fmla="*/ 820 w 2482"/>
                <a:gd name="T9" fmla="*/ 476 h 5192"/>
                <a:gd name="T10" fmla="*/ 757 w 2482"/>
                <a:gd name="T11" fmla="*/ 483 h 5192"/>
                <a:gd name="T12" fmla="*/ 757 w 2482"/>
                <a:gd name="T13" fmla="*/ 391 h 5192"/>
                <a:gd name="T14" fmla="*/ 396 w 2482"/>
                <a:gd name="T15" fmla="*/ 5 h 5192"/>
                <a:gd name="T16" fmla="*/ 103 w 2482"/>
                <a:gd name="T17" fmla="*/ 113 h 5192"/>
                <a:gd name="T18" fmla="*/ 3 w 2482"/>
                <a:gd name="T19" fmla="*/ 339 h 5192"/>
                <a:gd name="T20" fmla="*/ 0 w 2482"/>
                <a:gd name="T21" fmla="*/ 2437 h 5192"/>
                <a:gd name="T22" fmla="*/ 0 w 2482"/>
                <a:gd name="T23" fmla="*/ 2467 h 5192"/>
                <a:gd name="T24" fmla="*/ 373 w 2482"/>
                <a:gd name="T25" fmla="*/ 3283 h 5192"/>
                <a:gd name="T26" fmla="*/ 379 w 2482"/>
                <a:gd name="T27" fmla="*/ 3289 h 5192"/>
                <a:gd name="T28" fmla="*/ 1354 w 2482"/>
                <a:gd name="T29" fmla="*/ 4075 h 5192"/>
                <a:gd name="T30" fmla="*/ 1354 w 2482"/>
                <a:gd name="T31" fmla="*/ 5067 h 5192"/>
                <a:gd name="T32" fmla="*/ 1479 w 2482"/>
                <a:gd name="T33" fmla="*/ 5192 h 5192"/>
                <a:gd name="T34" fmla="*/ 2357 w 2482"/>
                <a:gd name="T35" fmla="*/ 5192 h 5192"/>
                <a:gd name="T36" fmla="*/ 2482 w 2482"/>
                <a:gd name="T37" fmla="*/ 5067 h 5192"/>
                <a:gd name="T38" fmla="*/ 2482 w 2482"/>
                <a:gd name="T39" fmla="*/ 3590 h 5192"/>
                <a:gd name="T40" fmla="*/ 2083 w 2482"/>
                <a:gd name="T41" fmla="*/ 2637 h 5192"/>
                <a:gd name="T42" fmla="*/ 828 w 2482"/>
                <a:gd name="T43" fmla="*/ 726 h 5192"/>
                <a:gd name="T44" fmla="*/ 833 w 2482"/>
                <a:gd name="T45" fmla="*/ 725 h 5192"/>
                <a:gd name="T46" fmla="*/ 962 w 2482"/>
                <a:gd name="T47" fmla="*/ 854 h 5192"/>
                <a:gd name="T48" fmla="*/ 962 w 2482"/>
                <a:gd name="T49" fmla="*/ 1636 h 5192"/>
                <a:gd name="T50" fmla="*/ 757 w 2482"/>
                <a:gd name="T51" fmla="*/ 1656 h 5192"/>
                <a:gd name="T52" fmla="*/ 757 w 2482"/>
                <a:gd name="T53" fmla="*/ 751 h 5192"/>
                <a:gd name="T54" fmla="*/ 828 w 2482"/>
                <a:gd name="T55" fmla="*/ 726 h 5192"/>
                <a:gd name="T56" fmla="*/ 2232 w 2482"/>
                <a:gd name="T57" fmla="*/ 4942 h 5192"/>
                <a:gd name="T58" fmla="*/ 1604 w 2482"/>
                <a:gd name="T59" fmla="*/ 4942 h 5192"/>
                <a:gd name="T60" fmla="*/ 1604 w 2482"/>
                <a:gd name="T61" fmla="*/ 4015 h 5192"/>
                <a:gd name="T62" fmla="*/ 1557 w 2482"/>
                <a:gd name="T63" fmla="*/ 3918 h 5192"/>
                <a:gd name="T64" fmla="*/ 539 w 2482"/>
                <a:gd name="T65" fmla="*/ 3097 h 5192"/>
                <a:gd name="T66" fmla="*/ 250 w 2482"/>
                <a:gd name="T67" fmla="*/ 2463 h 5192"/>
                <a:gd name="T68" fmla="*/ 250 w 2482"/>
                <a:gd name="T69" fmla="*/ 2438 h 5192"/>
                <a:gd name="T70" fmla="*/ 253 w 2482"/>
                <a:gd name="T71" fmla="*/ 339 h 5192"/>
                <a:gd name="T72" fmla="*/ 276 w 2482"/>
                <a:gd name="T73" fmla="*/ 294 h 5192"/>
                <a:gd name="T74" fmla="*/ 384 w 2482"/>
                <a:gd name="T75" fmla="*/ 255 h 5192"/>
                <a:gd name="T76" fmla="*/ 507 w 2482"/>
                <a:gd name="T77" fmla="*/ 391 h 5192"/>
                <a:gd name="T78" fmla="*/ 507 w 2482"/>
                <a:gd name="T79" fmla="*/ 1927 h 5192"/>
                <a:gd name="T80" fmla="*/ 497 w 2482"/>
                <a:gd name="T81" fmla="*/ 1974 h 5192"/>
                <a:gd name="T82" fmla="*/ 607 w 2482"/>
                <a:gd name="T83" fmla="*/ 2320 h 5192"/>
                <a:gd name="T84" fmla="*/ 1488 w 2482"/>
                <a:gd name="T85" fmla="*/ 3241 h 5192"/>
                <a:gd name="T86" fmla="*/ 1665 w 2482"/>
                <a:gd name="T87" fmla="*/ 3245 h 5192"/>
                <a:gd name="T88" fmla="*/ 1669 w 2482"/>
                <a:gd name="T89" fmla="*/ 3068 h 5192"/>
                <a:gd name="T90" fmla="*/ 788 w 2482"/>
                <a:gd name="T91" fmla="*/ 2146 h 5192"/>
                <a:gd name="T92" fmla="*/ 786 w 2482"/>
                <a:gd name="T93" fmla="*/ 2145 h 5192"/>
                <a:gd name="T94" fmla="*/ 744 w 2482"/>
                <a:gd name="T95" fmla="*/ 2012 h 5192"/>
                <a:gd name="T96" fmla="*/ 785 w 2482"/>
                <a:gd name="T97" fmla="*/ 1929 h 5192"/>
                <a:gd name="T98" fmla="*/ 801 w 2482"/>
                <a:gd name="T99" fmla="*/ 1914 h 5192"/>
                <a:gd name="T100" fmla="*/ 1007 w 2482"/>
                <a:gd name="T101" fmla="*/ 1928 h 5192"/>
                <a:gd name="T102" fmla="*/ 1008 w 2482"/>
                <a:gd name="T103" fmla="*/ 1929 h 5192"/>
                <a:gd name="T104" fmla="*/ 1908 w 2482"/>
                <a:gd name="T105" fmla="*/ 2815 h 5192"/>
                <a:gd name="T106" fmla="*/ 2232 w 2482"/>
                <a:gd name="T107" fmla="*/ 3590 h 5192"/>
                <a:gd name="T108" fmla="*/ 2232 w 2482"/>
                <a:gd name="T109" fmla="*/ 4942 h 5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82" h="5192">
                  <a:moveTo>
                    <a:pt x="2083" y="2637"/>
                  </a:moveTo>
                  <a:lnTo>
                    <a:pt x="1212" y="1779"/>
                  </a:lnTo>
                  <a:lnTo>
                    <a:pt x="1212" y="854"/>
                  </a:lnTo>
                  <a:cubicBezTo>
                    <a:pt x="1212" y="645"/>
                    <a:pt x="1042" y="475"/>
                    <a:pt x="833" y="475"/>
                  </a:cubicBezTo>
                  <a:cubicBezTo>
                    <a:pt x="831" y="475"/>
                    <a:pt x="820" y="476"/>
                    <a:pt x="820" y="476"/>
                  </a:cubicBezTo>
                  <a:cubicBezTo>
                    <a:pt x="799" y="476"/>
                    <a:pt x="777" y="479"/>
                    <a:pt x="757" y="483"/>
                  </a:cubicBezTo>
                  <a:lnTo>
                    <a:pt x="757" y="391"/>
                  </a:lnTo>
                  <a:cubicBezTo>
                    <a:pt x="757" y="184"/>
                    <a:pt x="598" y="15"/>
                    <a:pt x="396" y="5"/>
                  </a:cubicBezTo>
                  <a:cubicBezTo>
                    <a:pt x="288" y="0"/>
                    <a:pt x="179" y="40"/>
                    <a:pt x="103" y="113"/>
                  </a:cubicBezTo>
                  <a:cubicBezTo>
                    <a:pt x="39" y="174"/>
                    <a:pt x="3" y="255"/>
                    <a:pt x="3" y="339"/>
                  </a:cubicBezTo>
                  <a:cubicBezTo>
                    <a:pt x="3" y="634"/>
                    <a:pt x="1" y="2007"/>
                    <a:pt x="0" y="2437"/>
                  </a:cubicBezTo>
                  <a:cubicBezTo>
                    <a:pt x="0" y="2447"/>
                    <a:pt x="0" y="2457"/>
                    <a:pt x="0" y="2467"/>
                  </a:cubicBezTo>
                  <a:cubicBezTo>
                    <a:pt x="6" y="2774"/>
                    <a:pt x="142" y="3071"/>
                    <a:pt x="373" y="3283"/>
                  </a:cubicBezTo>
                  <a:cubicBezTo>
                    <a:pt x="375" y="3285"/>
                    <a:pt x="377" y="3287"/>
                    <a:pt x="379" y="3289"/>
                  </a:cubicBezTo>
                  <a:lnTo>
                    <a:pt x="1354" y="4075"/>
                  </a:lnTo>
                  <a:lnTo>
                    <a:pt x="1354" y="5067"/>
                  </a:lnTo>
                  <a:cubicBezTo>
                    <a:pt x="1354" y="5136"/>
                    <a:pt x="1410" y="5192"/>
                    <a:pt x="1479" y="5192"/>
                  </a:cubicBezTo>
                  <a:lnTo>
                    <a:pt x="2357" y="5192"/>
                  </a:lnTo>
                  <a:cubicBezTo>
                    <a:pt x="2426" y="5192"/>
                    <a:pt x="2482" y="5136"/>
                    <a:pt x="2482" y="5067"/>
                  </a:cubicBezTo>
                  <a:lnTo>
                    <a:pt x="2482" y="3590"/>
                  </a:lnTo>
                  <a:cubicBezTo>
                    <a:pt x="2482" y="3235"/>
                    <a:pt x="2337" y="2887"/>
                    <a:pt x="2083" y="2637"/>
                  </a:cubicBezTo>
                  <a:close/>
                  <a:moveTo>
                    <a:pt x="828" y="726"/>
                  </a:moveTo>
                  <a:lnTo>
                    <a:pt x="833" y="725"/>
                  </a:lnTo>
                  <a:cubicBezTo>
                    <a:pt x="904" y="725"/>
                    <a:pt x="962" y="783"/>
                    <a:pt x="962" y="854"/>
                  </a:cubicBezTo>
                  <a:lnTo>
                    <a:pt x="962" y="1636"/>
                  </a:lnTo>
                  <a:cubicBezTo>
                    <a:pt x="894" y="1625"/>
                    <a:pt x="823" y="1632"/>
                    <a:pt x="757" y="1656"/>
                  </a:cubicBezTo>
                  <a:lnTo>
                    <a:pt x="757" y="751"/>
                  </a:lnTo>
                  <a:cubicBezTo>
                    <a:pt x="777" y="735"/>
                    <a:pt x="802" y="727"/>
                    <a:pt x="828" y="726"/>
                  </a:cubicBezTo>
                  <a:close/>
                  <a:moveTo>
                    <a:pt x="2232" y="4942"/>
                  </a:moveTo>
                  <a:lnTo>
                    <a:pt x="1604" y="4942"/>
                  </a:lnTo>
                  <a:lnTo>
                    <a:pt x="1604" y="4015"/>
                  </a:lnTo>
                  <a:cubicBezTo>
                    <a:pt x="1604" y="3977"/>
                    <a:pt x="1586" y="3942"/>
                    <a:pt x="1557" y="3918"/>
                  </a:cubicBezTo>
                  <a:lnTo>
                    <a:pt x="539" y="3097"/>
                  </a:lnTo>
                  <a:cubicBezTo>
                    <a:pt x="360" y="2931"/>
                    <a:pt x="255" y="2700"/>
                    <a:pt x="250" y="2463"/>
                  </a:cubicBezTo>
                  <a:cubicBezTo>
                    <a:pt x="250" y="2454"/>
                    <a:pt x="250" y="2446"/>
                    <a:pt x="250" y="2438"/>
                  </a:cubicBezTo>
                  <a:cubicBezTo>
                    <a:pt x="251" y="2008"/>
                    <a:pt x="253" y="634"/>
                    <a:pt x="253" y="339"/>
                  </a:cubicBezTo>
                  <a:cubicBezTo>
                    <a:pt x="253" y="323"/>
                    <a:pt x="261" y="308"/>
                    <a:pt x="276" y="294"/>
                  </a:cubicBezTo>
                  <a:cubicBezTo>
                    <a:pt x="302" y="268"/>
                    <a:pt x="345" y="253"/>
                    <a:pt x="384" y="255"/>
                  </a:cubicBezTo>
                  <a:cubicBezTo>
                    <a:pt x="452" y="258"/>
                    <a:pt x="507" y="319"/>
                    <a:pt x="507" y="391"/>
                  </a:cubicBezTo>
                  <a:lnTo>
                    <a:pt x="507" y="1927"/>
                  </a:lnTo>
                  <a:cubicBezTo>
                    <a:pt x="502" y="1943"/>
                    <a:pt x="499" y="1958"/>
                    <a:pt x="497" y="1974"/>
                  </a:cubicBezTo>
                  <a:cubicBezTo>
                    <a:pt x="477" y="2100"/>
                    <a:pt x="518" y="2229"/>
                    <a:pt x="607" y="2320"/>
                  </a:cubicBezTo>
                  <a:lnTo>
                    <a:pt x="1488" y="3241"/>
                  </a:lnTo>
                  <a:cubicBezTo>
                    <a:pt x="1536" y="3291"/>
                    <a:pt x="1615" y="3292"/>
                    <a:pt x="1665" y="3245"/>
                  </a:cubicBezTo>
                  <a:cubicBezTo>
                    <a:pt x="1714" y="3197"/>
                    <a:pt x="1716" y="3118"/>
                    <a:pt x="1669" y="3068"/>
                  </a:cubicBezTo>
                  <a:lnTo>
                    <a:pt x="788" y="2146"/>
                  </a:lnTo>
                  <a:cubicBezTo>
                    <a:pt x="787" y="2146"/>
                    <a:pt x="787" y="2146"/>
                    <a:pt x="786" y="2145"/>
                  </a:cubicBezTo>
                  <a:cubicBezTo>
                    <a:pt x="752" y="2110"/>
                    <a:pt x="736" y="2061"/>
                    <a:pt x="744" y="2012"/>
                  </a:cubicBezTo>
                  <a:cubicBezTo>
                    <a:pt x="749" y="1981"/>
                    <a:pt x="763" y="1952"/>
                    <a:pt x="785" y="1929"/>
                  </a:cubicBezTo>
                  <a:cubicBezTo>
                    <a:pt x="789" y="1926"/>
                    <a:pt x="797" y="1918"/>
                    <a:pt x="801" y="1914"/>
                  </a:cubicBezTo>
                  <a:cubicBezTo>
                    <a:pt x="863" y="1866"/>
                    <a:pt x="951" y="1871"/>
                    <a:pt x="1007" y="1928"/>
                  </a:cubicBezTo>
                  <a:cubicBezTo>
                    <a:pt x="1007" y="1928"/>
                    <a:pt x="1008" y="1929"/>
                    <a:pt x="1008" y="1929"/>
                  </a:cubicBezTo>
                  <a:lnTo>
                    <a:pt x="1908" y="2815"/>
                  </a:lnTo>
                  <a:cubicBezTo>
                    <a:pt x="2114" y="3019"/>
                    <a:pt x="2232" y="3301"/>
                    <a:pt x="2232" y="3590"/>
                  </a:cubicBezTo>
                  <a:lnTo>
                    <a:pt x="2232" y="49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51"/>
            <p:cNvSpPr>
              <a:spLocks noEditPoints="1"/>
            </p:cNvSpPr>
            <p:nvPr/>
          </p:nvSpPr>
          <p:spPr bwMode="auto">
            <a:xfrm>
              <a:off x="6782" y="843"/>
              <a:ext cx="132" cy="275"/>
            </a:xfrm>
            <a:custGeom>
              <a:avLst/>
              <a:gdLst>
                <a:gd name="T0" fmla="*/ 2479 w 2482"/>
                <a:gd name="T1" fmla="*/ 339 h 5192"/>
                <a:gd name="T2" fmla="*/ 2379 w 2482"/>
                <a:gd name="T3" fmla="*/ 113 h 5192"/>
                <a:gd name="T4" fmla="*/ 2086 w 2482"/>
                <a:gd name="T5" fmla="*/ 5 h 5192"/>
                <a:gd name="T6" fmla="*/ 1725 w 2482"/>
                <a:gd name="T7" fmla="*/ 391 h 5192"/>
                <a:gd name="T8" fmla="*/ 1725 w 2482"/>
                <a:gd name="T9" fmla="*/ 483 h 5192"/>
                <a:gd name="T10" fmla="*/ 1662 w 2482"/>
                <a:gd name="T11" fmla="*/ 476 h 5192"/>
                <a:gd name="T12" fmla="*/ 1649 w 2482"/>
                <a:gd name="T13" fmla="*/ 475 h 5192"/>
                <a:gd name="T14" fmla="*/ 1270 w 2482"/>
                <a:gd name="T15" fmla="*/ 854 h 5192"/>
                <a:gd name="T16" fmla="*/ 1270 w 2482"/>
                <a:gd name="T17" fmla="*/ 1779 h 5192"/>
                <a:gd name="T18" fmla="*/ 399 w 2482"/>
                <a:gd name="T19" fmla="*/ 2637 h 5192"/>
                <a:gd name="T20" fmla="*/ 0 w 2482"/>
                <a:gd name="T21" fmla="*/ 3590 h 5192"/>
                <a:gd name="T22" fmla="*/ 0 w 2482"/>
                <a:gd name="T23" fmla="*/ 5067 h 5192"/>
                <a:gd name="T24" fmla="*/ 125 w 2482"/>
                <a:gd name="T25" fmla="*/ 5192 h 5192"/>
                <a:gd name="T26" fmla="*/ 1003 w 2482"/>
                <a:gd name="T27" fmla="*/ 5192 h 5192"/>
                <a:gd name="T28" fmla="*/ 1128 w 2482"/>
                <a:gd name="T29" fmla="*/ 5067 h 5192"/>
                <a:gd name="T30" fmla="*/ 1128 w 2482"/>
                <a:gd name="T31" fmla="*/ 4075 h 5192"/>
                <a:gd name="T32" fmla="*/ 2103 w 2482"/>
                <a:gd name="T33" fmla="*/ 3289 h 5192"/>
                <a:gd name="T34" fmla="*/ 2109 w 2482"/>
                <a:gd name="T35" fmla="*/ 3283 h 5192"/>
                <a:gd name="T36" fmla="*/ 2482 w 2482"/>
                <a:gd name="T37" fmla="*/ 2467 h 5192"/>
                <a:gd name="T38" fmla="*/ 2482 w 2482"/>
                <a:gd name="T39" fmla="*/ 2437 h 5192"/>
                <a:gd name="T40" fmla="*/ 2479 w 2482"/>
                <a:gd name="T41" fmla="*/ 339 h 5192"/>
                <a:gd name="T42" fmla="*/ 1648 w 2482"/>
                <a:gd name="T43" fmla="*/ 725 h 5192"/>
                <a:gd name="T44" fmla="*/ 1654 w 2482"/>
                <a:gd name="T45" fmla="*/ 726 h 5192"/>
                <a:gd name="T46" fmla="*/ 1725 w 2482"/>
                <a:gd name="T47" fmla="*/ 751 h 5192"/>
                <a:gd name="T48" fmla="*/ 1725 w 2482"/>
                <a:gd name="T49" fmla="*/ 1656 h 5192"/>
                <a:gd name="T50" fmla="*/ 1520 w 2482"/>
                <a:gd name="T51" fmla="*/ 1636 h 5192"/>
                <a:gd name="T52" fmla="*/ 1520 w 2482"/>
                <a:gd name="T53" fmla="*/ 854 h 5192"/>
                <a:gd name="T54" fmla="*/ 1648 w 2482"/>
                <a:gd name="T55" fmla="*/ 725 h 5192"/>
                <a:gd name="T56" fmla="*/ 2232 w 2482"/>
                <a:gd name="T57" fmla="*/ 2463 h 5192"/>
                <a:gd name="T58" fmla="*/ 1943 w 2482"/>
                <a:gd name="T59" fmla="*/ 3097 h 5192"/>
                <a:gd name="T60" fmla="*/ 925 w 2482"/>
                <a:gd name="T61" fmla="*/ 3918 h 5192"/>
                <a:gd name="T62" fmla="*/ 878 w 2482"/>
                <a:gd name="T63" fmla="*/ 4015 h 5192"/>
                <a:gd name="T64" fmla="*/ 878 w 2482"/>
                <a:gd name="T65" fmla="*/ 4942 h 5192"/>
                <a:gd name="T66" fmla="*/ 250 w 2482"/>
                <a:gd name="T67" fmla="*/ 4942 h 5192"/>
                <a:gd name="T68" fmla="*/ 250 w 2482"/>
                <a:gd name="T69" fmla="*/ 3590 h 5192"/>
                <a:gd name="T70" fmla="*/ 574 w 2482"/>
                <a:gd name="T71" fmla="*/ 2816 h 5192"/>
                <a:gd name="T72" fmla="*/ 1474 w 2482"/>
                <a:gd name="T73" fmla="*/ 1929 h 5192"/>
                <a:gd name="T74" fmla="*/ 1475 w 2482"/>
                <a:gd name="T75" fmla="*/ 1928 h 5192"/>
                <a:gd name="T76" fmla="*/ 1681 w 2482"/>
                <a:gd name="T77" fmla="*/ 1914 h 5192"/>
                <a:gd name="T78" fmla="*/ 1697 w 2482"/>
                <a:gd name="T79" fmla="*/ 1929 h 5192"/>
                <a:gd name="T80" fmla="*/ 1738 w 2482"/>
                <a:gd name="T81" fmla="*/ 2012 h 5192"/>
                <a:gd name="T82" fmla="*/ 1696 w 2482"/>
                <a:gd name="T83" fmla="*/ 2145 h 5192"/>
                <a:gd name="T84" fmla="*/ 1695 w 2482"/>
                <a:gd name="T85" fmla="*/ 2146 h 5192"/>
                <a:gd name="T86" fmla="*/ 1251 w 2482"/>
                <a:gd name="T87" fmla="*/ 2608 h 5192"/>
                <a:gd name="T88" fmla="*/ 1254 w 2482"/>
                <a:gd name="T89" fmla="*/ 2785 h 5192"/>
                <a:gd name="T90" fmla="*/ 1431 w 2482"/>
                <a:gd name="T91" fmla="*/ 2781 h 5192"/>
                <a:gd name="T92" fmla="*/ 1874 w 2482"/>
                <a:gd name="T93" fmla="*/ 2320 h 5192"/>
                <a:gd name="T94" fmla="*/ 1985 w 2482"/>
                <a:gd name="T95" fmla="*/ 1974 h 5192"/>
                <a:gd name="T96" fmla="*/ 1975 w 2482"/>
                <a:gd name="T97" fmla="*/ 1927 h 5192"/>
                <a:gd name="T98" fmla="*/ 1975 w 2482"/>
                <a:gd name="T99" fmla="*/ 391 h 5192"/>
                <a:gd name="T100" fmla="*/ 2098 w 2482"/>
                <a:gd name="T101" fmla="*/ 255 h 5192"/>
                <a:gd name="T102" fmla="*/ 2206 w 2482"/>
                <a:gd name="T103" fmla="*/ 294 h 5192"/>
                <a:gd name="T104" fmla="*/ 2229 w 2482"/>
                <a:gd name="T105" fmla="*/ 339 h 5192"/>
                <a:gd name="T106" fmla="*/ 2232 w 2482"/>
                <a:gd name="T107" fmla="*/ 2438 h 5192"/>
                <a:gd name="T108" fmla="*/ 2232 w 2482"/>
                <a:gd name="T109" fmla="*/ 2463 h 5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82" h="5192">
                  <a:moveTo>
                    <a:pt x="2479" y="339"/>
                  </a:moveTo>
                  <a:cubicBezTo>
                    <a:pt x="2479" y="255"/>
                    <a:pt x="2443" y="174"/>
                    <a:pt x="2379" y="113"/>
                  </a:cubicBezTo>
                  <a:cubicBezTo>
                    <a:pt x="2303" y="40"/>
                    <a:pt x="2194" y="0"/>
                    <a:pt x="2086" y="5"/>
                  </a:cubicBezTo>
                  <a:cubicBezTo>
                    <a:pt x="1884" y="15"/>
                    <a:pt x="1725" y="184"/>
                    <a:pt x="1725" y="391"/>
                  </a:cubicBezTo>
                  <a:lnTo>
                    <a:pt x="1725" y="483"/>
                  </a:lnTo>
                  <a:cubicBezTo>
                    <a:pt x="1705" y="479"/>
                    <a:pt x="1683" y="476"/>
                    <a:pt x="1662" y="476"/>
                  </a:cubicBezTo>
                  <a:cubicBezTo>
                    <a:pt x="1662" y="476"/>
                    <a:pt x="1651" y="475"/>
                    <a:pt x="1649" y="475"/>
                  </a:cubicBezTo>
                  <a:cubicBezTo>
                    <a:pt x="1440" y="475"/>
                    <a:pt x="1270" y="645"/>
                    <a:pt x="1270" y="854"/>
                  </a:cubicBezTo>
                  <a:lnTo>
                    <a:pt x="1270" y="1779"/>
                  </a:lnTo>
                  <a:lnTo>
                    <a:pt x="399" y="2637"/>
                  </a:lnTo>
                  <a:cubicBezTo>
                    <a:pt x="145" y="2887"/>
                    <a:pt x="0" y="3235"/>
                    <a:pt x="0" y="3590"/>
                  </a:cubicBezTo>
                  <a:lnTo>
                    <a:pt x="0" y="5067"/>
                  </a:lnTo>
                  <a:cubicBezTo>
                    <a:pt x="0" y="5136"/>
                    <a:pt x="56" y="5192"/>
                    <a:pt x="125" y="5192"/>
                  </a:cubicBezTo>
                  <a:lnTo>
                    <a:pt x="1003" y="5192"/>
                  </a:lnTo>
                  <a:cubicBezTo>
                    <a:pt x="1072" y="5192"/>
                    <a:pt x="1128" y="5136"/>
                    <a:pt x="1128" y="5067"/>
                  </a:cubicBezTo>
                  <a:lnTo>
                    <a:pt x="1128" y="4075"/>
                  </a:lnTo>
                  <a:lnTo>
                    <a:pt x="2103" y="3289"/>
                  </a:lnTo>
                  <a:cubicBezTo>
                    <a:pt x="2105" y="3287"/>
                    <a:pt x="2107" y="3285"/>
                    <a:pt x="2109" y="3283"/>
                  </a:cubicBezTo>
                  <a:cubicBezTo>
                    <a:pt x="2340" y="3071"/>
                    <a:pt x="2476" y="2774"/>
                    <a:pt x="2482" y="2467"/>
                  </a:cubicBezTo>
                  <a:cubicBezTo>
                    <a:pt x="2482" y="2457"/>
                    <a:pt x="2482" y="2447"/>
                    <a:pt x="2482" y="2437"/>
                  </a:cubicBezTo>
                  <a:cubicBezTo>
                    <a:pt x="2481" y="2007"/>
                    <a:pt x="2479" y="634"/>
                    <a:pt x="2479" y="339"/>
                  </a:cubicBezTo>
                  <a:close/>
                  <a:moveTo>
                    <a:pt x="1648" y="725"/>
                  </a:moveTo>
                  <a:lnTo>
                    <a:pt x="1654" y="726"/>
                  </a:lnTo>
                  <a:cubicBezTo>
                    <a:pt x="1680" y="727"/>
                    <a:pt x="1705" y="735"/>
                    <a:pt x="1725" y="751"/>
                  </a:cubicBezTo>
                  <a:lnTo>
                    <a:pt x="1725" y="1656"/>
                  </a:lnTo>
                  <a:cubicBezTo>
                    <a:pt x="1659" y="1631"/>
                    <a:pt x="1588" y="1625"/>
                    <a:pt x="1520" y="1636"/>
                  </a:cubicBezTo>
                  <a:lnTo>
                    <a:pt x="1520" y="854"/>
                  </a:lnTo>
                  <a:cubicBezTo>
                    <a:pt x="1520" y="783"/>
                    <a:pt x="1578" y="725"/>
                    <a:pt x="1648" y="725"/>
                  </a:cubicBezTo>
                  <a:close/>
                  <a:moveTo>
                    <a:pt x="2232" y="2463"/>
                  </a:moveTo>
                  <a:cubicBezTo>
                    <a:pt x="2227" y="2700"/>
                    <a:pt x="2122" y="2931"/>
                    <a:pt x="1943" y="3097"/>
                  </a:cubicBezTo>
                  <a:lnTo>
                    <a:pt x="925" y="3918"/>
                  </a:lnTo>
                  <a:cubicBezTo>
                    <a:pt x="896" y="3942"/>
                    <a:pt x="878" y="3977"/>
                    <a:pt x="878" y="4015"/>
                  </a:cubicBezTo>
                  <a:lnTo>
                    <a:pt x="878" y="4942"/>
                  </a:lnTo>
                  <a:lnTo>
                    <a:pt x="250" y="4942"/>
                  </a:lnTo>
                  <a:lnTo>
                    <a:pt x="250" y="3590"/>
                  </a:lnTo>
                  <a:cubicBezTo>
                    <a:pt x="250" y="3301"/>
                    <a:pt x="368" y="3019"/>
                    <a:pt x="574" y="2816"/>
                  </a:cubicBezTo>
                  <a:lnTo>
                    <a:pt x="1474" y="1929"/>
                  </a:lnTo>
                  <a:cubicBezTo>
                    <a:pt x="1474" y="1929"/>
                    <a:pt x="1475" y="1928"/>
                    <a:pt x="1475" y="1928"/>
                  </a:cubicBezTo>
                  <a:cubicBezTo>
                    <a:pt x="1531" y="1871"/>
                    <a:pt x="1619" y="1866"/>
                    <a:pt x="1681" y="1914"/>
                  </a:cubicBezTo>
                  <a:cubicBezTo>
                    <a:pt x="1685" y="1918"/>
                    <a:pt x="1693" y="1926"/>
                    <a:pt x="1697" y="1929"/>
                  </a:cubicBezTo>
                  <a:cubicBezTo>
                    <a:pt x="1719" y="1952"/>
                    <a:pt x="1733" y="1981"/>
                    <a:pt x="1738" y="2012"/>
                  </a:cubicBezTo>
                  <a:cubicBezTo>
                    <a:pt x="1746" y="2061"/>
                    <a:pt x="1730" y="2110"/>
                    <a:pt x="1696" y="2145"/>
                  </a:cubicBezTo>
                  <a:cubicBezTo>
                    <a:pt x="1695" y="2145"/>
                    <a:pt x="1695" y="2146"/>
                    <a:pt x="1695" y="2146"/>
                  </a:cubicBezTo>
                  <a:lnTo>
                    <a:pt x="1251" y="2608"/>
                  </a:lnTo>
                  <a:cubicBezTo>
                    <a:pt x="1203" y="2658"/>
                    <a:pt x="1204" y="2737"/>
                    <a:pt x="1254" y="2785"/>
                  </a:cubicBezTo>
                  <a:cubicBezTo>
                    <a:pt x="1304" y="2833"/>
                    <a:pt x="1383" y="2831"/>
                    <a:pt x="1431" y="2781"/>
                  </a:cubicBezTo>
                  <a:lnTo>
                    <a:pt x="1874" y="2320"/>
                  </a:lnTo>
                  <a:cubicBezTo>
                    <a:pt x="1964" y="2229"/>
                    <a:pt x="2005" y="2100"/>
                    <a:pt x="1985" y="1974"/>
                  </a:cubicBezTo>
                  <a:cubicBezTo>
                    <a:pt x="1983" y="1958"/>
                    <a:pt x="1980" y="1943"/>
                    <a:pt x="1975" y="1927"/>
                  </a:cubicBezTo>
                  <a:lnTo>
                    <a:pt x="1975" y="391"/>
                  </a:lnTo>
                  <a:cubicBezTo>
                    <a:pt x="1975" y="319"/>
                    <a:pt x="2030" y="258"/>
                    <a:pt x="2098" y="255"/>
                  </a:cubicBezTo>
                  <a:cubicBezTo>
                    <a:pt x="2137" y="253"/>
                    <a:pt x="2180" y="268"/>
                    <a:pt x="2206" y="294"/>
                  </a:cubicBezTo>
                  <a:cubicBezTo>
                    <a:pt x="2221" y="308"/>
                    <a:pt x="2229" y="323"/>
                    <a:pt x="2229" y="339"/>
                  </a:cubicBezTo>
                  <a:cubicBezTo>
                    <a:pt x="2229" y="634"/>
                    <a:pt x="2231" y="2008"/>
                    <a:pt x="2232" y="2438"/>
                  </a:cubicBezTo>
                  <a:cubicBezTo>
                    <a:pt x="2232" y="2446"/>
                    <a:pt x="2232" y="2454"/>
                    <a:pt x="2232" y="2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52"/>
            <p:cNvSpPr>
              <a:spLocks/>
            </p:cNvSpPr>
            <p:nvPr/>
          </p:nvSpPr>
          <p:spPr bwMode="auto">
            <a:xfrm>
              <a:off x="6825" y="1001"/>
              <a:ext cx="15" cy="13"/>
            </a:xfrm>
            <a:custGeom>
              <a:avLst/>
              <a:gdLst>
                <a:gd name="T0" fmla="*/ 250 w 272"/>
                <a:gd name="T1" fmla="*/ 82 h 262"/>
                <a:gd name="T2" fmla="*/ 123 w 272"/>
                <a:gd name="T3" fmla="*/ 5 h 262"/>
                <a:gd name="T4" fmla="*/ 14 w 272"/>
                <a:gd name="T5" fmla="*/ 97 h 262"/>
                <a:gd name="T6" fmla="*/ 61 w 272"/>
                <a:gd name="T7" fmla="*/ 231 h 262"/>
                <a:gd name="T8" fmla="*/ 205 w 272"/>
                <a:gd name="T9" fmla="*/ 232 h 262"/>
                <a:gd name="T10" fmla="*/ 250 w 272"/>
                <a:gd name="T11" fmla="*/ 8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2" h="262">
                  <a:moveTo>
                    <a:pt x="250" y="82"/>
                  </a:moveTo>
                  <a:cubicBezTo>
                    <a:pt x="229" y="32"/>
                    <a:pt x="177" y="0"/>
                    <a:pt x="123" y="5"/>
                  </a:cubicBezTo>
                  <a:cubicBezTo>
                    <a:pt x="71" y="9"/>
                    <a:pt x="27" y="47"/>
                    <a:pt x="14" y="97"/>
                  </a:cubicBezTo>
                  <a:cubicBezTo>
                    <a:pt x="0" y="147"/>
                    <a:pt x="20" y="201"/>
                    <a:pt x="61" y="231"/>
                  </a:cubicBezTo>
                  <a:cubicBezTo>
                    <a:pt x="104" y="261"/>
                    <a:pt x="163" y="262"/>
                    <a:pt x="205" y="232"/>
                  </a:cubicBezTo>
                  <a:cubicBezTo>
                    <a:pt x="253" y="199"/>
                    <a:pt x="272" y="135"/>
                    <a:pt x="250" y="8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6" name="Group 55"/>
          <p:cNvGrpSpPr>
            <a:grpSpLocks noChangeAspect="1"/>
          </p:cNvGrpSpPr>
          <p:nvPr/>
        </p:nvGrpSpPr>
        <p:grpSpPr bwMode="auto">
          <a:xfrm>
            <a:off x="4324301" y="3065466"/>
            <a:ext cx="523875" cy="525463"/>
            <a:chOff x="2682" y="1963"/>
            <a:chExt cx="330" cy="331"/>
          </a:xfrm>
          <a:gradFill>
            <a:gsLst>
              <a:gs pos="0">
                <a:srgbClr val="FEC232"/>
              </a:gs>
              <a:gs pos="100000">
                <a:srgbClr val="DF6F51"/>
              </a:gs>
            </a:gsLst>
            <a:lin ang="2700000" scaled="1"/>
          </a:gradFill>
        </p:grpSpPr>
        <p:sp>
          <p:nvSpPr>
            <p:cNvPr id="218" name="Freeform 56"/>
            <p:cNvSpPr>
              <a:spLocks noEditPoints="1"/>
            </p:cNvSpPr>
            <p:nvPr/>
          </p:nvSpPr>
          <p:spPr bwMode="auto">
            <a:xfrm>
              <a:off x="2682" y="1963"/>
              <a:ext cx="330" cy="331"/>
            </a:xfrm>
            <a:custGeom>
              <a:avLst/>
              <a:gdLst>
                <a:gd name="T0" fmla="*/ 3236 w 6236"/>
                <a:gd name="T1" fmla="*/ 20 h 6256"/>
                <a:gd name="T2" fmla="*/ 464 w 6236"/>
                <a:gd name="T3" fmla="*/ 1872 h 6256"/>
                <a:gd name="T4" fmla="*/ 1115 w 6236"/>
                <a:gd name="T5" fmla="*/ 5141 h 6256"/>
                <a:gd name="T6" fmla="*/ 4384 w 6236"/>
                <a:gd name="T7" fmla="*/ 5792 h 6256"/>
                <a:gd name="T8" fmla="*/ 6236 w 6236"/>
                <a:gd name="T9" fmla="*/ 3020 h 6256"/>
                <a:gd name="T10" fmla="*/ 3236 w 6236"/>
                <a:gd name="T11" fmla="*/ 20 h 6256"/>
                <a:gd name="T12" fmla="*/ 3236 w 6236"/>
                <a:gd name="T13" fmla="*/ 5820 h 6256"/>
                <a:gd name="T14" fmla="*/ 649 w 6236"/>
                <a:gd name="T15" fmla="*/ 4092 h 6256"/>
                <a:gd name="T16" fmla="*/ 1256 w 6236"/>
                <a:gd name="T17" fmla="*/ 1040 h 6256"/>
                <a:gd name="T18" fmla="*/ 4308 w 6236"/>
                <a:gd name="T19" fmla="*/ 433 h 6256"/>
                <a:gd name="T20" fmla="*/ 6036 w 6236"/>
                <a:gd name="T21" fmla="*/ 3020 h 6256"/>
                <a:gd name="T22" fmla="*/ 3236 w 6236"/>
                <a:gd name="T23" fmla="*/ 5820 h 6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36" h="6256">
                  <a:moveTo>
                    <a:pt x="3236" y="20"/>
                  </a:moveTo>
                  <a:cubicBezTo>
                    <a:pt x="2023" y="20"/>
                    <a:pt x="929" y="751"/>
                    <a:pt x="464" y="1872"/>
                  </a:cubicBezTo>
                  <a:cubicBezTo>
                    <a:pt x="0" y="2993"/>
                    <a:pt x="257" y="4283"/>
                    <a:pt x="1115" y="5141"/>
                  </a:cubicBezTo>
                  <a:cubicBezTo>
                    <a:pt x="1973" y="5999"/>
                    <a:pt x="3263" y="6256"/>
                    <a:pt x="4384" y="5792"/>
                  </a:cubicBezTo>
                  <a:cubicBezTo>
                    <a:pt x="5505" y="5327"/>
                    <a:pt x="6236" y="4233"/>
                    <a:pt x="6236" y="3020"/>
                  </a:cubicBezTo>
                  <a:cubicBezTo>
                    <a:pt x="6234" y="1364"/>
                    <a:pt x="4892" y="22"/>
                    <a:pt x="3236" y="20"/>
                  </a:cubicBezTo>
                  <a:close/>
                  <a:moveTo>
                    <a:pt x="3236" y="5820"/>
                  </a:moveTo>
                  <a:cubicBezTo>
                    <a:pt x="2104" y="5820"/>
                    <a:pt x="1083" y="5138"/>
                    <a:pt x="649" y="4092"/>
                  </a:cubicBezTo>
                  <a:cubicBezTo>
                    <a:pt x="216" y="3045"/>
                    <a:pt x="455" y="1841"/>
                    <a:pt x="1256" y="1040"/>
                  </a:cubicBezTo>
                  <a:cubicBezTo>
                    <a:pt x="2057" y="239"/>
                    <a:pt x="3261" y="0"/>
                    <a:pt x="4308" y="433"/>
                  </a:cubicBezTo>
                  <a:cubicBezTo>
                    <a:pt x="5354" y="867"/>
                    <a:pt x="6036" y="1888"/>
                    <a:pt x="6036" y="3020"/>
                  </a:cubicBezTo>
                  <a:cubicBezTo>
                    <a:pt x="6034" y="4566"/>
                    <a:pt x="4782" y="5818"/>
                    <a:pt x="3236" y="58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57"/>
            <p:cNvSpPr>
              <a:spLocks noEditPoints="1"/>
            </p:cNvSpPr>
            <p:nvPr/>
          </p:nvSpPr>
          <p:spPr bwMode="auto">
            <a:xfrm>
              <a:off x="2811" y="2202"/>
              <a:ext cx="85" cy="53"/>
            </a:xfrm>
            <a:custGeom>
              <a:avLst/>
              <a:gdLst>
                <a:gd name="T0" fmla="*/ 1500 w 1600"/>
                <a:gd name="T1" fmla="*/ 0 h 1000"/>
                <a:gd name="T2" fmla="*/ 100 w 1600"/>
                <a:gd name="T3" fmla="*/ 0 h 1000"/>
                <a:gd name="T4" fmla="*/ 0 w 1600"/>
                <a:gd name="T5" fmla="*/ 100 h 1000"/>
                <a:gd name="T6" fmla="*/ 0 w 1600"/>
                <a:gd name="T7" fmla="*/ 900 h 1000"/>
                <a:gd name="T8" fmla="*/ 100 w 1600"/>
                <a:gd name="T9" fmla="*/ 1000 h 1000"/>
                <a:gd name="T10" fmla="*/ 1500 w 1600"/>
                <a:gd name="T11" fmla="*/ 1000 h 1000"/>
                <a:gd name="T12" fmla="*/ 1600 w 1600"/>
                <a:gd name="T13" fmla="*/ 900 h 1000"/>
                <a:gd name="T14" fmla="*/ 1600 w 1600"/>
                <a:gd name="T15" fmla="*/ 100 h 1000"/>
                <a:gd name="T16" fmla="*/ 1500 w 1600"/>
                <a:gd name="T17" fmla="*/ 0 h 1000"/>
                <a:gd name="T18" fmla="*/ 1400 w 1600"/>
                <a:gd name="T19" fmla="*/ 800 h 1000"/>
                <a:gd name="T20" fmla="*/ 200 w 1600"/>
                <a:gd name="T21" fmla="*/ 800 h 1000"/>
                <a:gd name="T22" fmla="*/ 200 w 1600"/>
                <a:gd name="T23" fmla="*/ 200 h 1000"/>
                <a:gd name="T24" fmla="*/ 1400 w 1600"/>
                <a:gd name="T25" fmla="*/ 200 h 1000"/>
                <a:gd name="T26" fmla="*/ 1400 w 1600"/>
                <a:gd name="T27" fmla="*/ 80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00" h="1000">
                  <a:moveTo>
                    <a:pt x="1500" y="0"/>
                  </a:move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lnTo>
                    <a:pt x="0" y="900"/>
                  </a:lnTo>
                  <a:cubicBezTo>
                    <a:pt x="0" y="955"/>
                    <a:pt x="45" y="1000"/>
                    <a:pt x="100" y="1000"/>
                  </a:cubicBezTo>
                  <a:lnTo>
                    <a:pt x="1500" y="1000"/>
                  </a:lnTo>
                  <a:cubicBezTo>
                    <a:pt x="1555" y="1000"/>
                    <a:pt x="1600" y="955"/>
                    <a:pt x="1600" y="900"/>
                  </a:cubicBezTo>
                  <a:lnTo>
                    <a:pt x="1600" y="100"/>
                  </a:lnTo>
                  <a:cubicBezTo>
                    <a:pt x="1600" y="45"/>
                    <a:pt x="1555" y="0"/>
                    <a:pt x="1500" y="0"/>
                  </a:cubicBezTo>
                  <a:close/>
                  <a:moveTo>
                    <a:pt x="1400" y="800"/>
                  </a:moveTo>
                  <a:lnTo>
                    <a:pt x="200" y="800"/>
                  </a:lnTo>
                  <a:lnTo>
                    <a:pt x="200" y="200"/>
                  </a:lnTo>
                  <a:lnTo>
                    <a:pt x="1400" y="200"/>
                  </a:lnTo>
                  <a:lnTo>
                    <a:pt x="1400" y="8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58"/>
            <p:cNvSpPr>
              <a:spLocks noEditPoints="1"/>
            </p:cNvSpPr>
            <p:nvPr/>
          </p:nvSpPr>
          <p:spPr bwMode="auto">
            <a:xfrm>
              <a:off x="2721" y="1990"/>
              <a:ext cx="265" cy="173"/>
            </a:xfrm>
            <a:custGeom>
              <a:avLst/>
              <a:gdLst>
                <a:gd name="T0" fmla="*/ 0 w 5000"/>
                <a:gd name="T1" fmla="*/ 2500 h 3277"/>
                <a:gd name="T2" fmla="*/ 900 w 5000"/>
                <a:gd name="T3" fmla="*/ 2600 h 3277"/>
                <a:gd name="T4" fmla="*/ 1857 w 5000"/>
                <a:gd name="T5" fmla="*/ 1145 h 3277"/>
                <a:gd name="T6" fmla="*/ 2800 w 5000"/>
                <a:gd name="T7" fmla="*/ 1869 h 3277"/>
                <a:gd name="T8" fmla="*/ 1998 w 5000"/>
                <a:gd name="T9" fmla="*/ 3002 h 3277"/>
                <a:gd name="T10" fmla="*/ 3131 w 5000"/>
                <a:gd name="T11" fmla="*/ 2200 h 3277"/>
                <a:gd name="T12" fmla="*/ 4000 w 5000"/>
                <a:gd name="T13" fmla="*/ 2500 h 3277"/>
                <a:gd name="T14" fmla="*/ 4900 w 5000"/>
                <a:gd name="T15" fmla="*/ 2600 h 3277"/>
                <a:gd name="T16" fmla="*/ 2500 w 5000"/>
                <a:gd name="T17" fmla="*/ 0 h 3277"/>
                <a:gd name="T18" fmla="*/ 202 w 5000"/>
                <a:gd name="T19" fmla="*/ 2400 h 3277"/>
                <a:gd name="T20" fmla="*/ 982 w 5000"/>
                <a:gd name="T21" fmla="*/ 1739 h 3277"/>
                <a:gd name="T22" fmla="*/ 1082 w 5000"/>
                <a:gd name="T23" fmla="*/ 1566 h 3277"/>
                <a:gd name="T24" fmla="*/ 1265 w 5000"/>
                <a:gd name="T25" fmla="*/ 561 h 3277"/>
                <a:gd name="T26" fmla="*/ 1082 w 5000"/>
                <a:gd name="T27" fmla="*/ 1566 h 3277"/>
                <a:gd name="T28" fmla="*/ 1739 w 5000"/>
                <a:gd name="T29" fmla="*/ 981 h 3277"/>
                <a:gd name="T30" fmla="*/ 2400 w 5000"/>
                <a:gd name="T31" fmla="*/ 202 h 3277"/>
                <a:gd name="T32" fmla="*/ 2500 w 5000"/>
                <a:gd name="T33" fmla="*/ 3000 h 3277"/>
                <a:gd name="T34" fmla="*/ 2500 w 5000"/>
                <a:gd name="T35" fmla="*/ 2000 h 3277"/>
                <a:gd name="T36" fmla="*/ 2295 w 5000"/>
                <a:gd name="T37" fmla="*/ 2281 h 3277"/>
                <a:gd name="T38" fmla="*/ 2280 w 5000"/>
                <a:gd name="T39" fmla="*/ 2720 h 3277"/>
                <a:gd name="T40" fmla="*/ 2719 w 5000"/>
                <a:gd name="T41" fmla="*/ 2705 h 3277"/>
                <a:gd name="T42" fmla="*/ 3000 w 5000"/>
                <a:gd name="T43" fmla="*/ 2500 h 3277"/>
                <a:gd name="T44" fmla="*/ 2568 w 5000"/>
                <a:gd name="T45" fmla="*/ 2574 h 3277"/>
                <a:gd name="T46" fmla="*/ 2400 w 5000"/>
                <a:gd name="T47" fmla="*/ 2500 h 3277"/>
                <a:gd name="T48" fmla="*/ 3196 w 5000"/>
                <a:gd name="T49" fmla="*/ 1804 h 3277"/>
                <a:gd name="T50" fmla="*/ 2600 w 5000"/>
                <a:gd name="T51" fmla="*/ 805 h 3277"/>
                <a:gd name="T52" fmla="*/ 3562 w 5000"/>
                <a:gd name="T53" fmla="*/ 460 h 3277"/>
                <a:gd name="T54" fmla="*/ 2600 w 5000"/>
                <a:gd name="T55" fmla="*/ 805 h 3277"/>
                <a:gd name="T56" fmla="*/ 3789 w 5000"/>
                <a:gd name="T57" fmla="*/ 1394 h 3277"/>
                <a:gd name="T58" fmla="*/ 3837 w 5000"/>
                <a:gd name="T59" fmla="*/ 1023 h 3277"/>
                <a:gd name="T60" fmla="*/ 3435 w 5000"/>
                <a:gd name="T61" fmla="*/ 1081 h 3277"/>
                <a:gd name="T62" fmla="*/ 4439 w 5000"/>
                <a:gd name="T63" fmla="*/ 1265 h 3277"/>
                <a:gd name="T64" fmla="*/ 4197 w 5000"/>
                <a:gd name="T65" fmla="*/ 2400 h 3277"/>
                <a:gd name="T66" fmla="*/ 4540 w 5000"/>
                <a:gd name="T67" fmla="*/ 1438 h 3277"/>
                <a:gd name="T68" fmla="*/ 4197 w 5000"/>
                <a:gd name="T69" fmla="*/ 2400 h 3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000" h="3277">
                  <a:moveTo>
                    <a:pt x="2500" y="0"/>
                  </a:moveTo>
                  <a:cubicBezTo>
                    <a:pt x="1120" y="1"/>
                    <a:pt x="1" y="1120"/>
                    <a:pt x="0" y="2500"/>
                  </a:cubicBezTo>
                  <a:cubicBezTo>
                    <a:pt x="0" y="2555"/>
                    <a:pt x="45" y="2600"/>
                    <a:pt x="100" y="2600"/>
                  </a:cubicBezTo>
                  <a:lnTo>
                    <a:pt x="900" y="2600"/>
                  </a:lnTo>
                  <a:cubicBezTo>
                    <a:pt x="955" y="2600"/>
                    <a:pt x="1000" y="2555"/>
                    <a:pt x="1000" y="2500"/>
                  </a:cubicBezTo>
                  <a:cubicBezTo>
                    <a:pt x="1000" y="1921"/>
                    <a:pt x="1333" y="1393"/>
                    <a:pt x="1857" y="1145"/>
                  </a:cubicBezTo>
                  <a:cubicBezTo>
                    <a:pt x="2381" y="896"/>
                    <a:pt x="3001" y="972"/>
                    <a:pt x="3449" y="1339"/>
                  </a:cubicBezTo>
                  <a:lnTo>
                    <a:pt x="2800" y="1869"/>
                  </a:lnTo>
                  <a:cubicBezTo>
                    <a:pt x="2491" y="1721"/>
                    <a:pt x="2120" y="1817"/>
                    <a:pt x="1921" y="2097"/>
                  </a:cubicBezTo>
                  <a:cubicBezTo>
                    <a:pt x="1723" y="2377"/>
                    <a:pt x="1756" y="2759"/>
                    <a:pt x="1998" y="3002"/>
                  </a:cubicBezTo>
                  <a:cubicBezTo>
                    <a:pt x="2241" y="3244"/>
                    <a:pt x="2623" y="3277"/>
                    <a:pt x="2903" y="3079"/>
                  </a:cubicBezTo>
                  <a:cubicBezTo>
                    <a:pt x="3183" y="2880"/>
                    <a:pt x="3279" y="2509"/>
                    <a:pt x="3131" y="2200"/>
                  </a:cubicBezTo>
                  <a:lnTo>
                    <a:pt x="3661" y="1551"/>
                  </a:lnTo>
                  <a:cubicBezTo>
                    <a:pt x="3881" y="1818"/>
                    <a:pt x="4000" y="2154"/>
                    <a:pt x="4000" y="2500"/>
                  </a:cubicBezTo>
                  <a:cubicBezTo>
                    <a:pt x="4000" y="2555"/>
                    <a:pt x="4045" y="2600"/>
                    <a:pt x="4100" y="2600"/>
                  </a:cubicBezTo>
                  <a:lnTo>
                    <a:pt x="4900" y="2600"/>
                  </a:lnTo>
                  <a:cubicBezTo>
                    <a:pt x="4955" y="2600"/>
                    <a:pt x="5000" y="2555"/>
                    <a:pt x="5000" y="2500"/>
                  </a:cubicBezTo>
                  <a:cubicBezTo>
                    <a:pt x="4999" y="1120"/>
                    <a:pt x="3880" y="1"/>
                    <a:pt x="2500" y="0"/>
                  </a:cubicBezTo>
                  <a:close/>
                  <a:moveTo>
                    <a:pt x="803" y="2400"/>
                  </a:moveTo>
                  <a:lnTo>
                    <a:pt x="202" y="2400"/>
                  </a:lnTo>
                  <a:cubicBezTo>
                    <a:pt x="217" y="2064"/>
                    <a:pt x="305" y="1736"/>
                    <a:pt x="460" y="1438"/>
                  </a:cubicBezTo>
                  <a:lnTo>
                    <a:pt x="982" y="1739"/>
                  </a:lnTo>
                  <a:cubicBezTo>
                    <a:pt x="877" y="1945"/>
                    <a:pt x="816" y="2170"/>
                    <a:pt x="803" y="2400"/>
                  </a:cubicBezTo>
                  <a:close/>
                  <a:moveTo>
                    <a:pt x="1082" y="1566"/>
                  </a:moveTo>
                  <a:lnTo>
                    <a:pt x="561" y="1265"/>
                  </a:lnTo>
                  <a:cubicBezTo>
                    <a:pt x="742" y="982"/>
                    <a:pt x="982" y="742"/>
                    <a:pt x="1265" y="561"/>
                  </a:cubicBezTo>
                  <a:lnTo>
                    <a:pt x="1565" y="1081"/>
                  </a:lnTo>
                  <a:cubicBezTo>
                    <a:pt x="1373" y="1209"/>
                    <a:pt x="1209" y="1374"/>
                    <a:pt x="1082" y="1566"/>
                  </a:cubicBezTo>
                  <a:close/>
                  <a:moveTo>
                    <a:pt x="2400" y="805"/>
                  </a:moveTo>
                  <a:cubicBezTo>
                    <a:pt x="2170" y="818"/>
                    <a:pt x="1945" y="878"/>
                    <a:pt x="1739" y="981"/>
                  </a:cubicBezTo>
                  <a:lnTo>
                    <a:pt x="1438" y="460"/>
                  </a:lnTo>
                  <a:cubicBezTo>
                    <a:pt x="1736" y="305"/>
                    <a:pt x="2064" y="217"/>
                    <a:pt x="2400" y="202"/>
                  </a:cubicBezTo>
                  <a:lnTo>
                    <a:pt x="2400" y="805"/>
                  </a:lnTo>
                  <a:close/>
                  <a:moveTo>
                    <a:pt x="2500" y="3000"/>
                  </a:moveTo>
                  <a:cubicBezTo>
                    <a:pt x="2224" y="3000"/>
                    <a:pt x="2000" y="2776"/>
                    <a:pt x="2000" y="2500"/>
                  </a:cubicBezTo>
                  <a:cubicBezTo>
                    <a:pt x="2000" y="2224"/>
                    <a:pt x="2224" y="2000"/>
                    <a:pt x="2500" y="2000"/>
                  </a:cubicBezTo>
                  <a:cubicBezTo>
                    <a:pt x="2541" y="2000"/>
                    <a:pt x="2581" y="2005"/>
                    <a:pt x="2621" y="2015"/>
                  </a:cubicBezTo>
                  <a:lnTo>
                    <a:pt x="2295" y="2281"/>
                  </a:lnTo>
                  <a:cubicBezTo>
                    <a:pt x="2292" y="2283"/>
                    <a:pt x="2290" y="2285"/>
                    <a:pt x="2288" y="2288"/>
                  </a:cubicBezTo>
                  <a:cubicBezTo>
                    <a:pt x="2164" y="2404"/>
                    <a:pt x="2160" y="2600"/>
                    <a:pt x="2280" y="2720"/>
                  </a:cubicBezTo>
                  <a:cubicBezTo>
                    <a:pt x="2400" y="2840"/>
                    <a:pt x="2596" y="2836"/>
                    <a:pt x="2712" y="2712"/>
                  </a:cubicBezTo>
                  <a:cubicBezTo>
                    <a:pt x="2715" y="2710"/>
                    <a:pt x="2717" y="2708"/>
                    <a:pt x="2719" y="2705"/>
                  </a:cubicBezTo>
                  <a:lnTo>
                    <a:pt x="2985" y="2379"/>
                  </a:lnTo>
                  <a:cubicBezTo>
                    <a:pt x="2995" y="2419"/>
                    <a:pt x="3000" y="2459"/>
                    <a:pt x="3000" y="2500"/>
                  </a:cubicBezTo>
                  <a:cubicBezTo>
                    <a:pt x="3000" y="2776"/>
                    <a:pt x="2776" y="3000"/>
                    <a:pt x="2500" y="3000"/>
                  </a:cubicBezTo>
                  <a:close/>
                  <a:moveTo>
                    <a:pt x="2568" y="2574"/>
                  </a:moveTo>
                  <a:cubicBezTo>
                    <a:pt x="2528" y="2609"/>
                    <a:pt x="2468" y="2607"/>
                    <a:pt x="2429" y="2571"/>
                  </a:cubicBezTo>
                  <a:cubicBezTo>
                    <a:pt x="2410" y="2552"/>
                    <a:pt x="2400" y="2527"/>
                    <a:pt x="2400" y="2500"/>
                  </a:cubicBezTo>
                  <a:cubicBezTo>
                    <a:pt x="2400" y="2475"/>
                    <a:pt x="2409" y="2451"/>
                    <a:pt x="2426" y="2432"/>
                  </a:cubicBezTo>
                  <a:lnTo>
                    <a:pt x="3196" y="1804"/>
                  </a:lnTo>
                  <a:lnTo>
                    <a:pt x="2568" y="2574"/>
                  </a:lnTo>
                  <a:close/>
                  <a:moveTo>
                    <a:pt x="2600" y="805"/>
                  </a:moveTo>
                  <a:lnTo>
                    <a:pt x="2600" y="202"/>
                  </a:lnTo>
                  <a:cubicBezTo>
                    <a:pt x="2936" y="217"/>
                    <a:pt x="3264" y="305"/>
                    <a:pt x="3562" y="460"/>
                  </a:cubicBezTo>
                  <a:lnTo>
                    <a:pt x="3261" y="981"/>
                  </a:lnTo>
                  <a:cubicBezTo>
                    <a:pt x="3055" y="878"/>
                    <a:pt x="2830" y="818"/>
                    <a:pt x="2600" y="805"/>
                  </a:cubicBezTo>
                  <a:close/>
                  <a:moveTo>
                    <a:pt x="3918" y="1566"/>
                  </a:moveTo>
                  <a:cubicBezTo>
                    <a:pt x="3879" y="1506"/>
                    <a:pt x="3836" y="1449"/>
                    <a:pt x="3789" y="1394"/>
                  </a:cubicBezTo>
                  <a:lnTo>
                    <a:pt x="3977" y="1163"/>
                  </a:lnTo>
                  <a:cubicBezTo>
                    <a:pt x="4055" y="1070"/>
                    <a:pt x="3930" y="945"/>
                    <a:pt x="3837" y="1023"/>
                  </a:cubicBezTo>
                  <a:lnTo>
                    <a:pt x="3605" y="1212"/>
                  </a:lnTo>
                  <a:cubicBezTo>
                    <a:pt x="3551" y="1165"/>
                    <a:pt x="3494" y="1121"/>
                    <a:pt x="3435" y="1081"/>
                  </a:cubicBezTo>
                  <a:lnTo>
                    <a:pt x="3735" y="561"/>
                  </a:lnTo>
                  <a:cubicBezTo>
                    <a:pt x="4018" y="742"/>
                    <a:pt x="4258" y="982"/>
                    <a:pt x="4439" y="1265"/>
                  </a:cubicBezTo>
                  <a:lnTo>
                    <a:pt x="3918" y="1566"/>
                  </a:lnTo>
                  <a:close/>
                  <a:moveTo>
                    <a:pt x="4197" y="2400"/>
                  </a:moveTo>
                  <a:cubicBezTo>
                    <a:pt x="4184" y="2170"/>
                    <a:pt x="4123" y="1945"/>
                    <a:pt x="4018" y="1739"/>
                  </a:cubicBezTo>
                  <a:lnTo>
                    <a:pt x="4540" y="1438"/>
                  </a:lnTo>
                  <a:cubicBezTo>
                    <a:pt x="4695" y="1736"/>
                    <a:pt x="4783" y="2064"/>
                    <a:pt x="4798" y="2400"/>
                  </a:cubicBezTo>
                  <a:lnTo>
                    <a:pt x="4197" y="2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59"/>
            <p:cNvSpPr>
              <a:spLocks noEditPoints="1"/>
            </p:cNvSpPr>
            <p:nvPr/>
          </p:nvSpPr>
          <p:spPr bwMode="auto">
            <a:xfrm>
              <a:off x="2896" y="2159"/>
              <a:ext cx="37" cy="37"/>
            </a:xfrm>
            <a:custGeom>
              <a:avLst/>
              <a:gdLst>
                <a:gd name="T0" fmla="*/ 401 w 701"/>
                <a:gd name="T1" fmla="*/ 0 h 701"/>
                <a:gd name="T2" fmla="*/ 189 w 701"/>
                <a:gd name="T3" fmla="*/ 512 h 701"/>
                <a:gd name="T4" fmla="*/ 701 w 701"/>
                <a:gd name="T5" fmla="*/ 300 h 701"/>
                <a:gd name="T6" fmla="*/ 401 w 701"/>
                <a:gd name="T7" fmla="*/ 0 h 701"/>
                <a:gd name="T8" fmla="*/ 401 w 701"/>
                <a:gd name="T9" fmla="*/ 400 h 701"/>
                <a:gd name="T10" fmla="*/ 330 w 701"/>
                <a:gd name="T11" fmla="*/ 229 h 701"/>
                <a:gd name="T12" fmla="*/ 501 w 701"/>
                <a:gd name="T13" fmla="*/ 300 h 701"/>
                <a:gd name="T14" fmla="*/ 401 w 701"/>
                <a:gd name="T15" fmla="*/ 400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1" h="701">
                  <a:moveTo>
                    <a:pt x="401" y="0"/>
                  </a:moveTo>
                  <a:cubicBezTo>
                    <a:pt x="134" y="0"/>
                    <a:pt x="0" y="323"/>
                    <a:pt x="189" y="512"/>
                  </a:cubicBezTo>
                  <a:cubicBezTo>
                    <a:pt x="378" y="701"/>
                    <a:pt x="701" y="567"/>
                    <a:pt x="701" y="300"/>
                  </a:cubicBezTo>
                  <a:cubicBezTo>
                    <a:pt x="701" y="134"/>
                    <a:pt x="567" y="0"/>
                    <a:pt x="401" y="0"/>
                  </a:cubicBezTo>
                  <a:close/>
                  <a:moveTo>
                    <a:pt x="401" y="400"/>
                  </a:moveTo>
                  <a:cubicBezTo>
                    <a:pt x="312" y="400"/>
                    <a:pt x="267" y="292"/>
                    <a:pt x="330" y="229"/>
                  </a:cubicBezTo>
                  <a:cubicBezTo>
                    <a:pt x="393" y="166"/>
                    <a:pt x="501" y="211"/>
                    <a:pt x="501" y="300"/>
                  </a:cubicBezTo>
                  <a:cubicBezTo>
                    <a:pt x="501" y="355"/>
                    <a:pt x="456" y="400"/>
                    <a:pt x="401" y="4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60"/>
            <p:cNvSpPr>
              <a:spLocks noEditPoints="1"/>
            </p:cNvSpPr>
            <p:nvPr/>
          </p:nvSpPr>
          <p:spPr bwMode="auto">
            <a:xfrm>
              <a:off x="2938" y="2159"/>
              <a:ext cx="37" cy="37"/>
            </a:xfrm>
            <a:custGeom>
              <a:avLst/>
              <a:gdLst>
                <a:gd name="T0" fmla="*/ 401 w 701"/>
                <a:gd name="T1" fmla="*/ 0 h 701"/>
                <a:gd name="T2" fmla="*/ 189 w 701"/>
                <a:gd name="T3" fmla="*/ 512 h 701"/>
                <a:gd name="T4" fmla="*/ 701 w 701"/>
                <a:gd name="T5" fmla="*/ 300 h 701"/>
                <a:gd name="T6" fmla="*/ 401 w 701"/>
                <a:gd name="T7" fmla="*/ 0 h 701"/>
                <a:gd name="T8" fmla="*/ 401 w 701"/>
                <a:gd name="T9" fmla="*/ 400 h 701"/>
                <a:gd name="T10" fmla="*/ 330 w 701"/>
                <a:gd name="T11" fmla="*/ 229 h 701"/>
                <a:gd name="T12" fmla="*/ 501 w 701"/>
                <a:gd name="T13" fmla="*/ 300 h 701"/>
                <a:gd name="T14" fmla="*/ 401 w 701"/>
                <a:gd name="T15" fmla="*/ 400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1" h="701">
                  <a:moveTo>
                    <a:pt x="401" y="0"/>
                  </a:moveTo>
                  <a:cubicBezTo>
                    <a:pt x="134" y="0"/>
                    <a:pt x="0" y="323"/>
                    <a:pt x="189" y="512"/>
                  </a:cubicBezTo>
                  <a:cubicBezTo>
                    <a:pt x="378" y="701"/>
                    <a:pt x="701" y="567"/>
                    <a:pt x="701" y="300"/>
                  </a:cubicBezTo>
                  <a:cubicBezTo>
                    <a:pt x="701" y="134"/>
                    <a:pt x="567" y="0"/>
                    <a:pt x="401" y="0"/>
                  </a:cubicBezTo>
                  <a:close/>
                  <a:moveTo>
                    <a:pt x="401" y="400"/>
                  </a:moveTo>
                  <a:cubicBezTo>
                    <a:pt x="312" y="400"/>
                    <a:pt x="267" y="292"/>
                    <a:pt x="330" y="229"/>
                  </a:cubicBezTo>
                  <a:cubicBezTo>
                    <a:pt x="393" y="166"/>
                    <a:pt x="501" y="211"/>
                    <a:pt x="501" y="300"/>
                  </a:cubicBezTo>
                  <a:cubicBezTo>
                    <a:pt x="501" y="355"/>
                    <a:pt x="456" y="400"/>
                    <a:pt x="401" y="4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61"/>
            <p:cNvSpPr>
              <a:spLocks noEditPoints="1"/>
            </p:cNvSpPr>
            <p:nvPr/>
          </p:nvSpPr>
          <p:spPr bwMode="auto">
            <a:xfrm>
              <a:off x="2769" y="2159"/>
              <a:ext cx="37" cy="37"/>
            </a:xfrm>
            <a:custGeom>
              <a:avLst/>
              <a:gdLst>
                <a:gd name="T0" fmla="*/ 401 w 701"/>
                <a:gd name="T1" fmla="*/ 0 h 701"/>
                <a:gd name="T2" fmla="*/ 189 w 701"/>
                <a:gd name="T3" fmla="*/ 512 h 701"/>
                <a:gd name="T4" fmla="*/ 701 w 701"/>
                <a:gd name="T5" fmla="*/ 300 h 701"/>
                <a:gd name="T6" fmla="*/ 401 w 701"/>
                <a:gd name="T7" fmla="*/ 0 h 701"/>
                <a:gd name="T8" fmla="*/ 401 w 701"/>
                <a:gd name="T9" fmla="*/ 400 h 701"/>
                <a:gd name="T10" fmla="*/ 330 w 701"/>
                <a:gd name="T11" fmla="*/ 229 h 701"/>
                <a:gd name="T12" fmla="*/ 501 w 701"/>
                <a:gd name="T13" fmla="*/ 300 h 701"/>
                <a:gd name="T14" fmla="*/ 401 w 701"/>
                <a:gd name="T15" fmla="*/ 400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1" h="701">
                  <a:moveTo>
                    <a:pt x="401" y="0"/>
                  </a:moveTo>
                  <a:cubicBezTo>
                    <a:pt x="134" y="0"/>
                    <a:pt x="0" y="323"/>
                    <a:pt x="189" y="512"/>
                  </a:cubicBezTo>
                  <a:cubicBezTo>
                    <a:pt x="378" y="701"/>
                    <a:pt x="701" y="567"/>
                    <a:pt x="701" y="300"/>
                  </a:cubicBezTo>
                  <a:cubicBezTo>
                    <a:pt x="701" y="134"/>
                    <a:pt x="567" y="0"/>
                    <a:pt x="401" y="0"/>
                  </a:cubicBezTo>
                  <a:close/>
                  <a:moveTo>
                    <a:pt x="401" y="400"/>
                  </a:moveTo>
                  <a:cubicBezTo>
                    <a:pt x="312" y="400"/>
                    <a:pt x="267" y="292"/>
                    <a:pt x="330" y="229"/>
                  </a:cubicBezTo>
                  <a:cubicBezTo>
                    <a:pt x="393" y="166"/>
                    <a:pt x="501" y="211"/>
                    <a:pt x="501" y="300"/>
                  </a:cubicBezTo>
                  <a:cubicBezTo>
                    <a:pt x="501" y="355"/>
                    <a:pt x="456" y="400"/>
                    <a:pt x="401" y="4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62"/>
            <p:cNvSpPr>
              <a:spLocks noEditPoints="1"/>
            </p:cNvSpPr>
            <p:nvPr/>
          </p:nvSpPr>
          <p:spPr bwMode="auto">
            <a:xfrm>
              <a:off x="2726" y="2159"/>
              <a:ext cx="37" cy="37"/>
            </a:xfrm>
            <a:custGeom>
              <a:avLst/>
              <a:gdLst>
                <a:gd name="T0" fmla="*/ 401 w 701"/>
                <a:gd name="T1" fmla="*/ 0 h 701"/>
                <a:gd name="T2" fmla="*/ 189 w 701"/>
                <a:gd name="T3" fmla="*/ 512 h 701"/>
                <a:gd name="T4" fmla="*/ 701 w 701"/>
                <a:gd name="T5" fmla="*/ 300 h 701"/>
                <a:gd name="T6" fmla="*/ 401 w 701"/>
                <a:gd name="T7" fmla="*/ 0 h 701"/>
                <a:gd name="T8" fmla="*/ 401 w 701"/>
                <a:gd name="T9" fmla="*/ 400 h 701"/>
                <a:gd name="T10" fmla="*/ 330 w 701"/>
                <a:gd name="T11" fmla="*/ 229 h 701"/>
                <a:gd name="T12" fmla="*/ 501 w 701"/>
                <a:gd name="T13" fmla="*/ 300 h 701"/>
                <a:gd name="T14" fmla="*/ 401 w 701"/>
                <a:gd name="T15" fmla="*/ 400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1" h="701">
                  <a:moveTo>
                    <a:pt x="401" y="0"/>
                  </a:moveTo>
                  <a:cubicBezTo>
                    <a:pt x="134" y="0"/>
                    <a:pt x="0" y="323"/>
                    <a:pt x="189" y="512"/>
                  </a:cubicBezTo>
                  <a:cubicBezTo>
                    <a:pt x="378" y="701"/>
                    <a:pt x="701" y="567"/>
                    <a:pt x="701" y="300"/>
                  </a:cubicBezTo>
                  <a:cubicBezTo>
                    <a:pt x="701" y="134"/>
                    <a:pt x="567" y="0"/>
                    <a:pt x="401" y="0"/>
                  </a:cubicBezTo>
                  <a:close/>
                  <a:moveTo>
                    <a:pt x="401" y="400"/>
                  </a:moveTo>
                  <a:cubicBezTo>
                    <a:pt x="312" y="400"/>
                    <a:pt x="267" y="292"/>
                    <a:pt x="330" y="229"/>
                  </a:cubicBezTo>
                  <a:cubicBezTo>
                    <a:pt x="393" y="166"/>
                    <a:pt x="501" y="211"/>
                    <a:pt x="501" y="300"/>
                  </a:cubicBezTo>
                  <a:cubicBezTo>
                    <a:pt x="501" y="355"/>
                    <a:pt x="456" y="400"/>
                    <a:pt x="401" y="4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Rectangle 63"/>
            <p:cNvSpPr>
              <a:spLocks noChangeArrowheads="1"/>
            </p:cNvSpPr>
            <p:nvPr/>
          </p:nvSpPr>
          <p:spPr bwMode="auto">
            <a:xfrm>
              <a:off x="2816" y="2170"/>
              <a:ext cx="11" cy="1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Rectangle 64"/>
            <p:cNvSpPr>
              <a:spLocks noChangeArrowheads="1"/>
            </p:cNvSpPr>
            <p:nvPr/>
          </p:nvSpPr>
          <p:spPr bwMode="auto">
            <a:xfrm>
              <a:off x="2837" y="2170"/>
              <a:ext cx="27" cy="1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Rectangle 65"/>
            <p:cNvSpPr>
              <a:spLocks noChangeArrowheads="1"/>
            </p:cNvSpPr>
            <p:nvPr/>
          </p:nvSpPr>
          <p:spPr bwMode="auto">
            <a:xfrm>
              <a:off x="2875" y="2170"/>
              <a:ext cx="10" cy="1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8" name="Group 68"/>
          <p:cNvGrpSpPr>
            <a:grpSpLocks noChangeAspect="1"/>
          </p:cNvGrpSpPr>
          <p:nvPr/>
        </p:nvGrpSpPr>
        <p:grpSpPr bwMode="auto">
          <a:xfrm>
            <a:off x="1268938" y="3087691"/>
            <a:ext cx="503238" cy="503238"/>
            <a:chOff x="819" y="1929"/>
            <a:chExt cx="317" cy="317"/>
          </a:xfrm>
          <a:gradFill>
            <a:gsLst>
              <a:gs pos="0">
                <a:srgbClr val="FEC232"/>
              </a:gs>
              <a:gs pos="100000">
                <a:srgbClr val="DF6F51"/>
              </a:gs>
            </a:gsLst>
            <a:lin ang="2700000" scaled="1"/>
          </a:gradFill>
        </p:grpSpPr>
        <p:sp>
          <p:nvSpPr>
            <p:cNvPr id="230" name="Freeform 69"/>
            <p:cNvSpPr>
              <a:spLocks noEditPoints="1"/>
            </p:cNvSpPr>
            <p:nvPr/>
          </p:nvSpPr>
          <p:spPr bwMode="auto">
            <a:xfrm>
              <a:off x="914" y="1944"/>
              <a:ext cx="37" cy="38"/>
            </a:xfrm>
            <a:custGeom>
              <a:avLst/>
              <a:gdLst>
                <a:gd name="T0" fmla="*/ 401 w 701"/>
                <a:gd name="T1" fmla="*/ 0 h 701"/>
                <a:gd name="T2" fmla="*/ 189 w 701"/>
                <a:gd name="T3" fmla="*/ 512 h 701"/>
                <a:gd name="T4" fmla="*/ 701 w 701"/>
                <a:gd name="T5" fmla="*/ 300 h 701"/>
                <a:gd name="T6" fmla="*/ 401 w 701"/>
                <a:gd name="T7" fmla="*/ 0 h 701"/>
                <a:gd name="T8" fmla="*/ 401 w 701"/>
                <a:gd name="T9" fmla="*/ 400 h 701"/>
                <a:gd name="T10" fmla="*/ 330 w 701"/>
                <a:gd name="T11" fmla="*/ 229 h 701"/>
                <a:gd name="T12" fmla="*/ 501 w 701"/>
                <a:gd name="T13" fmla="*/ 300 h 701"/>
                <a:gd name="T14" fmla="*/ 401 w 701"/>
                <a:gd name="T15" fmla="*/ 400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1" h="701">
                  <a:moveTo>
                    <a:pt x="401" y="0"/>
                  </a:moveTo>
                  <a:cubicBezTo>
                    <a:pt x="134" y="0"/>
                    <a:pt x="0" y="323"/>
                    <a:pt x="189" y="512"/>
                  </a:cubicBezTo>
                  <a:cubicBezTo>
                    <a:pt x="378" y="701"/>
                    <a:pt x="701" y="567"/>
                    <a:pt x="701" y="300"/>
                  </a:cubicBezTo>
                  <a:cubicBezTo>
                    <a:pt x="701" y="134"/>
                    <a:pt x="567" y="0"/>
                    <a:pt x="401" y="0"/>
                  </a:cubicBezTo>
                  <a:close/>
                  <a:moveTo>
                    <a:pt x="401" y="400"/>
                  </a:moveTo>
                  <a:cubicBezTo>
                    <a:pt x="312" y="400"/>
                    <a:pt x="267" y="292"/>
                    <a:pt x="330" y="229"/>
                  </a:cubicBezTo>
                  <a:cubicBezTo>
                    <a:pt x="393" y="166"/>
                    <a:pt x="501" y="211"/>
                    <a:pt x="501" y="300"/>
                  </a:cubicBezTo>
                  <a:cubicBezTo>
                    <a:pt x="501" y="355"/>
                    <a:pt x="456" y="400"/>
                    <a:pt x="401" y="4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Rectangle 70"/>
            <p:cNvSpPr>
              <a:spLocks noChangeArrowheads="1"/>
            </p:cNvSpPr>
            <p:nvPr/>
          </p:nvSpPr>
          <p:spPr bwMode="auto">
            <a:xfrm>
              <a:off x="866" y="2093"/>
              <a:ext cx="21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Rectangle 71"/>
            <p:cNvSpPr>
              <a:spLocks noChangeArrowheads="1"/>
            </p:cNvSpPr>
            <p:nvPr/>
          </p:nvSpPr>
          <p:spPr bwMode="auto">
            <a:xfrm>
              <a:off x="898" y="2093"/>
              <a:ext cx="79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Rectangle 72"/>
            <p:cNvSpPr>
              <a:spLocks noChangeArrowheads="1"/>
            </p:cNvSpPr>
            <p:nvPr/>
          </p:nvSpPr>
          <p:spPr bwMode="auto">
            <a:xfrm>
              <a:off x="866" y="2124"/>
              <a:ext cx="21" cy="1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Rectangle 73"/>
            <p:cNvSpPr>
              <a:spLocks noChangeArrowheads="1"/>
            </p:cNvSpPr>
            <p:nvPr/>
          </p:nvSpPr>
          <p:spPr bwMode="auto">
            <a:xfrm>
              <a:off x="866" y="2156"/>
              <a:ext cx="21" cy="1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Rectangle 74"/>
            <p:cNvSpPr>
              <a:spLocks noChangeArrowheads="1"/>
            </p:cNvSpPr>
            <p:nvPr/>
          </p:nvSpPr>
          <p:spPr bwMode="auto">
            <a:xfrm>
              <a:off x="866" y="2188"/>
              <a:ext cx="21" cy="1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75"/>
            <p:cNvSpPr>
              <a:spLocks noEditPoints="1"/>
            </p:cNvSpPr>
            <p:nvPr/>
          </p:nvSpPr>
          <p:spPr bwMode="auto">
            <a:xfrm>
              <a:off x="819" y="1929"/>
              <a:ext cx="317" cy="317"/>
            </a:xfrm>
            <a:custGeom>
              <a:avLst/>
              <a:gdLst>
                <a:gd name="T0" fmla="*/ 5800 w 6001"/>
                <a:gd name="T1" fmla="*/ 3301 h 6004"/>
                <a:gd name="T2" fmla="*/ 4660 w 6001"/>
                <a:gd name="T3" fmla="*/ 2821 h 6004"/>
                <a:gd name="T4" fmla="*/ 4400 w 6001"/>
                <a:gd name="T5" fmla="*/ 2926 h 6004"/>
                <a:gd name="T6" fmla="*/ 4100 w 6001"/>
                <a:gd name="T7" fmla="*/ 601 h 6004"/>
                <a:gd name="T8" fmla="*/ 3000 w 6001"/>
                <a:gd name="T9" fmla="*/ 401 h 6004"/>
                <a:gd name="T10" fmla="*/ 2200 w 6001"/>
                <a:gd name="T11" fmla="*/ 0 h 6004"/>
                <a:gd name="T12" fmla="*/ 1400 w 6001"/>
                <a:gd name="T13" fmla="*/ 401 h 6004"/>
                <a:gd name="T14" fmla="*/ 300 w 6001"/>
                <a:gd name="T15" fmla="*/ 601 h 6004"/>
                <a:gd name="T16" fmla="*/ 0 w 6001"/>
                <a:gd name="T17" fmla="*/ 5701 h 6004"/>
                <a:gd name="T18" fmla="*/ 4100 w 6001"/>
                <a:gd name="T19" fmla="*/ 6001 h 6004"/>
                <a:gd name="T20" fmla="*/ 4557 w 6001"/>
                <a:gd name="T21" fmla="*/ 5991 h 6004"/>
                <a:gd name="T22" fmla="*/ 5521 w 6001"/>
                <a:gd name="T23" fmla="*/ 5574 h 6004"/>
                <a:gd name="T24" fmla="*/ 6000 w 6001"/>
                <a:gd name="T25" fmla="*/ 3401 h 6004"/>
                <a:gd name="T26" fmla="*/ 3300 w 6001"/>
                <a:gd name="T27" fmla="*/ 801 h 6004"/>
                <a:gd name="T28" fmla="*/ 4200 w 6001"/>
                <a:gd name="T29" fmla="*/ 901 h 6004"/>
                <a:gd name="T30" fmla="*/ 4000 w 6001"/>
                <a:gd name="T31" fmla="*/ 3175 h 6004"/>
                <a:gd name="T32" fmla="*/ 3900 w 6001"/>
                <a:gd name="T33" fmla="*/ 1001 h 6004"/>
                <a:gd name="T34" fmla="*/ 3300 w 6001"/>
                <a:gd name="T35" fmla="*/ 801 h 6004"/>
                <a:gd name="T36" fmla="*/ 1400 w 6001"/>
                <a:gd name="T37" fmla="*/ 601 h 6004"/>
                <a:gd name="T38" fmla="*/ 1808 w 6001"/>
                <a:gd name="T39" fmla="*/ 521 h 6004"/>
                <a:gd name="T40" fmla="*/ 2592 w 6001"/>
                <a:gd name="T41" fmla="*/ 521 h 6004"/>
                <a:gd name="T42" fmla="*/ 3000 w 6001"/>
                <a:gd name="T43" fmla="*/ 601 h 6004"/>
                <a:gd name="T44" fmla="*/ 3100 w 6001"/>
                <a:gd name="T45" fmla="*/ 1101 h 6004"/>
                <a:gd name="T46" fmla="*/ 1300 w 6001"/>
                <a:gd name="T47" fmla="*/ 701 h 6004"/>
                <a:gd name="T48" fmla="*/ 3200 w 6001"/>
                <a:gd name="T49" fmla="*/ 1301 h 6004"/>
                <a:gd name="T50" fmla="*/ 3800 w 6001"/>
                <a:gd name="T51" fmla="*/ 1201 h 6004"/>
                <a:gd name="T52" fmla="*/ 3400 w 6001"/>
                <a:gd name="T53" fmla="*/ 3301 h 6004"/>
                <a:gd name="T54" fmla="*/ 3200 w 6001"/>
                <a:gd name="T55" fmla="*/ 3401 h 6004"/>
                <a:gd name="T56" fmla="*/ 1500 w 6001"/>
                <a:gd name="T57" fmla="*/ 3701 h 6004"/>
                <a:gd name="T58" fmla="*/ 3200 w 6001"/>
                <a:gd name="T59" fmla="*/ 3901 h 6004"/>
                <a:gd name="T60" fmla="*/ 1500 w 6001"/>
                <a:gd name="T61" fmla="*/ 4301 h 6004"/>
                <a:gd name="T62" fmla="*/ 3200 w 6001"/>
                <a:gd name="T63" fmla="*/ 4501 h 6004"/>
                <a:gd name="T64" fmla="*/ 3208 w 6001"/>
                <a:gd name="T65" fmla="*/ 4901 h 6004"/>
                <a:gd name="T66" fmla="*/ 1500 w 6001"/>
                <a:gd name="T67" fmla="*/ 5101 h 6004"/>
                <a:gd name="T68" fmla="*/ 3452 w 6001"/>
                <a:gd name="T69" fmla="*/ 5401 h 6004"/>
                <a:gd name="T70" fmla="*/ 600 w 6001"/>
                <a:gd name="T71" fmla="*/ 1201 h 6004"/>
                <a:gd name="T72" fmla="*/ 1200 w 6001"/>
                <a:gd name="T73" fmla="*/ 1301 h 6004"/>
                <a:gd name="T74" fmla="*/ 300 w 6001"/>
                <a:gd name="T75" fmla="*/ 5801 h 6004"/>
                <a:gd name="T76" fmla="*/ 200 w 6001"/>
                <a:gd name="T77" fmla="*/ 901 h 6004"/>
                <a:gd name="T78" fmla="*/ 1100 w 6001"/>
                <a:gd name="T79" fmla="*/ 801 h 6004"/>
                <a:gd name="T80" fmla="*/ 500 w 6001"/>
                <a:gd name="T81" fmla="*/ 1001 h 6004"/>
                <a:gd name="T82" fmla="*/ 400 w 6001"/>
                <a:gd name="T83" fmla="*/ 5501 h 6004"/>
                <a:gd name="T84" fmla="*/ 3736 w 6001"/>
                <a:gd name="T85" fmla="*/ 5601 h 6004"/>
                <a:gd name="T86" fmla="*/ 4100 w 6001"/>
                <a:gd name="T87" fmla="*/ 5801 h 6004"/>
                <a:gd name="T88" fmla="*/ 5431 w 6001"/>
                <a:gd name="T89" fmla="*/ 5395 h 6004"/>
                <a:gd name="T90" fmla="*/ 3771 w 6001"/>
                <a:gd name="T91" fmla="*/ 5396 h 6004"/>
                <a:gd name="T92" fmla="*/ 3400 w 6001"/>
                <a:gd name="T93" fmla="*/ 3501 h 6004"/>
                <a:gd name="T94" fmla="*/ 4600 w 6001"/>
                <a:gd name="T95" fmla="*/ 3026 h 6004"/>
                <a:gd name="T96" fmla="*/ 5800 w 6001"/>
                <a:gd name="T97" fmla="*/ 3501 h 6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001" h="6004">
                  <a:moveTo>
                    <a:pt x="5900" y="3301"/>
                  </a:moveTo>
                  <a:lnTo>
                    <a:pt x="5800" y="3301"/>
                  </a:lnTo>
                  <a:cubicBezTo>
                    <a:pt x="5476" y="3300"/>
                    <a:pt x="5160" y="3195"/>
                    <a:pt x="4900" y="3001"/>
                  </a:cubicBezTo>
                  <a:lnTo>
                    <a:pt x="4660" y="2821"/>
                  </a:lnTo>
                  <a:cubicBezTo>
                    <a:pt x="4625" y="2794"/>
                    <a:pt x="4575" y="2794"/>
                    <a:pt x="4540" y="2821"/>
                  </a:cubicBezTo>
                  <a:lnTo>
                    <a:pt x="4400" y="2926"/>
                  </a:lnTo>
                  <a:lnTo>
                    <a:pt x="4400" y="901"/>
                  </a:lnTo>
                  <a:cubicBezTo>
                    <a:pt x="4400" y="736"/>
                    <a:pt x="4265" y="601"/>
                    <a:pt x="4100" y="601"/>
                  </a:cubicBezTo>
                  <a:lnTo>
                    <a:pt x="3282" y="601"/>
                  </a:lnTo>
                  <a:cubicBezTo>
                    <a:pt x="3239" y="482"/>
                    <a:pt x="3127" y="402"/>
                    <a:pt x="3000" y="401"/>
                  </a:cubicBezTo>
                  <a:lnTo>
                    <a:pt x="2766" y="401"/>
                  </a:lnTo>
                  <a:cubicBezTo>
                    <a:pt x="2682" y="161"/>
                    <a:pt x="2455" y="0"/>
                    <a:pt x="2200" y="0"/>
                  </a:cubicBezTo>
                  <a:cubicBezTo>
                    <a:pt x="1945" y="0"/>
                    <a:pt x="1718" y="161"/>
                    <a:pt x="1634" y="401"/>
                  </a:cubicBezTo>
                  <a:lnTo>
                    <a:pt x="1400" y="401"/>
                  </a:lnTo>
                  <a:cubicBezTo>
                    <a:pt x="1273" y="402"/>
                    <a:pt x="1161" y="482"/>
                    <a:pt x="1118" y="601"/>
                  </a:cubicBezTo>
                  <a:lnTo>
                    <a:pt x="300" y="601"/>
                  </a:lnTo>
                  <a:cubicBezTo>
                    <a:pt x="135" y="601"/>
                    <a:pt x="0" y="736"/>
                    <a:pt x="0" y="901"/>
                  </a:cubicBezTo>
                  <a:lnTo>
                    <a:pt x="0" y="5701"/>
                  </a:lnTo>
                  <a:cubicBezTo>
                    <a:pt x="0" y="5866"/>
                    <a:pt x="135" y="6001"/>
                    <a:pt x="300" y="6001"/>
                  </a:cubicBezTo>
                  <a:lnTo>
                    <a:pt x="4100" y="6001"/>
                  </a:lnTo>
                  <a:cubicBezTo>
                    <a:pt x="4192" y="6000"/>
                    <a:pt x="4278" y="5958"/>
                    <a:pt x="4335" y="5886"/>
                  </a:cubicBezTo>
                  <a:lnTo>
                    <a:pt x="4557" y="5991"/>
                  </a:lnTo>
                  <a:cubicBezTo>
                    <a:pt x="4584" y="6004"/>
                    <a:pt x="4616" y="6004"/>
                    <a:pt x="4643" y="5991"/>
                  </a:cubicBezTo>
                  <a:lnTo>
                    <a:pt x="5521" y="5574"/>
                  </a:lnTo>
                  <a:cubicBezTo>
                    <a:pt x="5816" y="5419"/>
                    <a:pt x="6001" y="5112"/>
                    <a:pt x="6000" y="4779"/>
                  </a:cubicBezTo>
                  <a:lnTo>
                    <a:pt x="6000" y="3401"/>
                  </a:lnTo>
                  <a:cubicBezTo>
                    <a:pt x="6000" y="3346"/>
                    <a:pt x="5955" y="3301"/>
                    <a:pt x="5900" y="3301"/>
                  </a:cubicBezTo>
                  <a:close/>
                  <a:moveTo>
                    <a:pt x="3300" y="801"/>
                  </a:moveTo>
                  <a:lnTo>
                    <a:pt x="4100" y="801"/>
                  </a:lnTo>
                  <a:cubicBezTo>
                    <a:pt x="4155" y="801"/>
                    <a:pt x="4200" y="846"/>
                    <a:pt x="4200" y="901"/>
                  </a:cubicBezTo>
                  <a:lnTo>
                    <a:pt x="4200" y="3070"/>
                  </a:lnTo>
                  <a:cubicBezTo>
                    <a:pt x="4136" y="3110"/>
                    <a:pt x="4069" y="3145"/>
                    <a:pt x="4000" y="3175"/>
                  </a:cubicBezTo>
                  <a:lnTo>
                    <a:pt x="4000" y="1101"/>
                  </a:lnTo>
                  <a:cubicBezTo>
                    <a:pt x="4000" y="1046"/>
                    <a:pt x="3955" y="1001"/>
                    <a:pt x="3900" y="1001"/>
                  </a:cubicBezTo>
                  <a:lnTo>
                    <a:pt x="3300" y="1001"/>
                  </a:lnTo>
                  <a:lnTo>
                    <a:pt x="3300" y="801"/>
                  </a:lnTo>
                  <a:close/>
                  <a:moveTo>
                    <a:pt x="1300" y="701"/>
                  </a:moveTo>
                  <a:cubicBezTo>
                    <a:pt x="1300" y="646"/>
                    <a:pt x="1345" y="601"/>
                    <a:pt x="1400" y="601"/>
                  </a:cubicBezTo>
                  <a:lnTo>
                    <a:pt x="1710" y="601"/>
                  </a:lnTo>
                  <a:cubicBezTo>
                    <a:pt x="1758" y="601"/>
                    <a:pt x="1799" y="568"/>
                    <a:pt x="1808" y="521"/>
                  </a:cubicBezTo>
                  <a:cubicBezTo>
                    <a:pt x="1846" y="335"/>
                    <a:pt x="2010" y="201"/>
                    <a:pt x="2200" y="201"/>
                  </a:cubicBezTo>
                  <a:cubicBezTo>
                    <a:pt x="2390" y="201"/>
                    <a:pt x="2554" y="335"/>
                    <a:pt x="2592" y="521"/>
                  </a:cubicBezTo>
                  <a:cubicBezTo>
                    <a:pt x="2601" y="568"/>
                    <a:pt x="2642" y="601"/>
                    <a:pt x="2690" y="601"/>
                  </a:cubicBezTo>
                  <a:lnTo>
                    <a:pt x="3000" y="601"/>
                  </a:lnTo>
                  <a:cubicBezTo>
                    <a:pt x="3055" y="601"/>
                    <a:pt x="3100" y="646"/>
                    <a:pt x="3100" y="701"/>
                  </a:cubicBezTo>
                  <a:lnTo>
                    <a:pt x="3100" y="1101"/>
                  </a:lnTo>
                  <a:lnTo>
                    <a:pt x="1300" y="1101"/>
                  </a:lnTo>
                  <a:lnTo>
                    <a:pt x="1300" y="701"/>
                  </a:lnTo>
                  <a:close/>
                  <a:moveTo>
                    <a:pt x="1200" y="1301"/>
                  </a:moveTo>
                  <a:lnTo>
                    <a:pt x="3200" y="1301"/>
                  </a:lnTo>
                  <a:cubicBezTo>
                    <a:pt x="3255" y="1301"/>
                    <a:pt x="3300" y="1256"/>
                    <a:pt x="3300" y="1201"/>
                  </a:cubicBezTo>
                  <a:lnTo>
                    <a:pt x="3800" y="1201"/>
                  </a:lnTo>
                  <a:lnTo>
                    <a:pt x="3800" y="3245"/>
                  </a:lnTo>
                  <a:cubicBezTo>
                    <a:pt x="3670" y="3282"/>
                    <a:pt x="3535" y="3300"/>
                    <a:pt x="3400" y="3301"/>
                  </a:cubicBezTo>
                  <a:lnTo>
                    <a:pt x="3300" y="3301"/>
                  </a:lnTo>
                  <a:cubicBezTo>
                    <a:pt x="3245" y="3301"/>
                    <a:pt x="3200" y="3346"/>
                    <a:pt x="3200" y="3401"/>
                  </a:cubicBezTo>
                  <a:lnTo>
                    <a:pt x="3200" y="3701"/>
                  </a:lnTo>
                  <a:lnTo>
                    <a:pt x="1500" y="3701"/>
                  </a:lnTo>
                  <a:lnTo>
                    <a:pt x="1500" y="3901"/>
                  </a:lnTo>
                  <a:lnTo>
                    <a:pt x="3200" y="3901"/>
                  </a:lnTo>
                  <a:lnTo>
                    <a:pt x="3200" y="4301"/>
                  </a:lnTo>
                  <a:lnTo>
                    <a:pt x="1500" y="4301"/>
                  </a:lnTo>
                  <a:lnTo>
                    <a:pt x="1500" y="4501"/>
                  </a:lnTo>
                  <a:lnTo>
                    <a:pt x="3200" y="4501"/>
                  </a:lnTo>
                  <a:lnTo>
                    <a:pt x="3200" y="4779"/>
                  </a:lnTo>
                  <a:cubicBezTo>
                    <a:pt x="3200" y="4820"/>
                    <a:pt x="3203" y="4861"/>
                    <a:pt x="3208" y="4901"/>
                  </a:cubicBezTo>
                  <a:lnTo>
                    <a:pt x="1500" y="4901"/>
                  </a:lnTo>
                  <a:lnTo>
                    <a:pt x="1500" y="5101"/>
                  </a:lnTo>
                  <a:lnTo>
                    <a:pt x="3261" y="5101"/>
                  </a:lnTo>
                  <a:cubicBezTo>
                    <a:pt x="3304" y="5213"/>
                    <a:pt x="3369" y="5315"/>
                    <a:pt x="3452" y="5401"/>
                  </a:cubicBezTo>
                  <a:lnTo>
                    <a:pt x="600" y="5401"/>
                  </a:lnTo>
                  <a:lnTo>
                    <a:pt x="600" y="1201"/>
                  </a:lnTo>
                  <a:lnTo>
                    <a:pt x="1100" y="1201"/>
                  </a:lnTo>
                  <a:cubicBezTo>
                    <a:pt x="1100" y="1256"/>
                    <a:pt x="1145" y="1301"/>
                    <a:pt x="1200" y="1301"/>
                  </a:cubicBezTo>
                  <a:close/>
                  <a:moveTo>
                    <a:pt x="4100" y="5801"/>
                  </a:moveTo>
                  <a:lnTo>
                    <a:pt x="300" y="5801"/>
                  </a:lnTo>
                  <a:cubicBezTo>
                    <a:pt x="245" y="5801"/>
                    <a:pt x="200" y="5756"/>
                    <a:pt x="200" y="5701"/>
                  </a:cubicBezTo>
                  <a:lnTo>
                    <a:pt x="200" y="901"/>
                  </a:lnTo>
                  <a:cubicBezTo>
                    <a:pt x="200" y="846"/>
                    <a:pt x="245" y="801"/>
                    <a:pt x="300" y="801"/>
                  </a:cubicBezTo>
                  <a:lnTo>
                    <a:pt x="1100" y="801"/>
                  </a:lnTo>
                  <a:lnTo>
                    <a:pt x="1100" y="1001"/>
                  </a:lnTo>
                  <a:lnTo>
                    <a:pt x="500" y="1001"/>
                  </a:lnTo>
                  <a:cubicBezTo>
                    <a:pt x="445" y="1001"/>
                    <a:pt x="400" y="1046"/>
                    <a:pt x="400" y="1101"/>
                  </a:cubicBezTo>
                  <a:lnTo>
                    <a:pt x="400" y="5501"/>
                  </a:lnTo>
                  <a:cubicBezTo>
                    <a:pt x="400" y="5556"/>
                    <a:pt x="445" y="5601"/>
                    <a:pt x="500" y="5601"/>
                  </a:cubicBezTo>
                  <a:lnTo>
                    <a:pt x="3736" y="5601"/>
                  </a:lnTo>
                  <a:lnTo>
                    <a:pt x="4138" y="5792"/>
                  </a:lnTo>
                  <a:cubicBezTo>
                    <a:pt x="4126" y="5797"/>
                    <a:pt x="4113" y="5801"/>
                    <a:pt x="4100" y="5801"/>
                  </a:cubicBezTo>
                  <a:close/>
                  <a:moveTo>
                    <a:pt x="5800" y="4779"/>
                  </a:moveTo>
                  <a:cubicBezTo>
                    <a:pt x="5801" y="5037"/>
                    <a:pt x="5659" y="5274"/>
                    <a:pt x="5431" y="5395"/>
                  </a:cubicBezTo>
                  <a:lnTo>
                    <a:pt x="4600" y="5790"/>
                  </a:lnTo>
                  <a:lnTo>
                    <a:pt x="3771" y="5396"/>
                  </a:lnTo>
                  <a:cubicBezTo>
                    <a:pt x="3543" y="5275"/>
                    <a:pt x="3400" y="5038"/>
                    <a:pt x="3400" y="4779"/>
                  </a:cubicBezTo>
                  <a:lnTo>
                    <a:pt x="3400" y="3501"/>
                  </a:lnTo>
                  <a:cubicBezTo>
                    <a:pt x="3768" y="3500"/>
                    <a:pt x="4125" y="3381"/>
                    <a:pt x="4420" y="3161"/>
                  </a:cubicBezTo>
                  <a:lnTo>
                    <a:pt x="4600" y="3026"/>
                  </a:lnTo>
                  <a:lnTo>
                    <a:pt x="4780" y="3161"/>
                  </a:lnTo>
                  <a:cubicBezTo>
                    <a:pt x="5075" y="3381"/>
                    <a:pt x="5432" y="3500"/>
                    <a:pt x="5800" y="3501"/>
                  </a:cubicBezTo>
                  <a:lnTo>
                    <a:pt x="5800" y="47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76"/>
            <p:cNvSpPr>
              <a:spLocks noEditPoints="1"/>
            </p:cNvSpPr>
            <p:nvPr/>
          </p:nvSpPr>
          <p:spPr bwMode="auto">
            <a:xfrm>
              <a:off x="898" y="2008"/>
              <a:ext cx="74" cy="74"/>
            </a:xfrm>
            <a:custGeom>
              <a:avLst/>
              <a:gdLst>
                <a:gd name="T0" fmla="*/ 1300 w 1400"/>
                <a:gd name="T1" fmla="*/ 400 h 1400"/>
                <a:gd name="T2" fmla="*/ 1000 w 1400"/>
                <a:gd name="T3" fmla="*/ 400 h 1400"/>
                <a:gd name="T4" fmla="*/ 1000 w 1400"/>
                <a:gd name="T5" fmla="*/ 100 h 1400"/>
                <a:gd name="T6" fmla="*/ 900 w 1400"/>
                <a:gd name="T7" fmla="*/ 0 h 1400"/>
                <a:gd name="T8" fmla="*/ 500 w 1400"/>
                <a:gd name="T9" fmla="*/ 0 h 1400"/>
                <a:gd name="T10" fmla="*/ 400 w 1400"/>
                <a:gd name="T11" fmla="*/ 100 h 1400"/>
                <a:gd name="T12" fmla="*/ 400 w 1400"/>
                <a:gd name="T13" fmla="*/ 400 h 1400"/>
                <a:gd name="T14" fmla="*/ 100 w 1400"/>
                <a:gd name="T15" fmla="*/ 400 h 1400"/>
                <a:gd name="T16" fmla="*/ 0 w 1400"/>
                <a:gd name="T17" fmla="*/ 500 h 1400"/>
                <a:gd name="T18" fmla="*/ 0 w 1400"/>
                <a:gd name="T19" fmla="*/ 900 h 1400"/>
                <a:gd name="T20" fmla="*/ 100 w 1400"/>
                <a:gd name="T21" fmla="*/ 1000 h 1400"/>
                <a:gd name="T22" fmla="*/ 400 w 1400"/>
                <a:gd name="T23" fmla="*/ 1000 h 1400"/>
                <a:gd name="T24" fmla="*/ 400 w 1400"/>
                <a:gd name="T25" fmla="*/ 1300 h 1400"/>
                <a:gd name="T26" fmla="*/ 500 w 1400"/>
                <a:gd name="T27" fmla="*/ 1400 h 1400"/>
                <a:gd name="T28" fmla="*/ 900 w 1400"/>
                <a:gd name="T29" fmla="*/ 1400 h 1400"/>
                <a:gd name="T30" fmla="*/ 1000 w 1400"/>
                <a:gd name="T31" fmla="*/ 1300 h 1400"/>
                <a:gd name="T32" fmla="*/ 1000 w 1400"/>
                <a:gd name="T33" fmla="*/ 1000 h 1400"/>
                <a:gd name="T34" fmla="*/ 1300 w 1400"/>
                <a:gd name="T35" fmla="*/ 1000 h 1400"/>
                <a:gd name="T36" fmla="*/ 1400 w 1400"/>
                <a:gd name="T37" fmla="*/ 900 h 1400"/>
                <a:gd name="T38" fmla="*/ 1400 w 1400"/>
                <a:gd name="T39" fmla="*/ 500 h 1400"/>
                <a:gd name="T40" fmla="*/ 1300 w 1400"/>
                <a:gd name="T41" fmla="*/ 400 h 1400"/>
                <a:gd name="T42" fmla="*/ 1200 w 1400"/>
                <a:gd name="T43" fmla="*/ 800 h 1400"/>
                <a:gd name="T44" fmla="*/ 900 w 1400"/>
                <a:gd name="T45" fmla="*/ 800 h 1400"/>
                <a:gd name="T46" fmla="*/ 800 w 1400"/>
                <a:gd name="T47" fmla="*/ 900 h 1400"/>
                <a:gd name="T48" fmla="*/ 800 w 1400"/>
                <a:gd name="T49" fmla="*/ 1200 h 1400"/>
                <a:gd name="T50" fmla="*/ 600 w 1400"/>
                <a:gd name="T51" fmla="*/ 1200 h 1400"/>
                <a:gd name="T52" fmla="*/ 600 w 1400"/>
                <a:gd name="T53" fmla="*/ 900 h 1400"/>
                <a:gd name="T54" fmla="*/ 500 w 1400"/>
                <a:gd name="T55" fmla="*/ 800 h 1400"/>
                <a:gd name="T56" fmla="*/ 200 w 1400"/>
                <a:gd name="T57" fmla="*/ 800 h 1400"/>
                <a:gd name="T58" fmla="*/ 200 w 1400"/>
                <a:gd name="T59" fmla="*/ 600 h 1400"/>
                <a:gd name="T60" fmla="*/ 500 w 1400"/>
                <a:gd name="T61" fmla="*/ 600 h 1400"/>
                <a:gd name="T62" fmla="*/ 600 w 1400"/>
                <a:gd name="T63" fmla="*/ 500 h 1400"/>
                <a:gd name="T64" fmla="*/ 600 w 1400"/>
                <a:gd name="T65" fmla="*/ 200 h 1400"/>
                <a:gd name="T66" fmla="*/ 800 w 1400"/>
                <a:gd name="T67" fmla="*/ 200 h 1400"/>
                <a:gd name="T68" fmla="*/ 800 w 1400"/>
                <a:gd name="T69" fmla="*/ 500 h 1400"/>
                <a:gd name="T70" fmla="*/ 900 w 1400"/>
                <a:gd name="T71" fmla="*/ 600 h 1400"/>
                <a:gd name="T72" fmla="*/ 1200 w 1400"/>
                <a:gd name="T73" fmla="*/ 600 h 1400"/>
                <a:gd name="T74" fmla="*/ 1200 w 1400"/>
                <a:gd name="T75" fmla="*/ 800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00" h="1400">
                  <a:moveTo>
                    <a:pt x="1300" y="400"/>
                  </a:moveTo>
                  <a:lnTo>
                    <a:pt x="1000" y="400"/>
                  </a:lnTo>
                  <a:lnTo>
                    <a:pt x="1000" y="100"/>
                  </a:lnTo>
                  <a:cubicBezTo>
                    <a:pt x="1000" y="45"/>
                    <a:pt x="955" y="0"/>
                    <a:pt x="900" y="0"/>
                  </a:cubicBezTo>
                  <a:lnTo>
                    <a:pt x="500" y="0"/>
                  </a:lnTo>
                  <a:cubicBezTo>
                    <a:pt x="445" y="0"/>
                    <a:pt x="400" y="45"/>
                    <a:pt x="400" y="100"/>
                  </a:cubicBezTo>
                  <a:lnTo>
                    <a:pt x="400" y="400"/>
                  </a:lnTo>
                  <a:lnTo>
                    <a:pt x="100" y="400"/>
                  </a:lnTo>
                  <a:cubicBezTo>
                    <a:pt x="45" y="400"/>
                    <a:pt x="0" y="445"/>
                    <a:pt x="0" y="500"/>
                  </a:cubicBezTo>
                  <a:lnTo>
                    <a:pt x="0" y="900"/>
                  </a:lnTo>
                  <a:cubicBezTo>
                    <a:pt x="0" y="955"/>
                    <a:pt x="45" y="1000"/>
                    <a:pt x="100" y="1000"/>
                  </a:cubicBezTo>
                  <a:lnTo>
                    <a:pt x="400" y="1000"/>
                  </a:lnTo>
                  <a:lnTo>
                    <a:pt x="400" y="1300"/>
                  </a:lnTo>
                  <a:cubicBezTo>
                    <a:pt x="400" y="1355"/>
                    <a:pt x="445" y="1400"/>
                    <a:pt x="500" y="1400"/>
                  </a:cubicBezTo>
                  <a:lnTo>
                    <a:pt x="900" y="1400"/>
                  </a:lnTo>
                  <a:cubicBezTo>
                    <a:pt x="955" y="1400"/>
                    <a:pt x="1000" y="1355"/>
                    <a:pt x="1000" y="1300"/>
                  </a:cubicBezTo>
                  <a:lnTo>
                    <a:pt x="1000" y="1000"/>
                  </a:lnTo>
                  <a:lnTo>
                    <a:pt x="1300" y="1000"/>
                  </a:lnTo>
                  <a:cubicBezTo>
                    <a:pt x="1355" y="1000"/>
                    <a:pt x="1400" y="955"/>
                    <a:pt x="1400" y="900"/>
                  </a:cubicBezTo>
                  <a:lnTo>
                    <a:pt x="1400" y="500"/>
                  </a:lnTo>
                  <a:cubicBezTo>
                    <a:pt x="1400" y="445"/>
                    <a:pt x="1355" y="400"/>
                    <a:pt x="1300" y="400"/>
                  </a:cubicBezTo>
                  <a:close/>
                  <a:moveTo>
                    <a:pt x="1200" y="800"/>
                  </a:moveTo>
                  <a:lnTo>
                    <a:pt x="900" y="800"/>
                  </a:lnTo>
                  <a:cubicBezTo>
                    <a:pt x="845" y="800"/>
                    <a:pt x="800" y="845"/>
                    <a:pt x="800" y="900"/>
                  </a:cubicBezTo>
                  <a:lnTo>
                    <a:pt x="800" y="1200"/>
                  </a:lnTo>
                  <a:lnTo>
                    <a:pt x="600" y="1200"/>
                  </a:lnTo>
                  <a:lnTo>
                    <a:pt x="600" y="900"/>
                  </a:lnTo>
                  <a:cubicBezTo>
                    <a:pt x="600" y="845"/>
                    <a:pt x="555" y="800"/>
                    <a:pt x="500" y="800"/>
                  </a:cubicBezTo>
                  <a:lnTo>
                    <a:pt x="200" y="800"/>
                  </a:lnTo>
                  <a:lnTo>
                    <a:pt x="200" y="600"/>
                  </a:lnTo>
                  <a:lnTo>
                    <a:pt x="500" y="600"/>
                  </a:lnTo>
                  <a:cubicBezTo>
                    <a:pt x="555" y="600"/>
                    <a:pt x="600" y="555"/>
                    <a:pt x="600" y="500"/>
                  </a:cubicBezTo>
                  <a:lnTo>
                    <a:pt x="600" y="200"/>
                  </a:lnTo>
                  <a:lnTo>
                    <a:pt x="800" y="200"/>
                  </a:lnTo>
                  <a:lnTo>
                    <a:pt x="800" y="500"/>
                  </a:lnTo>
                  <a:cubicBezTo>
                    <a:pt x="800" y="555"/>
                    <a:pt x="845" y="600"/>
                    <a:pt x="900" y="600"/>
                  </a:cubicBezTo>
                  <a:lnTo>
                    <a:pt x="1200" y="600"/>
                  </a:lnTo>
                  <a:lnTo>
                    <a:pt x="1200" y="8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77"/>
            <p:cNvSpPr>
              <a:spLocks noEditPoints="1"/>
            </p:cNvSpPr>
            <p:nvPr/>
          </p:nvSpPr>
          <p:spPr bwMode="auto">
            <a:xfrm>
              <a:off x="1009" y="2103"/>
              <a:ext cx="106" cy="120"/>
            </a:xfrm>
            <a:custGeom>
              <a:avLst/>
              <a:gdLst>
                <a:gd name="T0" fmla="*/ 1915 w 2000"/>
                <a:gd name="T1" fmla="*/ 385 h 2267"/>
                <a:gd name="T2" fmla="*/ 1060 w 2000"/>
                <a:gd name="T3" fmla="*/ 27 h 2267"/>
                <a:gd name="T4" fmla="*/ 940 w 2000"/>
                <a:gd name="T5" fmla="*/ 27 h 2267"/>
                <a:gd name="T6" fmla="*/ 85 w 2000"/>
                <a:gd name="T7" fmla="*/ 385 h 2267"/>
                <a:gd name="T8" fmla="*/ 0 w 2000"/>
                <a:gd name="T9" fmla="*/ 484 h 2267"/>
                <a:gd name="T10" fmla="*/ 0 w 2000"/>
                <a:gd name="T11" fmla="*/ 1485 h 2267"/>
                <a:gd name="T12" fmla="*/ 258 w 2000"/>
                <a:gd name="T13" fmla="*/ 1922 h 2267"/>
                <a:gd name="T14" fmla="*/ 264 w 2000"/>
                <a:gd name="T15" fmla="*/ 1925 h 2267"/>
                <a:gd name="T16" fmla="*/ 957 w 2000"/>
                <a:gd name="T17" fmla="*/ 2254 h 2267"/>
                <a:gd name="T18" fmla="*/ 1043 w 2000"/>
                <a:gd name="T19" fmla="*/ 2254 h 2267"/>
                <a:gd name="T20" fmla="*/ 1742 w 2000"/>
                <a:gd name="T21" fmla="*/ 1922 h 2267"/>
                <a:gd name="T22" fmla="*/ 2000 w 2000"/>
                <a:gd name="T23" fmla="*/ 1485 h 2267"/>
                <a:gd name="T24" fmla="*/ 2000 w 2000"/>
                <a:gd name="T25" fmla="*/ 484 h 2267"/>
                <a:gd name="T26" fmla="*/ 1915 w 2000"/>
                <a:gd name="T27" fmla="*/ 385 h 2267"/>
                <a:gd name="T28" fmla="*/ 1800 w 2000"/>
                <a:gd name="T29" fmla="*/ 1485 h 2267"/>
                <a:gd name="T30" fmla="*/ 1650 w 2000"/>
                <a:gd name="T31" fmla="*/ 1744 h 2267"/>
                <a:gd name="T32" fmla="*/ 1000 w 2000"/>
                <a:gd name="T33" fmla="*/ 2053 h 2267"/>
                <a:gd name="T34" fmla="*/ 352 w 2000"/>
                <a:gd name="T35" fmla="*/ 1746 h 2267"/>
                <a:gd name="T36" fmla="*/ 200 w 2000"/>
                <a:gd name="T37" fmla="*/ 1485 h 2267"/>
                <a:gd name="T38" fmla="*/ 200 w 2000"/>
                <a:gd name="T39" fmla="*/ 568 h 2267"/>
                <a:gd name="T40" fmla="*/ 1000 w 2000"/>
                <a:gd name="T41" fmla="*/ 230 h 2267"/>
                <a:gd name="T42" fmla="*/ 1800 w 2000"/>
                <a:gd name="T43" fmla="*/ 568 h 2267"/>
                <a:gd name="T44" fmla="*/ 1800 w 2000"/>
                <a:gd name="T45" fmla="*/ 1485 h 2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00" h="2267">
                  <a:moveTo>
                    <a:pt x="1915" y="385"/>
                  </a:moveTo>
                  <a:cubicBezTo>
                    <a:pt x="1605" y="338"/>
                    <a:pt x="1311" y="215"/>
                    <a:pt x="1060" y="27"/>
                  </a:cubicBezTo>
                  <a:cubicBezTo>
                    <a:pt x="1025" y="0"/>
                    <a:pt x="975" y="0"/>
                    <a:pt x="940" y="27"/>
                  </a:cubicBezTo>
                  <a:cubicBezTo>
                    <a:pt x="689" y="215"/>
                    <a:pt x="395" y="338"/>
                    <a:pt x="85" y="385"/>
                  </a:cubicBezTo>
                  <a:cubicBezTo>
                    <a:pt x="36" y="393"/>
                    <a:pt x="0" y="435"/>
                    <a:pt x="0" y="484"/>
                  </a:cubicBezTo>
                  <a:lnTo>
                    <a:pt x="0" y="1485"/>
                  </a:lnTo>
                  <a:cubicBezTo>
                    <a:pt x="0" y="1667"/>
                    <a:pt x="99" y="1834"/>
                    <a:pt x="258" y="1922"/>
                  </a:cubicBezTo>
                  <a:lnTo>
                    <a:pt x="264" y="1925"/>
                  </a:lnTo>
                  <a:lnTo>
                    <a:pt x="957" y="2254"/>
                  </a:lnTo>
                  <a:cubicBezTo>
                    <a:pt x="984" y="2267"/>
                    <a:pt x="1016" y="2267"/>
                    <a:pt x="1043" y="2254"/>
                  </a:cubicBezTo>
                  <a:lnTo>
                    <a:pt x="1742" y="1922"/>
                  </a:lnTo>
                  <a:cubicBezTo>
                    <a:pt x="1901" y="1834"/>
                    <a:pt x="2000" y="1667"/>
                    <a:pt x="2000" y="1485"/>
                  </a:cubicBezTo>
                  <a:lnTo>
                    <a:pt x="2000" y="484"/>
                  </a:lnTo>
                  <a:cubicBezTo>
                    <a:pt x="2000" y="435"/>
                    <a:pt x="1964" y="393"/>
                    <a:pt x="1915" y="385"/>
                  </a:cubicBezTo>
                  <a:close/>
                  <a:moveTo>
                    <a:pt x="1800" y="1485"/>
                  </a:moveTo>
                  <a:cubicBezTo>
                    <a:pt x="1801" y="1592"/>
                    <a:pt x="1743" y="1691"/>
                    <a:pt x="1650" y="1744"/>
                  </a:cubicBezTo>
                  <a:lnTo>
                    <a:pt x="1000" y="2053"/>
                  </a:lnTo>
                  <a:lnTo>
                    <a:pt x="352" y="1746"/>
                  </a:lnTo>
                  <a:cubicBezTo>
                    <a:pt x="258" y="1693"/>
                    <a:pt x="200" y="1593"/>
                    <a:pt x="200" y="1485"/>
                  </a:cubicBezTo>
                  <a:lnTo>
                    <a:pt x="200" y="568"/>
                  </a:lnTo>
                  <a:cubicBezTo>
                    <a:pt x="487" y="512"/>
                    <a:pt x="760" y="397"/>
                    <a:pt x="1000" y="230"/>
                  </a:cubicBezTo>
                  <a:cubicBezTo>
                    <a:pt x="1240" y="397"/>
                    <a:pt x="1513" y="512"/>
                    <a:pt x="1800" y="568"/>
                  </a:cubicBezTo>
                  <a:lnTo>
                    <a:pt x="1800" y="148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78"/>
            <p:cNvSpPr>
              <a:spLocks/>
            </p:cNvSpPr>
            <p:nvPr/>
          </p:nvSpPr>
          <p:spPr bwMode="auto">
            <a:xfrm>
              <a:off x="1032" y="2142"/>
              <a:ext cx="66" cy="52"/>
            </a:xfrm>
            <a:custGeom>
              <a:avLst/>
              <a:gdLst>
                <a:gd name="T0" fmla="*/ 142 w 1242"/>
                <a:gd name="T1" fmla="*/ 500 h 981"/>
                <a:gd name="T2" fmla="*/ 0 w 1242"/>
                <a:gd name="T3" fmla="*/ 642 h 981"/>
                <a:gd name="T4" fmla="*/ 300 w 1242"/>
                <a:gd name="T5" fmla="*/ 942 h 981"/>
                <a:gd name="T6" fmla="*/ 442 w 1242"/>
                <a:gd name="T7" fmla="*/ 942 h 981"/>
                <a:gd name="T8" fmla="*/ 1242 w 1242"/>
                <a:gd name="T9" fmla="*/ 142 h 981"/>
                <a:gd name="T10" fmla="*/ 1100 w 1242"/>
                <a:gd name="T11" fmla="*/ 0 h 981"/>
                <a:gd name="T12" fmla="*/ 371 w 1242"/>
                <a:gd name="T13" fmla="*/ 730 h 981"/>
                <a:gd name="T14" fmla="*/ 142 w 1242"/>
                <a:gd name="T15" fmla="*/ 500 h 9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42" h="981">
                  <a:moveTo>
                    <a:pt x="142" y="500"/>
                  </a:moveTo>
                  <a:lnTo>
                    <a:pt x="0" y="642"/>
                  </a:lnTo>
                  <a:lnTo>
                    <a:pt x="300" y="942"/>
                  </a:lnTo>
                  <a:cubicBezTo>
                    <a:pt x="339" y="981"/>
                    <a:pt x="403" y="981"/>
                    <a:pt x="442" y="942"/>
                  </a:cubicBezTo>
                  <a:lnTo>
                    <a:pt x="1242" y="142"/>
                  </a:lnTo>
                  <a:lnTo>
                    <a:pt x="1100" y="0"/>
                  </a:lnTo>
                  <a:lnTo>
                    <a:pt x="371" y="730"/>
                  </a:lnTo>
                  <a:lnTo>
                    <a:pt x="142" y="5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0" name="Group 81"/>
          <p:cNvGrpSpPr>
            <a:grpSpLocks noChangeAspect="1"/>
          </p:cNvGrpSpPr>
          <p:nvPr/>
        </p:nvGrpSpPr>
        <p:grpSpPr bwMode="auto">
          <a:xfrm>
            <a:off x="5805424" y="4837967"/>
            <a:ext cx="538163" cy="527050"/>
            <a:chOff x="3641" y="2972"/>
            <a:chExt cx="339" cy="332"/>
          </a:xfrm>
          <a:gradFill>
            <a:gsLst>
              <a:gs pos="0">
                <a:srgbClr val="FEC232"/>
              </a:gs>
              <a:gs pos="100000">
                <a:srgbClr val="DF6F51"/>
              </a:gs>
            </a:gsLst>
            <a:lin ang="2700000" scaled="1"/>
          </a:gradFill>
        </p:grpSpPr>
        <p:sp>
          <p:nvSpPr>
            <p:cNvPr id="242" name="Freeform 82"/>
            <p:cNvSpPr>
              <a:spLocks/>
            </p:cNvSpPr>
            <p:nvPr/>
          </p:nvSpPr>
          <p:spPr bwMode="auto">
            <a:xfrm>
              <a:off x="3893" y="3148"/>
              <a:ext cx="32" cy="21"/>
            </a:xfrm>
            <a:custGeom>
              <a:avLst/>
              <a:gdLst>
                <a:gd name="T0" fmla="*/ 516 w 609"/>
                <a:gd name="T1" fmla="*/ 0 h 397"/>
                <a:gd name="T2" fmla="*/ 423 w 609"/>
                <a:gd name="T3" fmla="*/ 93 h 397"/>
                <a:gd name="T4" fmla="*/ 305 w 609"/>
                <a:gd name="T5" fmla="*/ 211 h 397"/>
                <a:gd name="T6" fmla="*/ 187 w 609"/>
                <a:gd name="T7" fmla="*/ 93 h 397"/>
                <a:gd name="T8" fmla="*/ 93 w 609"/>
                <a:gd name="T9" fmla="*/ 0 h 397"/>
                <a:gd name="T10" fmla="*/ 0 w 609"/>
                <a:gd name="T11" fmla="*/ 93 h 397"/>
                <a:gd name="T12" fmla="*/ 305 w 609"/>
                <a:gd name="T13" fmla="*/ 397 h 397"/>
                <a:gd name="T14" fmla="*/ 609 w 609"/>
                <a:gd name="T15" fmla="*/ 93 h 397"/>
                <a:gd name="T16" fmla="*/ 516 w 609"/>
                <a:gd name="T1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9" h="397">
                  <a:moveTo>
                    <a:pt x="516" y="0"/>
                  </a:moveTo>
                  <a:cubicBezTo>
                    <a:pt x="465" y="0"/>
                    <a:pt x="423" y="41"/>
                    <a:pt x="423" y="93"/>
                  </a:cubicBezTo>
                  <a:cubicBezTo>
                    <a:pt x="423" y="158"/>
                    <a:pt x="370" y="211"/>
                    <a:pt x="305" y="211"/>
                  </a:cubicBezTo>
                  <a:cubicBezTo>
                    <a:pt x="240" y="211"/>
                    <a:pt x="187" y="158"/>
                    <a:pt x="187" y="93"/>
                  </a:cubicBezTo>
                  <a:cubicBezTo>
                    <a:pt x="187" y="41"/>
                    <a:pt x="145" y="0"/>
                    <a:pt x="93" y="0"/>
                  </a:cubicBezTo>
                  <a:cubicBezTo>
                    <a:pt x="42" y="0"/>
                    <a:pt x="0" y="41"/>
                    <a:pt x="0" y="93"/>
                  </a:cubicBezTo>
                  <a:cubicBezTo>
                    <a:pt x="0" y="261"/>
                    <a:pt x="137" y="397"/>
                    <a:pt x="305" y="397"/>
                  </a:cubicBezTo>
                  <a:cubicBezTo>
                    <a:pt x="473" y="397"/>
                    <a:pt x="609" y="261"/>
                    <a:pt x="609" y="93"/>
                  </a:cubicBezTo>
                  <a:cubicBezTo>
                    <a:pt x="609" y="41"/>
                    <a:pt x="568" y="0"/>
                    <a:pt x="51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83"/>
            <p:cNvSpPr>
              <a:spLocks noEditPoints="1"/>
            </p:cNvSpPr>
            <p:nvPr/>
          </p:nvSpPr>
          <p:spPr bwMode="auto">
            <a:xfrm>
              <a:off x="3641" y="2972"/>
              <a:ext cx="339" cy="332"/>
            </a:xfrm>
            <a:custGeom>
              <a:avLst/>
              <a:gdLst>
                <a:gd name="T0" fmla="*/ 5823 w 6400"/>
                <a:gd name="T1" fmla="*/ 3178 h 6272"/>
                <a:gd name="T2" fmla="*/ 5466 w 6400"/>
                <a:gd name="T3" fmla="*/ 1965 h 6272"/>
                <a:gd name="T4" fmla="*/ 4231 w 6400"/>
                <a:gd name="T5" fmla="*/ 1846 h 6272"/>
                <a:gd name="T6" fmla="*/ 4154 w 6400"/>
                <a:gd name="T7" fmla="*/ 1328 h 6272"/>
                <a:gd name="T8" fmla="*/ 3651 w 6400"/>
                <a:gd name="T9" fmla="*/ 2038 h 6272"/>
                <a:gd name="T10" fmla="*/ 2116 w 6400"/>
                <a:gd name="T11" fmla="*/ 2038 h 6272"/>
                <a:gd name="T12" fmla="*/ 2884 w 6400"/>
                <a:gd name="T13" fmla="*/ 186 h 6272"/>
                <a:gd name="T14" fmla="*/ 3978 w 6400"/>
                <a:gd name="T15" fmla="*/ 825 h 6272"/>
                <a:gd name="T16" fmla="*/ 2884 w 6400"/>
                <a:gd name="T17" fmla="*/ 0 h 6272"/>
                <a:gd name="T18" fmla="*/ 1985 w 6400"/>
                <a:gd name="T19" fmla="*/ 2170 h 6272"/>
                <a:gd name="T20" fmla="*/ 2037 w 6400"/>
                <a:gd name="T21" fmla="*/ 2400 h 6272"/>
                <a:gd name="T22" fmla="*/ 3671 w 6400"/>
                <a:gd name="T23" fmla="*/ 2576 h 6272"/>
                <a:gd name="T24" fmla="*/ 3730 w 6400"/>
                <a:gd name="T25" fmla="*/ 2400 h 6272"/>
                <a:gd name="T26" fmla="*/ 3782 w 6400"/>
                <a:gd name="T27" fmla="*/ 2170 h 6272"/>
                <a:gd name="T28" fmla="*/ 4121 w 6400"/>
                <a:gd name="T29" fmla="*/ 2010 h 6272"/>
                <a:gd name="T30" fmla="*/ 4374 w 6400"/>
                <a:gd name="T31" fmla="*/ 2936 h 6272"/>
                <a:gd name="T32" fmla="*/ 5348 w 6400"/>
                <a:gd name="T33" fmla="*/ 2702 h 6272"/>
                <a:gd name="T34" fmla="*/ 5837 w 6400"/>
                <a:gd name="T35" fmla="*/ 3427 h 6272"/>
                <a:gd name="T36" fmla="*/ 6214 w 6400"/>
                <a:gd name="T37" fmla="*/ 4104 h 6272"/>
                <a:gd name="T38" fmla="*/ 5515 w 6400"/>
                <a:gd name="T39" fmla="*/ 4527 h 6272"/>
                <a:gd name="T40" fmla="*/ 4528 w 6400"/>
                <a:gd name="T41" fmla="*/ 6052 h 6272"/>
                <a:gd name="T42" fmla="*/ 4006 w 6400"/>
                <a:gd name="T43" fmla="*/ 6052 h 6272"/>
                <a:gd name="T44" fmla="*/ 3184 w 6400"/>
                <a:gd name="T45" fmla="*/ 5581 h 6272"/>
                <a:gd name="T46" fmla="*/ 2525 w 6400"/>
                <a:gd name="T47" fmla="*/ 6052 h 6272"/>
                <a:gd name="T48" fmla="*/ 2003 w 6400"/>
                <a:gd name="T49" fmla="*/ 6051 h 6272"/>
                <a:gd name="T50" fmla="*/ 889 w 6400"/>
                <a:gd name="T51" fmla="*/ 3740 h 6272"/>
                <a:gd name="T52" fmla="*/ 1754 w 6400"/>
                <a:gd name="T53" fmla="*/ 2112 h 6272"/>
                <a:gd name="T54" fmla="*/ 727 w 6400"/>
                <a:gd name="T55" fmla="*/ 3402 h 6272"/>
                <a:gd name="T56" fmla="*/ 383 w 6400"/>
                <a:gd name="T57" fmla="*/ 2967 h 6272"/>
                <a:gd name="T58" fmla="*/ 462 w 6400"/>
                <a:gd name="T59" fmla="*/ 3550 h 6272"/>
                <a:gd name="T60" fmla="*/ 0 w 6400"/>
                <a:gd name="T61" fmla="*/ 3857 h 6272"/>
                <a:gd name="T62" fmla="*/ 114 w 6400"/>
                <a:gd name="T63" fmla="*/ 3955 h 6272"/>
                <a:gd name="T64" fmla="*/ 708 w 6400"/>
                <a:gd name="T65" fmla="*/ 3587 h 6272"/>
                <a:gd name="T66" fmla="*/ 978 w 6400"/>
                <a:gd name="T67" fmla="*/ 4768 h 6272"/>
                <a:gd name="T68" fmla="*/ 2044 w 6400"/>
                <a:gd name="T69" fmla="*/ 6272 h 6272"/>
                <a:gd name="T70" fmla="*/ 2772 w 6400"/>
                <a:gd name="T71" fmla="*/ 5746 h 6272"/>
                <a:gd name="T72" fmla="*/ 3823 w 6400"/>
                <a:gd name="T73" fmla="*/ 6086 h 6272"/>
                <a:gd name="T74" fmla="*/ 4711 w 6400"/>
                <a:gd name="T75" fmla="*/ 6086 h 6272"/>
                <a:gd name="T76" fmla="*/ 5733 w 6400"/>
                <a:gd name="T77" fmla="*/ 4574 h 6272"/>
                <a:gd name="T78" fmla="*/ 6400 w 6400"/>
                <a:gd name="T79" fmla="*/ 3669 h 6272"/>
                <a:gd name="T80" fmla="*/ 5037 w 6400"/>
                <a:gd name="T81" fmla="*/ 2850 h 6272"/>
                <a:gd name="T82" fmla="*/ 4300 w 6400"/>
                <a:gd name="T83" fmla="*/ 2060 h 6272"/>
                <a:gd name="T84" fmla="*/ 5233 w 6400"/>
                <a:gd name="T85" fmla="*/ 1704 h 6272"/>
                <a:gd name="T86" fmla="*/ 289 w 6400"/>
                <a:gd name="T87" fmla="*/ 3187 h 6272"/>
                <a:gd name="T88" fmla="*/ 493 w 6400"/>
                <a:gd name="T89" fmla="*/ 3283 h 6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400" h="6272">
                  <a:moveTo>
                    <a:pt x="6156" y="3334"/>
                  </a:moveTo>
                  <a:lnTo>
                    <a:pt x="5893" y="3250"/>
                  </a:lnTo>
                  <a:cubicBezTo>
                    <a:pt x="5860" y="3239"/>
                    <a:pt x="5833" y="3212"/>
                    <a:pt x="5823" y="3178"/>
                  </a:cubicBezTo>
                  <a:cubicBezTo>
                    <a:pt x="5767" y="3003"/>
                    <a:pt x="5684" y="2838"/>
                    <a:pt x="5575" y="2688"/>
                  </a:cubicBezTo>
                  <a:cubicBezTo>
                    <a:pt x="5525" y="2620"/>
                    <a:pt x="5470" y="2555"/>
                    <a:pt x="5409" y="2493"/>
                  </a:cubicBezTo>
                  <a:cubicBezTo>
                    <a:pt x="5448" y="2323"/>
                    <a:pt x="5469" y="2131"/>
                    <a:pt x="5466" y="1965"/>
                  </a:cubicBezTo>
                  <a:cubicBezTo>
                    <a:pt x="5462" y="1728"/>
                    <a:pt x="5415" y="1589"/>
                    <a:pt x="5321" y="1540"/>
                  </a:cubicBezTo>
                  <a:cubicBezTo>
                    <a:pt x="5271" y="1513"/>
                    <a:pt x="5117" y="1433"/>
                    <a:pt x="4286" y="1813"/>
                  </a:cubicBezTo>
                  <a:cubicBezTo>
                    <a:pt x="4267" y="1822"/>
                    <a:pt x="4248" y="1833"/>
                    <a:pt x="4231" y="1846"/>
                  </a:cubicBezTo>
                  <a:cubicBezTo>
                    <a:pt x="4175" y="1831"/>
                    <a:pt x="4118" y="1817"/>
                    <a:pt x="4061" y="1804"/>
                  </a:cubicBezTo>
                  <a:cubicBezTo>
                    <a:pt x="4054" y="1803"/>
                    <a:pt x="4046" y="1802"/>
                    <a:pt x="4039" y="1800"/>
                  </a:cubicBezTo>
                  <a:cubicBezTo>
                    <a:pt x="4107" y="1653"/>
                    <a:pt x="4146" y="1493"/>
                    <a:pt x="4154" y="1328"/>
                  </a:cubicBezTo>
                  <a:cubicBezTo>
                    <a:pt x="4156" y="1277"/>
                    <a:pt x="4116" y="1234"/>
                    <a:pt x="4065" y="1231"/>
                  </a:cubicBezTo>
                  <a:cubicBezTo>
                    <a:pt x="4013" y="1229"/>
                    <a:pt x="3970" y="1269"/>
                    <a:pt x="3967" y="1320"/>
                  </a:cubicBezTo>
                  <a:cubicBezTo>
                    <a:pt x="3955" y="1591"/>
                    <a:pt x="3843" y="1846"/>
                    <a:pt x="3651" y="2038"/>
                  </a:cubicBezTo>
                  <a:cubicBezTo>
                    <a:pt x="3536" y="2153"/>
                    <a:pt x="3402" y="2237"/>
                    <a:pt x="3258" y="2289"/>
                  </a:cubicBezTo>
                  <a:cubicBezTo>
                    <a:pt x="3010" y="2254"/>
                    <a:pt x="2757" y="2254"/>
                    <a:pt x="2509" y="2289"/>
                  </a:cubicBezTo>
                  <a:cubicBezTo>
                    <a:pt x="2365" y="2237"/>
                    <a:pt x="2231" y="2153"/>
                    <a:pt x="2116" y="2038"/>
                  </a:cubicBezTo>
                  <a:cubicBezTo>
                    <a:pt x="1911" y="1834"/>
                    <a:pt x="1799" y="1561"/>
                    <a:pt x="1799" y="1271"/>
                  </a:cubicBezTo>
                  <a:cubicBezTo>
                    <a:pt x="1799" y="981"/>
                    <a:pt x="1911" y="709"/>
                    <a:pt x="2116" y="504"/>
                  </a:cubicBezTo>
                  <a:cubicBezTo>
                    <a:pt x="2321" y="299"/>
                    <a:pt x="2594" y="186"/>
                    <a:pt x="2884" y="186"/>
                  </a:cubicBezTo>
                  <a:cubicBezTo>
                    <a:pt x="3173" y="186"/>
                    <a:pt x="3446" y="299"/>
                    <a:pt x="3651" y="504"/>
                  </a:cubicBezTo>
                  <a:cubicBezTo>
                    <a:pt x="3733" y="586"/>
                    <a:pt x="3801" y="680"/>
                    <a:pt x="3853" y="783"/>
                  </a:cubicBezTo>
                  <a:cubicBezTo>
                    <a:pt x="3876" y="829"/>
                    <a:pt x="3932" y="848"/>
                    <a:pt x="3978" y="825"/>
                  </a:cubicBezTo>
                  <a:cubicBezTo>
                    <a:pt x="4024" y="801"/>
                    <a:pt x="4043" y="745"/>
                    <a:pt x="4019" y="700"/>
                  </a:cubicBezTo>
                  <a:cubicBezTo>
                    <a:pt x="3959" y="579"/>
                    <a:pt x="3879" y="469"/>
                    <a:pt x="3782" y="372"/>
                  </a:cubicBezTo>
                  <a:cubicBezTo>
                    <a:pt x="3542" y="132"/>
                    <a:pt x="3223" y="0"/>
                    <a:pt x="2884" y="0"/>
                  </a:cubicBezTo>
                  <a:cubicBezTo>
                    <a:pt x="2544" y="0"/>
                    <a:pt x="2225" y="132"/>
                    <a:pt x="1985" y="372"/>
                  </a:cubicBezTo>
                  <a:cubicBezTo>
                    <a:pt x="1745" y="612"/>
                    <a:pt x="1612" y="932"/>
                    <a:pt x="1612" y="1271"/>
                  </a:cubicBezTo>
                  <a:cubicBezTo>
                    <a:pt x="1612" y="1611"/>
                    <a:pt x="1745" y="1930"/>
                    <a:pt x="1985" y="2170"/>
                  </a:cubicBezTo>
                  <a:cubicBezTo>
                    <a:pt x="2054" y="2239"/>
                    <a:pt x="2129" y="2299"/>
                    <a:pt x="2209" y="2349"/>
                  </a:cubicBezTo>
                  <a:cubicBezTo>
                    <a:pt x="2209" y="2349"/>
                    <a:pt x="2209" y="2349"/>
                    <a:pt x="2209" y="2349"/>
                  </a:cubicBezTo>
                  <a:cubicBezTo>
                    <a:pt x="2151" y="2364"/>
                    <a:pt x="2094" y="2381"/>
                    <a:pt x="2037" y="2400"/>
                  </a:cubicBezTo>
                  <a:cubicBezTo>
                    <a:pt x="1988" y="2416"/>
                    <a:pt x="1962" y="2469"/>
                    <a:pt x="1978" y="2518"/>
                  </a:cubicBezTo>
                  <a:cubicBezTo>
                    <a:pt x="1994" y="2566"/>
                    <a:pt x="2047" y="2593"/>
                    <a:pt x="2096" y="2576"/>
                  </a:cubicBezTo>
                  <a:cubicBezTo>
                    <a:pt x="2604" y="2407"/>
                    <a:pt x="3163" y="2407"/>
                    <a:pt x="3671" y="2576"/>
                  </a:cubicBezTo>
                  <a:cubicBezTo>
                    <a:pt x="3681" y="2580"/>
                    <a:pt x="3691" y="2581"/>
                    <a:pt x="3701" y="2581"/>
                  </a:cubicBezTo>
                  <a:cubicBezTo>
                    <a:pt x="3740" y="2581"/>
                    <a:pt x="3776" y="2557"/>
                    <a:pt x="3789" y="2518"/>
                  </a:cubicBezTo>
                  <a:cubicBezTo>
                    <a:pt x="3805" y="2469"/>
                    <a:pt x="3779" y="2416"/>
                    <a:pt x="3730" y="2400"/>
                  </a:cubicBezTo>
                  <a:cubicBezTo>
                    <a:pt x="3673" y="2381"/>
                    <a:pt x="3616" y="2364"/>
                    <a:pt x="3558" y="2349"/>
                  </a:cubicBezTo>
                  <a:cubicBezTo>
                    <a:pt x="3558" y="2349"/>
                    <a:pt x="3558" y="2349"/>
                    <a:pt x="3558" y="2349"/>
                  </a:cubicBezTo>
                  <a:cubicBezTo>
                    <a:pt x="3638" y="2299"/>
                    <a:pt x="3713" y="2239"/>
                    <a:pt x="3782" y="2170"/>
                  </a:cubicBezTo>
                  <a:cubicBezTo>
                    <a:pt x="3844" y="2109"/>
                    <a:pt x="3898" y="2042"/>
                    <a:pt x="3945" y="1971"/>
                  </a:cubicBezTo>
                  <a:cubicBezTo>
                    <a:pt x="3970" y="1976"/>
                    <a:pt x="3996" y="1981"/>
                    <a:pt x="4021" y="1987"/>
                  </a:cubicBezTo>
                  <a:cubicBezTo>
                    <a:pt x="4055" y="1994"/>
                    <a:pt x="4088" y="2002"/>
                    <a:pt x="4121" y="2010"/>
                  </a:cubicBezTo>
                  <a:cubicBezTo>
                    <a:pt x="4120" y="2014"/>
                    <a:pt x="4119" y="2018"/>
                    <a:pt x="4118" y="2022"/>
                  </a:cubicBezTo>
                  <a:cubicBezTo>
                    <a:pt x="4072" y="2238"/>
                    <a:pt x="4075" y="2428"/>
                    <a:pt x="4127" y="2589"/>
                  </a:cubicBezTo>
                  <a:cubicBezTo>
                    <a:pt x="4173" y="2733"/>
                    <a:pt x="4256" y="2850"/>
                    <a:pt x="4374" y="2936"/>
                  </a:cubicBezTo>
                  <a:cubicBezTo>
                    <a:pt x="4513" y="3037"/>
                    <a:pt x="4680" y="3081"/>
                    <a:pt x="4832" y="3081"/>
                  </a:cubicBezTo>
                  <a:cubicBezTo>
                    <a:pt x="4946" y="3081"/>
                    <a:pt x="5052" y="3056"/>
                    <a:pt x="5129" y="3013"/>
                  </a:cubicBezTo>
                  <a:cubicBezTo>
                    <a:pt x="5217" y="2963"/>
                    <a:pt x="5290" y="2858"/>
                    <a:pt x="5348" y="2702"/>
                  </a:cubicBezTo>
                  <a:cubicBezTo>
                    <a:pt x="5375" y="2733"/>
                    <a:pt x="5400" y="2765"/>
                    <a:pt x="5424" y="2798"/>
                  </a:cubicBezTo>
                  <a:cubicBezTo>
                    <a:pt x="5522" y="2931"/>
                    <a:pt x="5596" y="3078"/>
                    <a:pt x="5645" y="3234"/>
                  </a:cubicBezTo>
                  <a:cubicBezTo>
                    <a:pt x="5674" y="3326"/>
                    <a:pt x="5745" y="3398"/>
                    <a:pt x="5837" y="3427"/>
                  </a:cubicBezTo>
                  <a:lnTo>
                    <a:pt x="6099" y="3511"/>
                  </a:lnTo>
                  <a:cubicBezTo>
                    <a:pt x="6168" y="3533"/>
                    <a:pt x="6214" y="3597"/>
                    <a:pt x="6214" y="3669"/>
                  </a:cubicBezTo>
                  <a:lnTo>
                    <a:pt x="6214" y="4104"/>
                  </a:lnTo>
                  <a:cubicBezTo>
                    <a:pt x="6214" y="4176"/>
                    <a:pt x="6168" y="4239"/>
                    <a:pt x="6099" y="4261"/>
                  </a:cubicBezTo>
                  <a:lnTo>
                    <a:pt x="5676" y="4396"/>
                  </a:lnTo>
                  <a:cubicBezTo>
                    <a:pt x="5609" y="4418"/>
                    <a:pt x="5552" y="4465"/>
                    <a:pt x="5515" y="4527"/>
                  </a:cubicBezTo>
                  <a:cubicBezTo>
                    <a:pt x="5349" y="4814"/>
                    <a:pt x="5089" y="5051"/>
                    <a:pt x="4740" y="5233"/>
                  </a:cubicBezTo>
                  <a:cubicBezTo>
                    <a:pt x="4700" y="5254"/>
                    <a:pt x="4672" y="5291"/>
                    <a:pt x="4663" y="5335"/>
                  </a:cubicBezTo>
                  <a:lnTo>
                    <a:pt x="4528" y="6052"/>
                  </a:lnTo>
                  <a:cubicBezTo>
                    <a:pt x="4524" y="6071"/>
                    <a:pt x="4507" y="6086"/>
                    <a:pt x="4487" y="6086"/>
                  </a:cubicBezTo>
                  <a:lnTo>
                    <a:pt x="4047" y="6086"/>
                  </a:lnTo>
                  <a:cubicBezTo>
                    <a:pt x="4027" y="6086"/>
                    <a:pt x="4010" y="6071"/>
                    <a:pt x="4006" y="6052"/>
                  </a:cubicBezTo>
                  <a:lnTo>
                    <a:pt x="3931" y="5656"/>
                  </a:lnTo>
                  <a:cubicBezTo>
                    <a:pt x="3916" y="5578"/>
                    <a:pt x="3843" y="5526"/>
                    <a:pt x="3765" y="5538"/>
                  </a:cubicBezTo>
                  <a:cubicBezTo>
                    <a:pt x="3575" y="5567"/>
                    <a:pt x="3380" y="5581"/>
                    <a:pt x="3184" y="5581"/>
                  </a:cubicBezTo>
                  <a:cubicBezTo>
                    <a:pt x="3039" y="5581"/>
                    <a:pt x="2895" y="5573"/>
                    <a:pt x="2758" y="5557"/>
                  </a:cubicBezTo>
                  <a:cubicBezTo>
                    <a:pt x="2681" y="5548"/>
                    <a:pt x="2610" y="5600"/>
                    <a:pt x="2596" y="5676"/>
                  </a:cubicBezTo>
                  <a:lnTo>
                    <a:pt x="2525" y="6052"/>
                  </a:lnTo>
                  <a:cubicBezTo>
                    <a:pt x="2521" y="6071"/>
                    <a:pt x="2504" y="6086"/>
                    <a:pt x="2484" y="6086"/>
                  </a:cubicBezTo>
                  <a:lnTo>
                    <a:pt x="2044" y="6086"/>
                  </a:lnTo>
                  <a:cubicBezTo>
                    <a:pt x="2024" y="6086"/>
                    <a:pt x="2007" y="6071"/>
                    <a:pt x="2003" y="6051"/>
                  </a:cubicBezTo>
                  <a:lnTo>
                    <a:pt x="1873" y="5375"/>
                  </a:lnTo>
                  <a:cubicBezTo>
                    <a:pt x="1864" y="5331"/>
                    <a:pt x="1837" y="5294"/>
                    <a:pt x="1797" y="5273"/>
                  </a:cubicBezTo>
                  <a:cubicBezTo>
                    <a:pt x="1203" y="4956"/>
                    <a:pt x="889" y="4426"/>
                    <a:pt x="889" y="3740"/>
                  </a:cubicBezTo>
                  <a:cubicBezTo>
                    <a:pt x="889" y="3394"/>
                    <a:pt x="965" y="3088"/>
                    <a:pt x="1114" y="2830"/>
                  </a:cubicBezTo>
                  <a:cubicBezTo>
                    <a:pt x="1254" y="2590"/>
                    <a:pt x="1457" y="2391"/>
                    <a:pt x="1720" y="2239"/>
                  </a:cubicBezTo>
                  <a:cubicBezTo>
                    <a:pt x="1764" y="2213"/>
                    <a:pt x="1779" y="2156"/>
                    <a:pt x="1754" y="2112"/>
                  </a:cubicBezTo>
                  <a:cubicBezTo>
                    <a:pt x="1728" y="2067"/>
                    <a:pt x="1671" y="2052"/>
                    <a:pt x="1626" y="2078"/>
                  </a:cubicBezTo>
                  <a:cubicBezTo>
                    <a:pt x="1118" y="2372"/>
                    <a:pt x="811" y="2826"/>
                    <a:pt x="727" y="3402"/>
                  </a:cubicBezTo>
                  <a:lnTo>
                    <a:pt x="727" y="3402"/>
                  </a:lnTo>
                  <a:cubicBezTo>
                    <a:pt x="718" y="3401"/>
                    <a:pt x="709" y="3401"/>
                    <a:pt x="700" y="3400"/>
                  </a:cubicBezTo>
                  <a:cubicBezTo>
                    <a:pt x="701" y="3337"/>
                    <a:pt x="690" y="3275"/>
                    <a:pt x="666" y="3214"/>
                  </a:cubicBezTo>
                  <a:cubicBezTo>
                    <a:pt x="612" y="3079"/>
                    <a:pt x="501" y="2982"/>
                    <a:pt x="383" y="2967"/>
                  </a:cubicBezTo>
                  <a:cubicBezTo>
                    <a:pt x="290" y="2954"/>
                    <a:pt x="202" y="2994"/>
                    <a:pt x="140" y="3075"/>
                  </a:cubicBezTo>
                  <a:cubicBezTo>
                    <a:pt x="52" y="3192"/>
                    <a:pt x="66" y="3285"/>
                    <a:pt x="94" y="3342"/>
                  </a:cubicBezTo>
                  <a:cubicBezTo>
                    <a:pt x="141" y="3439"/>
                    <a:pt x="261" y="3507"/>
                    <a:pt x="462" y="3550"/>
                  </a:cubicBezTo>
                  <a:cubicBezTo>
                    <a:pt x="456" y="3559"/>
                    <a:pt x="450" y="3567"/>
                    <a:pt x="443" y="3575"/>
                  </a:cubicBezTo>
                  <a:cubicBezTo>
                    <a:pt x="325" y="3723"/>
                    <a:pt x="186" y="3756"/>
                    <a:pt x="95" y="3759"/>
                  </a:cubicBezTo>
                  <a:cubicBezTo>
                    <a:pt x="42" y="3761"/>
                    <a:pt x="0" y="3804"/>
                    <a:pt x="0" y="3857"/>
                  </a:cubicBezTo>
                  <a:lnTo>
                    <a:pt x="0" y="3857"/>
                  </a:lnTo>
                  <a:cubicBezTo>
                    <a:pt x="0" y="3909"/>
                    <a:pt x="41" y="3952"/>
                    <a:pt x="93" y="3954"/>
                  </a:cubicBezTo>
                  <a:cubicBezTo>
                    <a:pt x="100" y="3955"/>
                    <a:pt x="107" y="3955"/>
                    <a:pt x="114" y="3955"/>
                  </a:cubicBezTo>
                  <a:cubicBezTo>
                    <a:pt x="229" y="3955"/>
                    <a:pt x="413" y="3913"/>
                    <a:pt x="589" y="3691"/>
                  </a:cubicBezTo>
                  <a:cubicBezTo>
                    <a:pt x="617" y="3656"/>
                    <a:pt x="640" y="3620"/>
                    <a:pt x="657" y="3582"/>
                  </a:cubicBezTo>
                  <a:cubicBezTo>
                    <a:pt x="675" y="3583"/>
                    <a:pt x="691" y="3585"/>
                    <a:pt x="708" y="3587"/>
                  </a:cubicBezTo>
                  <a:cubicBezTo>
                    <a:pt x="708" y="3587"/>
                    <a:pt x="708" y="3587"/>
                    <a:pt x="708" y="3587"/>
                  </a:cubicBezTo>
                  <a:cubicBezTo>
                    <a:pt x="705" y="3637"/>
                    <a:pt x="703" y="3688"/>
                    <a:pt x="703" y="3740"/>
                  </a:cubicBezTo>
                  <a:cubicBezTo>
                    <a:pt x="703" y="4128"/>
                    <a:pt x="795" y="4474"/>
                    <a:pt x="978" y="4768"/>
                  </a:cubicBezTo>
                  <a:cubicBezTo>
                    <a:pt x="1146" y="5040"/>
                    <a:pt x="1386" y="5262"/>
                    <a:pt x="1693" y="5429"/>
                  </a:cubicBezTo>
                  <a:lnTo>
                    <a:pt x="1820" y="6086"/>
                  </a:lnTo>
                  <a:cubicBezTo>
                    <a:pt x="1840" y="6194"/>
                    <a:pt x="1934" y="6272"/>
                    <a:pt x="2044" y="6272"/>
                  </a:cubicBezTo>
                  <a:lnTo>
                    <a:pt x="2484" y="6272"/>
                  </a:lnTo>
                  <a:cubicBezTo>
                    <a:pt x="2593" y="6272"/>
                    <a:pt x="2688" y="6194"/>
                    <a:pt x="2708" y="6086"/>
                  </a:cubicBezTo>
                  <a:lnTo>
                    <a:pt x="2772" y="5746"/>
                  </a:lnTo>
                  <a:cubicBezTo>
                    <a:pt x="2906" y="5760"/>
                    <a:pt x="3044" y="5768"/>
                    <a:pt x="3184" y="5768"/>
                  </a:cubicBezTo>
                  <a:cubicBezTo>
                    <a:pt x="3376" y="5768"/>
                    <a:pt x="3568" y="5754"/>
                    <a:pt x="3755" y="5728"/>
                  </a:cubicBezTo>
                  <a:lnTo>
                    <a:pt x="3823" y="6086"/>
                  </a:lnTo>
                  <a:cubicBezTo>
                    <a:pt x="3843" y="6194"/>
                    <a:pt x="3938" y="6272"/>
                    <a:pt x="4047" y="6272"/>
                  </a:cubicBezTo>
                  <a:lnTo>
                    <a:pt x="4487" y="6272"/>
                  </a:lnTo>
                  <a:cubicBezTo>
                    <a:pt x="4596" y="6272"/>
                    <a:pt x="4691" y="6194"/>
                    <a:pt x="4711" y="6086"/>
                  </a:cubicBezTo>
                  <a:lnTo>
                    <a:pt x="4843" y="5389"/>
                  </a:lnTo>
                  <a:cubicBezTo>
                    <a:pt x="5215" y="5192"/>
                    <a:pt x="5495" y="4934"/>
                    <a:pt x="5677" y="4620"/>
                  </a:cubicBezTo>
                  <a:cubicBezTo>
                    <a:pt x="5690" y="4598"/>
                    <a:pt x="5710" y="4581"/>
                    <a:pt x="5733" y="4574"/>
                  </a:cubicBezTo>
                  <a:lnTo>
                    <a:pt x="6156" y="4439"/>
                  </a:lnTo>
                  <a:cubicBezTo>
                    <a:pt x="6302" y="4392"/>
                    <a:pt x="6400" y="4257"/>
                    <a:pt x="6400" y="4104"/>
                  </a:cubicBezTo>
                  <a:lnTo>
                    <a:pt x="6400" y="3669"/>
                  </a:lnTo>
                  <a:cubicBezTo>
                    <a:pt x="6400" y="3515"/>
                    <a:pt x="6302" y="3381"/>
                    <a:pt x="6156" y="3334"/>
                  </a:cubicBezTo>
                  <a:close/>
                  <a:moveTo>
                    <a:pt x="5266" y="2227"/>
                  </a:moveTo>
                  <a:cubicBezTo>
                    <a:pt x="5230" y="2533"/>
                    <a:pt x="5134" y="2796"/>
                    <a:pt x="5037" y="2850"/>
                  </a:cubicBezTo>
                  <a:cubicBezTo>
                    <a:pt x="4928" y="2913"/>
                    <a:pt x="4674" y="2925"/>
                    <a:pt x="4484" y="2785"/>
                  </a:cubicBezTo>
                  <a:cubicBezTo>
                    <a:pt x="4293" y="2646"/>
                    <a:pt x="4230" y="2395"/>
                    <a:pt x="4300" y="2060"/>
                  </a:cubicBezTo>
                  <a:lnTo>
                    <a:pt x="4300" y="2060"/>
                  </a:lnTo>
                  <a:cubicBezTo>
                    <a:pt x="4307" y="2027"/>
                    <a:pt x="4331" y="1998"/>
                    <a:pt x="4364" y="1983"/>
                  </a:cubicBezTo>
                  <a:cubicBezTo>
                    <a:pt x="4830" y="1769"/>
                    <a:pt x="5099" y="1699"/>
                    <a:pt x="5199" y="1699"/>
                  </a:cubicBezTo>
                  <a:cubicBezTo>
                    <a:pt x="5214" y="1699"/>
                    <a:pt x="5225" y="1701"/>
                    <a:pt x="5233" y="1704"/>
                  </a:cubicBezTo>
                  <a:cubicBezTo>
                    <a:pt x="5263" y="1736"/>
                    <a:pt x="5302" y="1918"/>
                    <a:pt x="5266" y="2227"/>
                  </a:cubicBezTo>
                  <a:close/>
                  <a:moveTo>
                    <a:pt x="262" y="3261"/>
                  </a:moveTo>
                  <a:cubicBezTo>
                    <a:pt x="252" y="3241"/>
                    <a:pt x="275" y="3206"/>
                    <a:pt x="289" y="3187"/>
                  </a:cubicBezTo>
                  <a:cubicBezTo>
                    <a:pt x="312" y="3157"/>
                    <a:pt x="333" y="3151"/>
                    <a:pt x="349" y="3151"/>
                  </a:cubicBezTo>
                  <a:cubicBezTo>
                    <a:pt x="352" y="3151"/>
                    <a:pt x="355" y="3151"/>
                    <a:pt x="358" y="3151"/>
                  </a:cubicBezTo>
                  <a:cubicBezTo>
                    <a:pt x="401" y="3157"/>
                    <a:pt x="461" y="3204"/>
                    <a:pt x="493" y="3283"/>
                  </a:cubicBezTo>
                  <a:cubicBezTo>
                    <a:pt x="500" y="3302"/>
                    <a:pt x="510" y="3333"/>
                    <a:pt x="512" y="3371"/>
                  </a:cubicBezTo>
                  <a:cubicBezTo>
                    <a:pt x="383" y="3344"/>
                    <a:pt x="283" y="3306"/>
                    <a:pt x="262" y="326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84"/>
            <p:cNvSpPr>
              <a:spLocks noEditPoints="1"/>
            </p:cNvSpPr>
            <p:nvPr/>
          </p:nvSpPr>
          <p:spPr bwMode="auto">
            <a:xfrm>
              <a:off x="3775" y="3004"/>
              <a:ext cx="39" cy="71"/>
            </a:xfrm>
            <a:custGeom>
              <a:avLst/>
              <a:gdLst>
                <a:gd name="T0" fmla="*/ 438 w 737"/>
                <a:gd name="T1" fmla="*/ 566 h 1346"/>
                <a:gd name="T2" fmla="*/ 438 w 737"/>
                <a:gd name="T3" fmla="*/ 233 h 1346"/>
                <a:gd name="T4" fmla="*/ 635 w 737"/>
                <a:gd name="T5" fmla="*/ 294 h 1346"/>
                <a:gd name="T6" fmla="*/ 707 w 737"/>
                <a:gd name="T7" fmla="*/ 200 h 1346"/>
                <a:gd name="T8" fmla="*/ 438 w 737"/>
                <a:gd name="T9" fmla="*/ 82 h 1346"/>
                <a:gd name="T10" fmla="*/ 438 w 737"/>
                <a:gd name="T11" fmla="*/ 38 h 1346"/>
                <a:gd name="T12" fmla="*/ 389 w 737"/>
                <a:gd name="T13" fmla="*/ 0 h 1346"/>
                <a:gd name="T14" fmla="*/ 341 w 737"/>
                <a:gd name="T15" fmla="*/ 38 h 1346"/>
                <a:gd name="T16" fmla="*/ 341 w 737"/>
                <a:gd name="T17" fmla="*/ 85 h 1346"/>
                <a:gd name="T18" fmla="*/ 29 w 737"/>
                <a:gd name="T19" fmla="*/ 391 h 1346"/>
                <a:gd name="T20" fmla="*/ 341 w 737"/>
                <a:gd name="T21" fmla="*/ 713 h 1346"/>
                <a:gd name="T22" fmla="*/ 341 w 737"/>
                <a:gd name="T23" fmla="*/ 1098 h 1346"/>
                <a:gd name="T24" fmla="*/ 75 w 737"/>
                <a:gd name="T25" fmla="*/ 970 h 1346"/>
                <a:gd name="T26" fmla="*/ 0 w 737"/>
                <a:gd name="T27" fmla="*/ 1064 h 1346"/>
                <a:gd name="T28" fmla="*/ 341 w 737"/>
                <a:gd name="T29" fmla="*/ 1258 h 1346"/>
                <a:gd name="T30" fmla="*/ 341 w 737"/>
                <a:gd name="T31" fmla="*/ 1258 h 1346"/>
                <a:gd name="T32" fmla="*/ 341 w 737"/>
                <a:gd name="T33" fmla="*/ 1309 h 1346"/>
                <a:gd name="T34" fmla="*/ 389 w 737"/>
                <a:gd name="T35" fmla="*/ 1346 h 1346"/>
                <a:gd name="T36" fmla="*/ 438 w 737"/>
                <a:gd name="T37" fmla="*/ 1309 h 1346"/>
                <a:gd name="T38" fmla="*/ 438 w 737"/>
                <a:gd name="T39" fmla="*/ 1253 h 1346"/>
                <a:gd name="T40" fmla="*/ 737 w 737"/>
                <a:gd name="T41" fmla="*/ 915 h 1346"/>
                <a:gd name="T42" fmla="*/ 438 w 737"/>
                <a:gd name="T43" fmla="*/ 566 h 1346"/>
                <a:gd name="T44" fmla="*/ 351 w 737"/>
                <a:gd name="T45" fmla="*/ 535 h 1346"/>
                <a:gd name="T46" fmla="*/ 193 w 737"/>
                <a:gd name="T47" fmla="*/ 374 h 1346"/>
                <a:gd name="T48" fmla="*/ 351 w 737"/>
                <a:gd name="T49" fmla="*/ 236 h 1346"/>
                <a:gd name="T50" fmla="*/ 351 w 737"/>
                <a:gd name="T51" fmla="*/ 535 h 1346"/>
                <a:gd name="T52" fmla="*/ 428 w 737"/>
                <a:gd name="T53" fmla="*/ 1095 h 1346"/>
                <a:gd name="T54" fmla="*/ 428 w 737"/>
                <a:gd name="T55" fmla="*/ 749 h 1346"/>
                <a:gd name="T56" fmla="*/ 573 w 737"/>
                <a:gd name="T57" fmla="*/ 933 h 1346"/>
                <a:gd name="T58" fmla="*/ 428 w 737"/>
                <a:gd name="T59" fmla="*/ 1095 h 1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37" h="1346">
                  <a:moveTo>
                    <a:pt x="438" y="566"/>
                  </a:moveTo>
                  <a:lnTo>
                    <a:pt x="438" y="233"/>
                  </a:lnTo>
                  <a:cubicBezTo>
                    <a:pt x="553" y="241"/>
                    <a:pt x="596" y="294"/>
                    <a:pt x="635" y="294"/>
                  </a:cubicBezTo>
                  <a:cubicBezTo>
                    <a:pt x="684" y="294"/>
                    <a:pt x="707" y="232"/>
                    <a:pt x="707" y="200"/>
                  </a:cubicBezTo>
                  <a:cubicBezTo>
                    <a:pt x="707" y="120"/>
                    <a:pt x="550" y="85"/>
                    <a:pt x="438" y="82"/>
                  </a:cubicBezTo>
                  <a:lnTo>
                    <a:pt x="438" y="38"/>
                  </a:lnTo>
                  <a:cubicBezTo>
                    <a:pt x="438" y="18"/>
                    <a:pt x="413" y="0"/>
                    <a:pt x="389" y="0"/>
                  </a:cubicBezTo>
                  <a:cubicBezTo>
                    <a:pt x="361" y="0"/>
                    <a:pt x="341" y="18"/>
                    <a:pt x="341" y="38"/>
                  </a:cubicBezTo>
                  <a:lnTo>
                    <a:pt x="341" y="85"/>
                  </a:lnTo>
                  <a:cubicBezTo>
                    <a:pt x="185" y="102"/>
                    <a:pt x="29" y="184"/>
                    <a:pt x="29" y="391"/>
                  </a:cubicBezTo>
                  <a:cubicBezTo>
                    <a:pt x="29" y="601"/>
                    <a:pt x="193" y="660"/>
                    <a:pt x="341" y="713"/>
                  </a:cubicBezTo>
                  <a:lnTo>
                    <a:pt x="341" y="1098"/>
                  </a:lnTo>
                  <a:cubicBezTo>
                    <a:pt x="174" y="1085"/>
                    <a:pt x="129" y="970"/>
                    <a:pt x="75" y="970"/>
                  </a:cubicBezTo>
                  <a:cubicBezTo>
                    <a:pt x="34" y="970"/>
                    <a:pt x="0" y="1025"/>
                    <a:pt x="0" y="1064"/>
                  </a:cubicBezTo>
                  <a:cubicBezTo>
                    <a:pt x="0" y="1144"/>
                    <a:pt x="137" y="1254"/>
                    <a:pt x="341" y="1258"/>
                  </a:cubicBezTo>
                  <a:lnTo>
                    <a:pt x="341" y="1258"/>
                  </a:lnTo>
                  <a:lnTo>
                    <a:pt x="341" y="1309"/>
                  </a:lnTo>
                  <a:cubicBezTo>
                    <a:pt x="341" y="1328"/>
                    <a:pt x="361" y="1346"/>
                    <a:pt x="389" y="1346"/>
                  </a:cubicBezTo>
                  <a:cubicBezTo>
                    <a:pt x="413" y="1346"/>
                    <a:pt x="438" y="1328"/>
                    <a:pt x="438" y="1309"/>
                  </a:cubicBezTo>
                  <a:lnTo>
                    <a:pt x="438" y="1253"/>
                  </a:lnTo>
                  <a:cubicBezTo>
                    <a:pt x="615" y="1228"/>
                    <a:pt x="737" y="1117"/>
                    <a:pt x="737" y="915"/>
                  </a:cubicBezTo>
                  <a:cubicBezTo>
                    <a:pt x="737" y="691"/>
                    <a:pt x="581" y="619"/>
                    <a:pt x="438" y="566"/>
                  </a:cubicBezTo>
                  <a:close/>
                  <a:moveTo>
                    <a:pt x="351" y="535"/>
                  </a:moveTo>
                  <a:cubicBezTo>
                    <a:pt x="264" y="502"/>
                    <a:pt x="193" y="468"/>
                    <a:pt x="193" y="374"/>
                  </a:cubicBezTo>
                  <a:cubicBezTo>
                    <a:pt x="193" y="289"/>
                    <a:pt x="259" y="248"/>
                    <a:pt x="351" y="236"/>
                  </a:cubicBezTo>
                  <a:lnTo>
                    <a:pt x="351" y="535"/>
                  </a:lnTo>
                  <a:close/>
                  <a:moveTo>
                    <a:pt x="428" y="1095"/>
                  </a:moveTo>
                  <a:lnTo>
                    <a:pt x="428" y="749"/>
                  </a:lnTo>
                  <a:cubicBezTo>
                    <a:pt x="509" y="783"/>
                    <a:pt x="573" y="829"/>
                    <a:pt x="573" y="933"/>
                  </a:cubicBezTo>
                  <a:cubicBezTo>
                    <a:pt x="573" y="1026"/>
                    <a:pt x="517" y="1079"/>
                    <a:pt x="428" y="109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5" name="Group 87"/>
          <p:cNvGrpSpPr>
            <a:grpSpLocks noChangeAspect="1"/>
          </p:cNvGrpSpPr>
          <p:nvPr/>
        </p:nvGrpSpPr>
        <p:grpSpPr bwMode="auto">
          <a:xfrm>
            <a:off x="2792498" y="4832411"/>
            <a:ext cx="458788" cy="538163"/>
            <a:chOff x="1870" y="3037"/>
            <a:chExt cx="289" cy="339"/>
          </a:xfrm>
          <a:gradFill>
            <a:gsLst>
              <a:gs pos="0">
                <a:srgbClr val="FEC232"/>
              </a:gs>
              <a:gs pos="100000">
                <a:srgbClr val="DF6F51"/>
              </a:gs>
            </a:gsLst>
            <a:lin ang="2700000" scaled="1"/>
          </a:gradFill>
        </p:grpSpPr>
        <p:sp>
          <p:nvSpPr>
            <p:cNvPr id="247" name="Freeform 88"/>
            <p:cNvSpPr>
              <a:spLocks/>
            </p:cNvSpPr>
            <p:nvPr/>
          </p:nvSpPr>
          <p:spPr bwMode="auto">
            <a:xfrm>
              <a:off x="1870" y="3037"/>
              <a:ext cx="207" cy="92"/>
            </a:xfrm>
            <a:custGeom>
              <a:avLst/>
              <a:gdLst>
                <a:gd name="T0" fmla="*/ 94 w 3913"/>
                <a:gd name="T1" fmla="*/ 1219 h 1730"/>
                <a:gd name="T2" fmla="*/ 188 w 3913"/>
                <a:gd name="T3" fmla="*/ 1126 h 1730"/>
                <a:gd name="T4" fmla="*/ 188 w 3913"/>
                <a:gd name="T5" fmla="*/ 673 h 1730"/>
                <a:gd name="T6" fmla="*/ 673 w 3913"/>
                <a:gd name="T7" fmla="*/ 188 h 1730"/>
                <a:gd name="T8" fmla="*/ 3240 w 3913"/>
                <a:gd name="T9" fmla="*/ 188 h 1730"/>
                <a:gd name="T10" fmla="*/ 3725 w 3913"/>
                <a:gd name="T11" fmla="*/ 673 h 1730"/>
                <a:gd name="T12" fmla="*/ 3725 w 3913"/>
                <a:gd name="T13" fmla="*/ 1636 h 1730"/>
                <a:gd name="T14" fmla="*/ 3819 w 3913"/>
                <a:gd name="T15" fmla="*/ 1730 h 1730"/>
                <a:gd name="T16" fmla="*/ 3913 w 3913"/>
                <a:gd name="T17" fmla="*/ 1636 h 1730"/>
                <a:gd name="T18" fmla="*/ 3913 w 3913"/>
                <a:gd name="T19" fmla="*/ 673 h 1730"/>
                <a:gd name="T20" fmla="*/ 3240 w 3913"/>
                <a:gd name="T21" fmla="*/ 0 h 1730"/>
                <a:gd name="T22" fmla="*/ 673 w 3913"/>
                <a:gd name="T23" fmla="*/ 0 h 1730"/>
                <a:gd name="T24" fmla="*/ 0 w 3913"/>
                <a:gd name="T25" fmla="*/ 673 h 1730"/>
                <a:gd name="T26" fmla="*/ 0 w 3913"/>
                <a:gd name="T27" fmla="*/ 1126 h 1730"/>
                <a:gd name="T28" fmla="*/ 94 w 3913"/>
                <a:gd name="T29" fmla="*/ 1219 h 1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13" h="1730">
                  <a:moveTo>
                    <a:pt x="94" y="1219"/>
                  </a:moveTo>
                  <a:cubicBezTo>
                    <a:pt x="146" y="1219"/>
                    <a:pt x="188" y="1177"/>
                    <a:pt x="188" y="1126"/>
                  </a:cubicBezTo>
                  <a:lnTo>
                    <a:pt x="188" y="673"/>
                  </a:lnTo>
                  <a:cubicBezTo>
                    <a:pt x="188" y="405"/>
                    <a:pt x="406" y="188"/>
                    <a:pt x="673" y="188"/>
                  </a:cubicBezTo>
                  <a:lnTo>
                    <a:pt x="3240" y="188"/>
                  </a:lnTo>
                  <a:cubicBezTo>
                    <a:pt x="3507" y="188"/>
                    <a:pt x="3725" y="405"/>
                    <a:pt x="3725" y="673"/>
                  </a:cubicBezTo>
                  <a:lnTo>
                    <a:pt x="3725" y="1636"/>
                  </a:lnTo>
                  <a:cubicBezTo>
                    <a:pt x="3725" y="1688"/>
                    <a:pt x="3767" y="1730"/>
                    <a:pt x="3819" y="1730"/>
                  </a:cubicBezTo>
                  <a:cubicBezTo>
                    <a:pt x="3871" y="1730"/>
                    <a:pt x="3913" y="1688"/>
                    <a:pt x="3913" y="1636"/>
                  </a:cubicBezTo>
                  <a:lnTo>
                    <a:pt x="3913" y="673"/>
                  </a:lnTo>
                  <a:cubicBezTo>
                    <a:pt x="3913" y="302"/>
                    <a:pt x="3611" y="0"/>
                    <a:pt x="3240" y="0"/>
                  </a:cubicBezTo>
                  <a:lnTo>
                    <a:pt x="673" y="0"/>
                  </a:lnTo>
                  <a:cubicBezTo>
                    <a:pt x="302" y="0"/>
                    <a:pt x="0" y="302"/>
                    <a:pt x="0" y="673"/>
                  </a:cubicBezTo>
                  <a:lnTo>
                    <a:pt x="0" y="1126"/>
                  </a:lnTo>
                  <a:cubicBezTo>
                    <a:pt x="0" y="1177"/>
                    <a:pt x="42" y="1219"/>
                    <a:pt x="94" y="121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89"/>
            <p:cNvSpPr>
              <a:spLocks/>
            </p:cNvSpPr>
            <p:nvPr/>
          </p:nvSpPr>
          <p:spPr bwMode="auto">
            <a:xfrm>
              <a:off x="1870" y="3113"/>
              <a:ext cx="207" cy="263"/>
            </a:xfrm>
            <a:custGeom>
              <a:avLst/>
              <a:gdLst>
                <a:gd name="T0" fmla="*/ 3819 w 3913"/>
                <a:gd name="T1" fmla="*/ 3247 h 4968"/>
                <a:gd name="T2" fmla="*/ 3725 w 3913"/>
                <a:gd name="T3" fmla="*/ 3340 h 4968"/>
                <a:gd name="T4" fmla="*/ 3725 w 3913"/>
                <a:gd name="T5" fmla="*/ 4295 h 4968"/>
                <a:gd name="T6" fmla="*/ 3240 w 3913"/>
                <a:gd name="T7" fmla="*/ 4780 h 4968"/>
                <a:gd name="T8" fmla="*/ 673 w 3913"/>
                <a:gd name="T9" fmla="*/ 4780 h 4968"/>
                <a:gd name="T10" fmla="*/ 188 w 3913"/>
                <a:gd name="T11" fmla="*/ 4295 h 4968"/>
                <a:gd name="T12" fmla="*/ 188 w 3913"/>
                <a:gd name="T13" fmla="*/ 93 h 4968"/>
                <a:gd name="T14" fmla="*/ 94 w 3913"/>
                <a:gd name="T15" fmla="*/ 0 h 4968"/>
                <a:gd name="T16" fmla="*/ 0 w 3913"/>
                <a:gd name="T17" fmla="*/ 93 h 4968"/>
                <a:gd name="T18" fmla="*/ 0 w 3913"/>
                <a:gd name="T19" fmla="*/ 4295 h 4968"/>
                <a:gd name="T20" fmla="*/ 673 w 3913"/>
                <a:gd name="T21" fmla="*/ 4968 h 4968"/>
                <a:gd name="T22" fmla="*/ 3240 w 3913"/>
                <a:gd name="T23" fmla="*/ 4968 h 4968"/>
                <a:gd name="T24" fmla="*/ 3913 w 3913"/>
                <a:gd name="T25" fmla="*/ 4295 h 4968"/>
                <a:gd name="T26" fmla="*/ 3913 w 3913"/>
                <a:gd name="T27" fmla="*/ 3340 h 4968"/>
                <a:gd name="T28" fmla="*/ 3819 w 3913"/>
                <a:gd name="T29" fmla="*/ 3247 h 4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13" h="4968">
                  <a:moveTo>
                    <a:pt x="3819" y="3247"/>
                  </a:moveTo>
                  <a:cubicBezTo>
                    <a:pt x="3767" y="3247"/>
                    <a:pt x="3725" y="3289"/>
                    <a:pt x="3725" y="3340"/>
                  </a:cubicBezTo>
                  <a:lnTo>
                    <a:pt x="3725" y="4295"/>
                  </a:lnTo>
                  <a:cubicBezTo>
                    <a:pt x="3725" y="4563"/>
                    <a:pt x="3507" y="4780"/>
                    <a:pt x="3240" y="4780"/>
                  </a:cubicBezTo>
                  <a:lnTo>
                    <a:pt x="673" y="4780"/>
                  </a:lnTo>
                  <a:cubicBezTo>
                    <a:pt x="406" y="4780"/>
                    <a:pt x="188" y="4563"/>
                    <a:pt x="188" y="4295"/>
                  </a:cubicBezTo>
                  <a:lnTo>
                    <a:pt x="188" y="93"/>
                  </a:lnTo>
                  <a:cubicBezTo>
                    <a:pt x="188" y="42"/>
                    <a:pt x="146" y="0"/>
                    <a:pt x="94" y="0"/>
                  </a:cubicBezTo>
                  <a:cubicBezTo>
                    <a:pt x="42" y="0"/>
                    <a:pt x="0" y="42"/>
                    <a:pt x="0" y="93"/>
                  </a:cubicBezTo>
                  <a:lnTo>
                    <a:pt x="0" y="4295"/>
                  </a:lnTo>
                  <a:cubicBezTo>
                    <a:pt x="0" y="4666"/>
                    <a:pt x="302" y="4968"/>
                    <a:pt x="673" y="4968"/>
                  </a:cubicBezTo>
                  <a:lnTo>
                    <a:pt x="3240" y="4968"/>
                  </a:lnTo>
                  <a:cubicBezTo>
                    <a:pt x="3611" y="4968"/>
                    <a:pt x="3913" y="4666"/>
                    <a:pt x="3913" y="4295"/>
                  </a:cubicBezTo>
                  <a:lnTo>
                    <a:pt x="3913" y="3340"/>
                  </a:lnTo>
                  <a:cubicBezTo>
                    <a:pt x="3913" y="3289"/>
                    <a:pt x="3871" y="3247"/>
                    <a:pt x="3819" y="324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90"/>
            <p:cNvSpPr>
              <a:spLocks/>
            </p:cNvSpPr>
            <p:nvPr/>
          </p:nvSpPr>
          <p:spPr bwMode="auto">
            <a:xfrm>
              <a:off x="1890" y="3057"/>
              <a:ext cx="167" cy="299"/>
            </a:xfrm>
            <a:custGeom>
              <a:avLst/>
              <a:gdLst>
                <a:gd name="T0" fmla="*/ 3068 w 3161"/>
                <a:gd name="T1" fmla="*/ 1355 h 5650"/>
                <a:gd name="T2" fmla="*/ 3161 w 3161"/>
                <a:gd name="T3" fmla="*/ 1261 h 5650"/>
                <a:gd name="T4" fmla="*/ 3161 w 3161"/>
                <a:gd name="T5" fmla="*/ 298 h 5650"/>
                <a:gd name="T6" fmla="*/ 2864 w 3161"/>
                <a:gd name="T7" fmla="*/ 0 h 5650"/>
                <a:gd name="T8" fmla="*/ 2423 w 3161"/>
                <a:gd name="T9" fmla="*/ 0 h 5650"/>
                <a:gd name="T10" fmla="*/ 2331 w 3161"/>
                <a:gd name="T11" fmla="*/ 76 h 5650"/>
                <a:gd name="T12" fmla="*/ 2330 w 3161"/>
                <a:gd name="T13" fmla="*/ 77 h 5650"/>
                <a:gd name="T14" fmla="*/ 2205 w 3161"/>
                <a:gd name="T15" fmla="*/ 180 h 5650"/>
                <a:gd name="T16" fmla="*/ 955 w 3161"/>
                <a:gd name="T17" fmla="*/ 180 h 5650"/>
                <a:gd name="T18" fmla="*/ 831 w 3161"/>
                <a:gd name="T19" fmla="*/ 78 h 5650"/>
                <a:gd name="T20" fmla="*/ 830 w 3161"/>
                <a:gd name="T21" fmla="*/ 76 h 5650"/>
                <a:gd name="T22" fmla="*/ 738 w 3161"/>
                <a:gd name="T23" fmla="*/ 0 h 5650"/>
                <a:gd name="T24" fmla="*/ 297 w 3161"/>
                <a:gd name="T25" fmla="*/ 0 h 5650"/>
                <a:gd name="T26" fmla="*/ 0 w 3161"/>
                <a:gd name="T27" fmla="*/ 298 h 5650"/>
                <a:gd name="T28" fmla="*/ 0 w 3161"/>
                <a:gd name="T29" fmla="*/ 5352 h 5650"/>
                <a:gd name="T30" fmla="*/ 297 w 3161"/>
                <a:gd name="T31" fmla="*/ 5650 h 5650"/>
                <a:gd name="T32" fmla="*/ 563 w 3161"/>
                <a:gd name="T33" fmla="*/ 5650 h 5650"/>
                <a:gd name="T34" fmla="*/ 657 w 3161"/>
                <a:gd name="T35" fmla="*/ 5556 h 5650"/>
                <a:gd name="T36" fmla="*/ 563 w 3161"/>
                <a:gd name="T37" fmla="*/ 5462 h 5650"/>
                <a:gd name="T38" fmla="*/ 297 w 3161"/>
                <a:gd name="T39" fmla="*/ 5462 h 5650"/>
                <a:gd name="T40" fmla="*/ 187 w 3161"/>
                <a:gd name="T41" fmla="*/ 5352 h 5650"/>
                <a:gd name="T42" fmla="*/ 187 w 3161"/>
                <a:gd name="T43" fmla="*/ 298 h 5650"/>
                <a:gd name="T44" fmla="*/ 297 w 3161"/>
                <a:gd name="T45" fmla="*/ 188 h 5650"/>
                <a:gd name="T46" fmla="*/ 671 w 3161"/>
                <a:gd name="T47" fmla="*/ 188 h 5650"/>
                <a:gd name="T48" fmla="*/ 955 w 3161"/>
                <a:gd name="T49" fmla="*/ 368 h 5650"/>
                <a:gd name="T50" fmla="*/ 2205 w 3161"/>
                <a:gd name="T51" fmla="*/ 368 h 5650"/>
                <a:gd name="T52" fmla="*/ 2490 w 3161"/>
                <a:gd name="T53" fmla="*/ 188 h 5650"/>
                <a:gd name="T54" fmla="*/ 2864 w 3161"/>
                <a:gd name="T55" fmla="*/ 188 h 5650"/>
                <a:gd name="T56" fmla="*/ 2974 w 3161"/>
                <a:gd name="T57" fmla="*/ 298 h 5650"/>
                <a:gd name="T58" fmla="*/ 2974 w 3161"/>
                <a:gd name="T59" fmla="*/ 1261 h 5650"/>
                <a:gd name="T60" fmla="*/ 3068 w 3161"/>
                <a:gd name="T61" fmla="*/ 1355 h 5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161" h="5650">
                  <a:moveTo>
                    <a:pt x="3068" y="1355"/>
                  </a:moveTo>
                  <a:cubicBezTo>
                    <a:pt x="3119" y="1355"/>
                    <a:pt x="3161" y="1313"/>
                    <a:pt x="3161" y="1261"/>
                  </a:cubicBezTo>
                  <a:lnTo>
                    <a:pt x="3161" y="298"/>
                  </a:lnTo>
                  <a:cubicBezTo>
                    <a:pt x="3161" y="134"/>
                    <a:pt x="3028" y="0"/>
                    <a:pt x="2864" y="0"/>
                  </a:cubicBezTo>
                  <a:lnTo>
                    <a:pt x="2423" y="0"/>
                  </a:lnTo>
                  <a:cubicBezTo>
                    <a:pt x="2378" y="0"/>
                    <a:pt x="2339" y="32"/>
                    <a:pt x="2331" y="76"/>
                  </a:cubicBezTo>
                  <a:lnTo>
                    <a:pt x="2330" y="77"/>
                  </a:lnTo>
                  <a:cubicBezTo>
                    <a:pt x="2318" y="137"/>
                    <a:pt x="2266" y="180"/>
                    <a:pt x="2205" y="180"/>
                  </a:cubicBezTo>
                  <a:lnTo>
                    <a:pt x="955" y="180"/>
                  </a:lnTo>
                  <a:cubicBezTo>
                    <a:pt x="895" y="180"/>
                    <a:pt x="842" y="137"/>
                    <a:pt x="831" y="78"/>
                  </a:cubicBezTo>
                  <a:lnTo>
                    <a:pt x="830" y="76"/>
                  </a:lnTo>
                  <a:cubicBezTo>
                    <a:pt x="821" y="32"/>
                    <a:pt x="783" y="0"/>
                    <a:pt x="738" y="0"/>
                  </a:cubicBezTo>
                  <a:lnTo>
                    <a:pt x="297" y="0"/>
                  </a:lnTo>
                  <a:cubicBezTo>
                    <a:pt x="133" y="0"/>
                    <a:pt x="0" y="134"/>
                    <a:pt x="0" y="298"/>
                  </a:cubicBezTo>
                  <a:lnTo>
                    <a:pt x="0" y="5352"/>
                  </a:lnTo>
                  <a:cubicBezTo>
                    <a:pt x="0" y="5516"/>
                    <a:pt x="133" y="5650"/>
                    <a:pt x="297" y="5650"/>
                  </a:cubicBezTo>
                  <a:lnTo>
                    <a:pt x="563" y="5650"/>
                  </a:lnTo>
                  <a:cubicBezTo>
                    <a:pt x="615" y="5650"/>
                    <a:pt x="657" y="5608"/>
                    <a:pt x="657" y="5556"/>
                  </a:cubicBezTo>
                  <a:cubicBezTo>
                    <a:pt x="657" y="5504"/>
                    <a:pt x="615" y="5462"/>
                    <a:pt x="563" y="5462"/>
                  </a:cubicBezTo>
                  <a:lnTo>
                    <a:pt x="297" y="5462"/>
                  </a:lnTo>
                  <a:cubicBezTo>
                    <a:pt x="236" y="5462"/>
                    <a:pt x="187" y="5413"/>
                    <a:pt x="187" y="5352"/>
                  </a:cubicBezTo>
                  <a:lnTo>
                    <a:pt x="187" y="298"/>
                  </a:lnTo>
                  <a:cubicBezTo>
                    <a:pt x="187" y="237"/>
                    <a:pt x="236" y="188"/>
                    <a:pt x="297" y="188"/>
                  </a:cubicBezTo>
                  <a:lnTo>
                    <a:pt x="671" y="188"/>
                  </a:lnTo>
                  <a:cubicBezTo>
                    <a:pt x="722" y="295"/>
                    <a:pt x="832" y="368"/>
                    <a:pt x="955" y="368"/>
                  </a:cubicBezTo>
                  <a:lnTo>
                    <a:pt x="2205" y="368"/>
                  </a:lnTo>
                  <a:cubicBezTo>
                    <a:pt x="2329" y="368"/>
                    <a:pt x="2439" y="295"/>
                    <a:pt x="2490" y="188"/>
                  </a:cubicBezTo>
                  <a:lnTo>
                    <a:pt x="2864" y="188"/>
                  </a:lnTo>
                  <a:cubicBezTo>
                    <a:pt x="2924" y="188"/>
                    <a:pt x="2974" y="237"/>
                    <a:pt x="2974" y="298"/>
                  </a:cubicBezTo>
                  <a:lnTo>
                    <a:pt x="2974" y="1261"/>
                  </a:lnTo>
                  <a:cubicBezTo>
                    <a:pt x="2974" y="1313"/>
                    <a:pt x="3016" y="1355"/>
                    <a:pt x="3068" y="135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91"/>
            <p:cNvSpPr>
              <a:spLocks/>
            </p:cNvSpPr>
            <p:nvPr/>
          </p:nvSpPr>
          <p:spPr bwMode="auto">
            <a:xfrm>
              <a:off x="1936" y="3285"/>
              <a:ext cx="121" cy="71"/>
            </a:xfrm>
            <a:custGeom>
              <a:avLst/>
              <a:gdLst>
                <a:gd name="T0" fmla="*/ 0 w 2292"/>
                <a:gd name="T1" fmla="*/ 1252 h 1346"/>
                <a:gd name="T2" fmla="*/ 94 w 2292"/>
                <a:gd name="T3" fmla="*/ 1346 h 1346"/>
                <a:gd name="T4" fmla="*/ 1995 w 2292"/>
                <a:gd name="T5" fmla="*/ 1346 h 1346"/>
                <a:gd name="T6" fmla="*/ 2292 w 2292"/>
                <a:gd name="T7" fmla="*/ 1048 h 1346"/>
                <a:gd name="T8" fmla="*/ 2292 w 2292"/>
                <a:gd name="T9" fmla="*/ 93 h 1346"/>
                <a:gd name="T10" fmla="*/ 2199 w 2292"/>
                <a:gd name="T11" fmla="*/ 0 h 1346"/>
                <a:gd name="T12" fmla="*/ 2105 w 2292"/>
                <a:gd name="T13" fmla="*/ 93 h 1346"/>
                <a:gd name="T14" fmla="*/ 2105 w 2292"/>
                <a:gd name="T15" fmla="*/ 1048 h 1346"/>
                <a:gd name="T16" fmla="*/ 1995 w 2292"/>
                <a:gd name="T17" fmla="*/ 1158 h 1346"/>
                <a:gd name="T18" fmla="*/ 94 w 2292"/>
                <a:gd name="T19" fmla="*/ 1158 h 1346"/>
                <a:gd name="T20" fmla="*/ 0 w 2292"/>
                <a:gd name="T21" fmla="*/ 1252 h 1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92" h="1346">
                  <a:moveTo>
                    <a:pt x="0" y="1252"/>
                  </a:moveTo>
                  <a:cubicBezTo>
                    <a:pt x="0" y="1304"/>
                    <a:pt x="42" y="1346"/>
                    <a:pt x="94" y="1346"/>
                  </a:cubicBezTo>
                  <a:lnTo>
                    <a:pt x="1995" y="1346"/>
                  </a:lnTo>
                  <a:cubicBezTo>
                    <a:pt x="2159" y="1346"/>
                    <a:pt x="2292" y="1212"/>
                    <a:pt x="2292" y="1048"/>
                  </a:cubicBezTo>
                  <a:lnTo>
                    <a:pt x="2292" y="93"/>
                  </a:lnTo>
                  <a:cubicBezTo>
                    <a:pt x="2292" y="42"/>
                    <a:pt x="2250" y="0"/>
                    <a:pt x="2199" y="0"/>
                  </a:cubicBezTo>
                  <a:cubicBezTo>
                    <a:pt x="2147" y="0"/>
                    <a:pt x="2105" y="42"/>
                    <a:pt x="2105" y="93"/>
                  </a:cubicBezTo>
                  <a:lnTo>
                    <a:pt x="2105" y="1048"/>
                  </a:lnTo>
                  <a:cubicBezTo>
                    <a:pt x="2105" y="1109"/>
                    <a:pt x="2055" y="1158"/>
                    <a:pt x="1995" y="1158"/>
                  </a:cubicBezTo>
                  <a:lnTo>
                    <a:pt x="94" y="1158"/>
                  </a:lnTo>
                  <a:cubicBezTo>
                    <a:pt x="42" y="1158"/>
                    <a:pt x="0" y="1200"/>
                    <a:pt x="0" y="12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92"/>
            <p:cNvSpPr>
              <a:spLocks noEditPoints="1"/>
            </p:cNvSpPr>
            <p:nvPr/>
          </p:nvSpPr>
          <p:spPr bwMode="auto">
            <a:xfrm>
              <a:off x="1965" y="3138"/>
              <a:ext cx="194" cy="137"/>
            </a:xfrm>
            <a:custGeom>
              <a:avLst/>
              <a:gdLst>
                <a:gd name="T0" fmla="*/ 3335 w 3670"/>
                <a:gd name="T1" fmla="*/ 0 h 2574"/>
                <a:gd name="T2" fmla="*/ 2782 w 3670"/>
                <a:gd name="T3" fmla="*/ 0 h 2574"/>
                <a:gd name="T4" fmla="*/ 2688 w 3670"/>
                <a:gd name="T5" fmla="*/ 94 h 2574"/>
                <a:gd name="T6" fmla="*/ 2782 w 3670"/>
                <a:gd name="T7" fmla="*/ 188 h 2574"/>
                <a:gd name="T8" fmla="*/ 3335 w 3670"/>
                <a:gd name="T9" fmla="*/ 188 h 2574"/>
                <a:gd name="T10" fmla="*/ 3474 w 3670"/>
                <a:gd name="T11" fmla="*/ 287 h 2574"/>
                <a:gd name="T12" fmla="*/ 1891 w 3670"/>
                <a:gd name="T13" fmla="*/ 1244 h 2574"/>
                <a:gd name="T14" fmla="*/ 1779 w 3670"/>
                <a:gd name="T15" fmla="*/ 1244 h 2574"/>
                <a:gd name="T16" fmla="*/ 196 w 3670"/>
                <a:gd name="T17" fmla="*/ 287 h 2574"/>
                <a:gd name="T18" fmla="*/ 334 w 3670"/>
                <a:gd name="T19" fmla="*/ 188 h 2574"/>
                <a:gd name="T20" fmla="*/ 2382 w 3670"/>
                <a:gd name="T21" fmla="*/ 188 h 2574"/>
                <a:gd name="T22" fmla="*/ 2476 w 3670"/>
                <a:gd name="T23" fmla="*/ 94 h 2574"/>
                <a:gd name="T24" fmla="*/ 2382 w 3670"/>
                <a:gd name="T25" fmla="*/ 0 h 2574"/>
                <a:gd name="T26" fmla="*/ 334 w 3670"/>
                <a:gd name="T27" fmla="*/ 0 h 2574"/>
                <a:gd name="T28" fmla="*/ 0 w 3670"/>
                <a:gd name="T29" fmla="*/ 335 h 2574"/>
                <a:gd name="T30" fmla="*/ 0 w 3670"/>
                <a:gd name="T31" fmla="*/ 2240 h 2574"/>
                <a:gd name="T32" fmla="*/ 334 w 3670"/>
                <a:gd name="T33" fmla="*/ 2574 h 2574"/>
                <a:gd name="T34" fmla="*/ 3335 w 3670"/>
                <a:gd name="T35" fmla="*/ 2574 h 2574"/>
                <a:gd name="T36" fmla="*/ 3670 w 3670"/>
                <a:gd name="T37" fmla="*/ 2240 h 2574"/>
                <a:gd name="T38" fmla="*/ 3670 w 3670"/>
                <a:gd name="T39" fmla="*/ 335 h 2574"/>
                <a:gd name="T40" fmla="*/ 3335 w 3670"/>
                <a:gd name="T41" fmla="*/ 0 h 2574"/>
                <a:gd name="T42" fmla="*/ 2318 w 3670"/>
                <a:gd name="T43" fmla="*/ 1205 h 2574"/>
                <a:gd name="T44" fmla="*/ 3482 w 3670"/>
                <a:gd name="T45" fmla="*/ 501 h 2574"/>
                <a:gd name="T46" fmla="*/ 3482 w 3670"/>
                <a:gd name="T47" fmla="*/ 2055 h 2574"/>
                <a:gd name="T48" fmla="*/ 2318 w 3670"/>
                <a:gd name="T49" fmla="*/ 1205 h 2574"/>
                <a:gd name="T50" fmla="*/ 1351 w 3670"/>
                <a:gd name="T51" fmla="*/ 1205 h 2574"/>
                <a:gd name="T52" fmla="*/ 187 w 3670"/>
                <a:gd name="T53" fmla="*/ 2055 h 2574"/>
                <a:gd name="T54" fmla="*/ 187 w 3670"/>
                <a:gd name="T55" fmla="*/ 501 h 2574"/>
                <a:gd name="T56" fmla="*/ 1351 w 3670"/>
                <a:gd name="T57" fmla="*/ 1205 h 2574"/>
                <a:gd name="T58" fmla="*/ 3335 w 3670"/>
                <a:gd name="T59" fmla="*/ 2386 h 2574"/>
                <a:gd name="T60" fmla="*/ 334 w 3670"/>
                <a:gd name="T61" fmla="*/ 2386 h 2574"/>
                <a:gd name="T62" fmla="*/ 194 w 3670"/>
                <a:gd name="T63" fmla="*/ 2282 h 2574"/>
                <a:gd name="T64" fmla="*/ 1525 w 3670"/>
                <a:gd name="T65" fmla="*/ 1310 h 2574"/>
                <a:gd name="T66" fmla="*/ 1682 w 3670"/>
                <a:gd name="T67" fmla="*/ 1405 h 2574"/>
                <a:gd name="T68" fmla="*/ 1835 w 3670"/>
                <a:gd name="T69" fmla="*/ 1448 h 2574"/>
                <a:gd name="T70" fmla="*/ 1988 w 3670"/>
                <a:gd name="T71" fmla="*/ 1405 h 2574"/>
                <a:gd name="T72" fmla="*/ 2144 w 3670"/>
                <a:gd name="T73" fmla="*/ 1310 h 2574"/>
                <a:gd name="T74" fmla="*/ 3475 w 3670"/>
                <a:gd name="T75" fmla="*/ 2283 h 2574"/>
                <a:gd name="T76" fmla="*/ 3335 w 3670"/>
                <a:gd name="T77" fmla="*/ 2386 h 2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70" h="2574">
                  <a:moveTo>
                    <a:pt x="3335" y="0"/>
                  </a:moveTo>
                  <a:lnTo>
                    <a:pt x="2782" y="0"/>
                  </a:lnTo>
                  <a:cubicBezTo>
                    <a:pt x="2730" y="0"/>
                    <a:pt x="2688" y="42"/>
                    <a:pt x="2688" y="94"/>
                  </a:cubicBezTo>
                  <a:cubicBezTo>
                    <a:pt x="2688" y="146"/>
                    <a:pt x="2730" y="188"/>
                    <a:pt x="2782" y="188"/>
                  </a:cubicBezTo>
                  <a:lnTo>
                    <a:pt x="3335" y="188"/>
                  </a:lnTo>
                  <a:cubicBezTo>
                    <a:pt x="3399" y="188"/>
                    <a:pt x="3454" y="229"/>
                    <a:pt x="3474" y="287"/>
                  </a:cubicBezTo>
                  <a:lnTo>
                    <a:pt x="1891" y="1244"/>
                  </a:lnTo>
                  <a:cubicBezTo>
                    <a:pt x="1856" y="1265"/>
                    <a:pt x="1813" y="1265"/>
                    <a:pt x="1779" y="1244"/>
                  </a:cubicBezTo>
                  <a:lnTo>
                    <a:pt x="196" y="287"/>
                  </a:lnTo>
                  <a:cubicBezTo>
                    <a:pt x="216" y="229"/>
                    <a:pt x="270" y="188"/>
                    <a:pt x="334" y="188"/>
                  </a:cubicBezTo>
                  <a:lnTo>
                    <a:pt x="2382" y="188"/>
                  </a:lnTo>
                  <a:cubicBezTo>
                    <a:pt x="2434" y="188"/>
                    <a:pt x="2476" y="146"/>
                    <a:pt x="2476" y="94"/>
                  </a:cubicBezTo>
                  <a:cubicBezTo>
                    <a:pt x="2476" y="42"/>
                    <a:pt x="2434" y="0"/>
                    <a:pt x="2382" y="0"/>
                  </a:cubicBezTo>
                  <a:lnTo>
                    <a:pt x="334" y="0"/>
                  </a:lnTo>
                  <a:cubicBezTo>
                    <a:pt x="150" y="0"/>
                    <a:pt x="0" y="150"/>
                    <a:pt x="0" y="335"/>
                  </a:cubicBezTo>
                  <a:lnTo>
                    <a:pt x="0" y="2240"/>
                  </a:lnTo>
                  <a:cubicBezTo>
                    <a:pt x="0" y="2424"/>
                    <a:pt x="150" y="2574"/>
                    <a:pt x="334" y="2574"/>
                  </a:cubicBezTo>
                  <a:lnTo>
                    <a:pt x="3335" y="2574"/>
                  </a:lnTo>
                  <a:cubicBezTo>
                    <a:pt x="3520" y="2574"/>
                    <a:pt x="3670" y="2424"/>
                    <a:pt x="3670" y="2240"/>
                  </a:cubicBezTo>
                  <a:lnTo>
                    <a:pt x="3670" y="335"/>
                  </a:lnTo>
                  <a:cubicBezTo>
                    <a:pt x="3670" y="150"/>
                    <a:pt x="3520" y="0"/>
                    <a:pt x="3335" y="0"/>
                  </a:cubicBezTo>
                  <a:close/>
                  <a:moveTo>
                    <a:pt x="2318" y="1205"/>
                  </a:moveTo>
                  <a:lnTo>
                    <a:pt x="3482" y="501"/>
                  </a:lnTo>
                  <a:lnTo>
                    <a:pt x="3482" y="2055"/>
                  </a:lnTo>
                  <a:lnTo>
                    <a:pt x="2318" y="1205"/>
                  </a:lnTo>
                  <a:close/>
                  <a:moveTo>
                    <a:pt x="1351" y="1205"/>
                  </a:moveTo>
                  <a:lnTo>
                    <a:pt x="187" y="2055"/>
                  </a:lnTo>
                  <a:lnTo>
                    <a:pt x="187" y="501"/>
                  </a:lnTo>
                  <a:lnTo>
                    <a:pt x="1351" y="1205"/>
                  </a:lnTo>
                  <a:close/>
                  <a:moveTo>
                    <a:pt x="3335" y="2386"/>
                  </a:moveTo>
                  <a:lnTo>
                    <a:pt x="334" y="2386"/>
                  </a:lnTo>
                  <a:cubicBezTo>
                    <a:pt x="268" y="2386"/>
                    <a:pt x="212" y="2343"/>
                    <a:pt x="194" y="2282"/>
                  </a:cubicBezTo>
                  <a:lnTo>
                    <a:pt x="1525" y="1310"/>
                  </a:lnTo>
                  <a:lnTo>
                    <a:pt x="1682" y="1405"/>
                  </a:lnTo>
                  <a:cubicBezTo>
                    <a:pt x="1729" y="1434"/>
                    <a:pt x="1782" y="1448"/>
                    <a:pt x="1835" y="1448"/>
                  </a:cubicBezTo>
                  <a:cubicBezTo>
                    <a:pt x="1888" y="1448"/>
                    <a:pt x="1941" y="1434"/>
                    <a:pt x="1988" y="1405"/>
                  </a:cubicBezTo>
                  <a:lnTo>
                    <a:pt x="2144" y="1310"/>
                  </a:lnTo>
                  <a:lnTo>
                    <a:pt x="3475" y="2283"/>
                  </a:lnTo>
                  <a:cubicBezTo>
                    <a:pt x="3457" y="2343"/>
                    <a:pt x="3401" y="2386"/>
                    <a:pt x="3335" y="238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2" name="Group 95"/>
          <p:cNvGrpSpPr>
            <a:grpSpLocks noChangeAspect="1"/>
          </p:cNvGrpSpPr>
          <p:nvPr/>
        </p:nvGrpSpPr>
        <p:grpSpPr bwMode="auto">
          <a:xfrm>
            <a:off x="7375633" y="1284289"/>
            <a:ext cx="538412" cy="540000"/>
            <a:chOff x="4661" y="809"/>
            <a:chExt cx="339" cy="340"/>
          </a:xfrm>
          <a:gradFill>
            <a:gsLst>
              <a:gs pos="0">
                <a:srgbClr val="FEC232"/>
              </a:gs>
              <a:gs pos="100000">
                <a:srgbClr val="DF6F51"/>
              </a:gs>
            </a:gsLst>
            <a:lin ang="2700000" scaled="1"/>
          </a:gradFill>
        </p:grpSpPr>
        <p:sp>
          <p:nvSpPr>
            <p:cNvPr id="254" name="Freeform 96"/>
            <p:cNvSpPr>
              <a:spLocks noEditPoints="1"/>
            </p:cNvSpPr>
            <p:nvPr/>
          </p:nvSpPr>
          <p:spPr bwMode="auto">
            <a:xfrm>
              <a:off x="4731" y="960"/>
              <a:ext cx="199" cy="37"/>
            </a:xfrm>
            <a:custGeom>
              <a:avLst/>
              <a:gdLst>
                <a:gd name="T0" fmla="*/ 4759 w 5009"/>
                <a:gd name="T1" fmla="*/ 808 h 933"/>
                <a:gd name="T2" fmla="*/ 4884 w 5009"/>
                <a:gd name="T3" fmla="*/ 933 h 933"/>
                <a:gd name="T4" fmla="*/ 5009 w 5009"/>
                <a:gd name="T5" fmla="*/ 808 h 933"/>
                <a:gd name="T6" fmla="*/ 4551 w 5009"/>
                <a:gd name="T7" fmla="*/ 350 h 933"/>
                <a:gd name="T8" fmla="*/ 2630 w 5009"/>
                <a:gd name="T9" fmla="*/ 350 h 933"/>
                <a:gd name="T10" fmla="*/ 2630 w 5009"/>
                <a:gd name="T11" fmla="*/ 125 h 933"/>
                <a:gd name="T12" fmla="*/ 2505 w 5009"/>
                <a:gd name="T13" fmla="*/ 0 h 933"/>
                <a:gd name="T14" fmla="*/ 2380 w 5009"/>
                <a:gd name="T15" fmla="*/ 125 h 933"/>
                <a:gd name="T16" fmla="*/ 2380 w 5009"/>
                <a:gd name="T17" fmla="*/ 350 h 933"/>
                <a:gd name="T18" fmla="*/ 459 w 5009"/>
                <a:gd name="T19" fmla="*/ 350 h 933"/>
                <a:gd name="T20" fmla="*/ 0 w 5009"/>
                <a:gd name="T21" fmla="*/ 808 h 933"/>
                <a:gd name="T22" fmla="*/ 125 w 5009"/>
                <a:gd name="T23" fmla="*/ 933 h 933"/>
                <a:gd name="T24" fmla="*/ 250 w 5009"/>
                <a:gd name="T25" fmla="*/ 808 h 933"/>
                <a:gd name="T26" fmla="*/ 459 w 5009"/>
                <a:gd name="T27" fmla="*/ 600 h 933"/>
                <a:gd name="T28" fmla="*/ 4551 w 5009"/>
                <a:gd name="T29" fmla="*/ 600 h 933"/>
                <a:gd name="T30" fmla="*/ 4759 w 5009"/>
                <a:gd name="T31" fmla="*/ 808 h 933"/>
                <a:gd name="T32" fmla="*/ 4759 w 5009"/>
                <a:gd name="T33" fmla="*/ 808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09" h="933">
                  <a:moveTo>
                    <a:pt x="4759" y="808"/>
                  </a:moveTo>
                  <a:cubicBezTo>
                    <a:pt x="4759" y="877"/>
                    <a:pt x="4815" y="933"/>
                    <a:pt x="4884" y="933"/>
                  </a:cubicBezTo>
                  <a:cubicBezTo>
                    <a:pt x="4953" y="933"/>
                    <a:pt x="5009" y="877"/>
                    <a:pt x="5009" y="808"/>
                  </a:cubicBezTo>
                  <a:cubicBezTo>
                    <a:pt x="5009" y="556"/>
                    <a:pt x="4803" y="350"/>
                    <a:pt x="4551" y="350"/>
                  </a:cubicBezTo>
                  <a:lnTo>
                    <a:pt x="2630" y="350"/>
                  </a:lnTo>
                  <a:lnTo>
                    <a:pt x="2630" y="125"/>
                  </a:lnTo>
                  <a:cubicBezTo>
                    <a:pt x="2630" y="56"/>
                    <a:pt x="2574" y="0"/>
                    <a:pt x="2505" y="0"/>
                  </a:cubicBezTo>
                  <a:cubicBezTo>
                    <a:pt x="2436" y="0"/>
                    <a:pt x="2380" y="56"/>
                    <a:pt x="2380" y="125"/>
                  </a:cubicBezTo>
                  <a:lnTo>
                    <a:pt x="2380" y="350"/>
                  </a:lnTo>
                  <a:lnTo>
                    <a:pt x="459" y="350"/>
                  </a:lnTo>
                  <a:cubicBezTo>
                    <a:pt x="206" y="350"/>
                    <a:pt x="0" y="556"/>
                    <a:pt x="0" y="808"/>
                  </a:cubicBezTo>
                  <a:cubicBezTo>
                    <a:pt x="0" y="877"/>
                    <a:pt x="56" y="933"/>
                    <a:pt x="125" y="933"/>
                  </a:cubicBezTo>
                  <a:cubicBezTo>
                    <a:pt x="194" y="933"/>
                    <a:pt x="250" y="877"/>
                    <a:pt x="250" y="808"/>
                  </a:cubicBezTo>
                  <a:cubicBezTo>
                    <a:pt x="250" y="694"/>
                    <a:pt x="344" y="600"/>
                    <a:pt x="459" y="600"/>
                  </a:cubicBezTo>
                  <a:lnTo>
                    <a:pt x="4551" y="600"/>
                  </a:lnTo>
                  <a:cubicBezTo>
                    <a:pt x="4666" y="600"/>
                    <a:pt x="4759" y="694"/>
                    <a:pt x="4759" y="808"/>
                  </a:cubicBezTo>
                  <a:close/>
                  <a:moveTo>
                    <a:pt x="4759" y="80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97"/>
            <p:cNvSpPr>
              <a:spLocks noEditPoints="1"/>
            </p:cNvSpPr>
            <p:nvPr/>
          </p:nvSpPr>
          <p:spPr bwMode="auto">
            <a:xfrm>
              <a:off x="4848" y="1010"/>
              <a:ext cx="152" cy="139"/>
            </a:xfrm>
            <a:custGeom>
              <a:avLst/>
              <a:gdLst>
                <a:gd name="T0" fmla="*/ 3447 w 3824"/>
                <a:gd name="T1" fmla="*/ 0 h 3486"/>
                <a:gd name="T2" fmla="*/ 377 w 3824"/>
                <a:gd name="T3" fmla="*/ 0 h 3486"/>
                <a:gd name="T4" fmla="*/ 0 w 3824"/>
                <a:gd name="T5" fmla="*/ 378 h 3486"/>
                <a:gd name="T6" fmla="*/ 0 w 3824"/>
                <a:gd name="T7" fmla="*/ 2489 h 3486"/>
                <a:gd name="T8" fmla="*/ 377 w 3824"/>
                <a:gd name="T9" fmla="*/ 2866 h 3486"/>
                <a:gd name="T10" fmla="*/ 1209 w 3824"/>
                <a:gd name="T11" fmla="*/ 2866 h 3486"/>
                <a:gd name="T12" fmla="*/ 1146 w 3824"/>
                <a:gd name="T13" fmla="*/ 3236 h 3486"/>
                <a:gd name="T14" fmla="*/ 1117 w 3824"/>
                <a:gd name="T15" fmla="*/ 3236 h 3486"/>
                <a:gd name="T16" fmla="*/ 992 w 3824"/>
                <a:gd name="T17" fmla="*/ 3361 h 3486"/>
                <a:gd name="T18" fmla="*/ 1117 w 3824"/>
                <a:gd name="T19" fmla="*/ 3486 h 3486"/>
                <a:gd name="T20" fmla="*/ 2708 w 3824"/>
                <a:gd name="T21" fmla="*/ 3486 h 3486"/>
                <a:gd name="T22" fmla="*/ 2833 w 3824"/>
                <a:gd name="T23" fmla="*/ 3361 h 3486"/>
                <a:gd name="T24" fmla="*/ 2708 w 3824"/>
                <a:gd name="T25" fmla="*/ 3236 h 3486"/>
                <a:gd name="T26" fmla="*/ 2678 w 3824"/>
                <a:gd name="T27" fmla="*/ 3236 h 3486"/>
                <a:gd name="T28" fmla="*/ 2616 w 3824"/>
                <a:gd name="T29" fmla="*/ 2866 h 3486"/>
                <a:gd name="T30" fmla="*/ 3447 w 3824"/>
                <a:gd name="T31" fmla="*/ 2866 h 3486"/>
                <a:gd name="T32" fmla="*/ 3824 w 3824"/>
                <a:gd name="T33" fmla="*/ 2489 h 3486"/>
                <a:gd name="T34" fmla="*/ 3824 w 3824"/>
                <a:gd name="T35" fmla="*/ 378 h 3486"/>
                <a:gd name="T36" fmla="*/ 3447 w 3824"/>
                <a:gd name="T37" fmla="*/ 0 h 3486"/>
                <a:gd name="T38" fmla="*/ 377 w 3824"/>
                <a:gd name="T39" fmla="*/ 250 h 3486"/>
                <a:gd name="T40" fmla="*/ 3447 w 3824"/>
                <a:gd name="T41" fmla="*/ 250 h 3486"/>
                <a:gd name="T42" fmla="*/ 3574 w 3824"/>
                <a:gd name="T43" fmla="*/ 378 h 3486"/>
                <a:gd name="T44" fmla="*/ 3574 w 3824"/>
                <a:gd name="T45" fmla="*/ 2007 h 3486"/>
                <a:gd name="T46" fmla="*/ 2902 w 3824"/>
                <a:gd name="T47" fmla="*/ 2007 h 3486"/>
                <a:gd name="T48" fmla="*/ 2902 w 3824"/>
                <a:gd name="T49" fmla="*/ 1991 h 3486"/>
                <a:gd name="T50" fmla="*/ 2899 w 3824"/>
                <a:gd name="T51" fmla="*/ 1962 h 3486"/>
                <a:gd name="T52" fmla="*/ 2749 w 3824"/>
                <a:gd name="T53" fmla="*/ 1714 h 3486"/>
                <a:gd name="T54" fmla="*/ 2367 w 3824"/>
                <a:gd name="T55" fmla="*/ 1570 h 3486"/>
                <a:gd name="T56" fmla="*/ 1458 w 3824"/>
                <a:gd name="T57" fmla="*/ 1570 h 3486"/>
                <a:gd name="T58" fmla="*/ 1076 w 3824"/>
                <a:gd name="T59" fmla="*/ 1714 h 3486"/>
                <a:gd name="T60" fmla="*/ 926 w 3824"/>
                <a:gd name="T61" fmla="*/ 1965 h 3486"/>
                <a:gd name="T62" fmla="*/ 922 w 3824"/>
                <a:gd name="T63" fmla="*/ 1993 h 3486"/>
                <a:gd name="T64" fmla="*/ 922 w 3824"/>
                <a:gd name="T65" fmla="*/ 2008 h 3486"/>
                <a:gd name="T66" fmla="*/ 250 w 3824"/>
                <a:gd name="T67" fmla="*/ 2008 h 3486"/>
                <a:gd name="T68" fmla="*/ 250 w 3824"/>
                <a:gd name="T69" fmla="*/ 378 h 3486"/>
                <a:gd name="T70" fmla="*/ 377 w 3824"/>
                <a:gd name="T71" fmla="*/ 250 h 3486"/>
                <a:gd name="T72" fmla="*/ 1173 w 3824"/>
                <a:gd name="T73" fmla="*/ 2008 h 3486"/>
                <a:gd name="T74" fmla="*/ 1245 w 3824"/>
                <a:gd name="T75" fmla="*/ 1898 h 3486"/>
                <a:gd name="T76" fmla="*/ 1458 w 3824"/>
                <a:gd name="T77" fmla="*/ 1820 h 3486"/>
                <a:gd name="T78" fmla="*/ 2367 w 3824"/>
                <a:gd name="T79" fmla="*/ 1820 h 3486"/>
                <a:gd name="T80" fmla="*/ 2580 w 3824"/>
                <a:gd name="T81" fmla="*/ 1898 h 3486"/>
                <a:gd name="T82" fmla="*/ 2652 w 3824"/>
                <a:gd name="T83" fmla="*/ 2007 h 3486"/>
                <a:gd name="T84" fmla="*/ 2652 w 3824"/>
                <a:gd name="T85" fmla="*/ 2008 h 3486"/>
                <a:gd name="T86" fmla="*/ 1173 w 3824"/>
                <a:gd name="T87" fmla="*/ 2008 h 3486"/>
                <a:gd name="T88" fmla="*/ 2425 w 3824"/>
                <a:gd name="T89" fmla="*/ 3236 h 3486"/>
                <a:gd name="T90" fmla="*/ 1400 w 3824"/>
                <a:gd name="T91" fmla="*/ 3236 h 3486"/>
                <a:gd name="T92" fmla="*/ 1462 w 3824"/>
                <a:gd name="T93" fmla="*/ 2866 h 3486"/>
                <a:gd name="T94" fmla="*/ 2362 w 3824"/>
                <a:gd name="T95" fmla="*/ 2866 h 3486"/>
                <a:gd name="T96" fmla="*/ 2425 w 3824"/>
                <a:gd name="T97" fmla="*/ 3236 h 3486"/>
                <a:gd name="T98" fmla="*/ 3574 w 3824"/>
                <a:gd name="T99" fmla="*/ 2489 h 3486"/>
                <a:gd name="T100" fmla="*/ 3447 w 3824"/>
                <a:gd name="T101" fmla="*/ 2616 h 3486"/>
                <a:gd name="T102" fmla="*/ 377 w 3824"/>
                <a:gd name="T103" fmla="*/ 2616 h 3486"/>
                <a:gd name="T104" fmla="*/ 250 w 3824"/>
                <a:gd name="T105" fmla="*/ 2489 h 3486"/>
                <a:gd name="T106" fmla="*/ 250 w 3824"/>
                <a:gd name="T107" fmla="*/ 2258 h 3486"/>
                <a:gd name="T108" fmla="*/ 3574 w 3824"/>
                <a:gd name="T109" fmla="*/ 2258 h 3486"/>
                <a:gd name="T110" fmla="*/ 3574 w 3824"/>
                <a:gd name="T111" fmla="*/ 2489 h 3486"/>
                <a:gd name="T112" fmla="*/ 3574 w 3824"/>
                <a:gd name="T113" fmla="*/ 2489 h 3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24" h="3486">
                  <a:moveTo>
                    <a:pt x="3447" y="0"/>
                  </a:moveTo>
                  <a:lnTo>
                    <a:pt x="377" y="0"/>
                  </a:lnTo>
                  <a:cubicBezTo>
                    <a:pt x="169" y="0"/>
                    <a:pt x="0" y="170"/>
                    <a:pt x="0" y="378"/>
                  </a:cubicBezTo>
                  <a:lnTo>
                    <a:pt x="0" y="2489"/>
                  </a:lnTo>
                  <a:cubicBezTo>
                    <a:pt x="0" y="2697"/>
                    <a:pt x="169" y="2866"/>
                    <a:pt x="377" y="2866"/>
                  </a:cubicBezTo>
                  <a:lnTo>
                    <a:pt x="1209" y="2866"/>
                  </a:lnTo>
                  <a:lnTo>
                    <a:pt x="1146" y="3236"/>
                  </a:lnTo>
                  <a:lnTo>
                    <a:pt x="1117" y="3236"/>
                  </a:lnTo>
                  <a:cubicBezTo>
                    <a:pt x="1047" y="3236"/>
                    <a:pt x="992" y="3292"/>
                    <a:pt x="992" y="3361"/>
                  </a:cubicBezTo>
                  <a:cubicBezTo>
                    <a:pt x="992" y="3430"/>
                    <a:pt x="1047" y="3486"/>
                    <a:pt x="1117" y="3486"/>
                  </a:cubicBezTo>
                  <a:lnTo>
                    <a:pt x="2708" y="3486"/>
                  </a:lnTo>
                  <a:cubicBezTo>
                    <a:pt x="2777" y="3486"/>
                    <a:pt x="2833" y="3430"/>
                    <a:pt x="2833" y="3361"/>
                  </a:cubicBezTo>
                  <a:cubicBezTo>
                    <a:pt x="2833" y="3292"/>
                    <a:pt x="2777" y="3236"/>
                    <a:pt x="2708" y="3236"/>
                  </a:cubicBezTo>
                  <a:lnTo>
                    <a:pt x="2678" y="3236"/>
                  </a:lnTo>
                  <a:lnTo>
                    <a:pt x="2616" y="2866"/>
                  </a:lnTo>
                  <a:lnTo>
                    <a:pt x="3447" y="2866"/>
                  </a:lnTo>
                  <a:cubicBezTo>
                    <a:pt x="3655" y="2866"/>
                    <a:pt x="3824" y="2697"/>
                    <a:pt x="3824" y="2489"/>
                  </a:cubicBezTo>
                  <a:lnTo>
                    <a:pt x="3824" y="378"/>
                  </a:lnTo>
                  <a:cubicBezTo>
                    <a:pt x="3824" y="170"/>
                    <a:pt x="3655" y="0"/>
                    <a:pt x="3447" y="0"/>
                  </a:cubicBezTo>
                  <a:close/>
                  <a:moveTo>
                    <a:pt x="377" y="250"/>
                  </a:moveTo>
                  <a:lnTo>
                    <a:pt x="3447" y="250"/>
                  </a:lnTo>
                  <a:cubicBezTo>
                    <a:pt x="3517" y="250"/>
                    <a:pt x="3574" y="307"/>
                    <a:pt x="3574" y="378"/>
                  </a:cubicBezTo>
                  <a:lnTo>
                    <a:pt x="3574" y="2007"/>
                  </a:lnTo>
                  <a:lnTo>
                    <a:pt x="2902" y="2007"/>
                  </a:lnTo>
                  <a:lnTo>
                    <a:pt x="2902" y="1991"/>
                  </a:lnTo>
                  <a:cubicBezTo>
                    <a:pt x="2902" y="1981"/>
                    <a:pt x="2901" y="1971"/>
                    <a:pt x="2899" y="1962"/>
                  </a:cubicBezTo>
                  <a:cubicBezTo>
                    <a:pt x="2877" y="1869"/>
                    <a:pt x="2825" y="1784"/>
                    <a:pt x="2749" y="1714"/>
                  </a:cubicBezTo>
                  <a:cubicBezTo>
                    <a:pt x="2648" y="1621"/>
                    <a:pt x="2512" y="1570"/>
                    <a:pt x="2367" y="1570"/>
                  </a:cubicBezTo>
                  <a:lnTo>
                    <a:pt x="1458" y="1570"/>
                  </a:lnTo>
                  <a:cubicBezTo>
                    <a:pt x="1313" y="1570"/>
                    <a:pt x="1177" y="1621"/>
                    <a:pt x="1076" y="1714"/>
                  </a:cubicBezTo>
                  <a:cubicBezTo>
                    <a:pt x="999" y="1784"/>
                    <a:pt x="947" y="1871"/>
                    <a:pt x="926" y="1965"/>
                  </a:cubicBezTo>
                  <a:cubicBezTo>
                    <a:pt x="923" y="1974"/>
                    <a:pt x="922" y="1984"/>
                    <a:pt x="922" y="1993"/>
                  </a:cubicBezTo>
                  <a:lnTo>
                    <a:pt x="922" y="2008"/>
                  </a:lnTo>
                  <a:lnTo>
                    <a:pt x="250" y="2008"/>
                  </a:lnTo>
                  <a:lnTo>
                    <a:pt x="250" y="378"/>
                  </a:lnTo>
                  <a:cubicBezTo>
                    <a:pt x="250" y="307"/>
                    <a:pt x="307" y="250"/>
                    <a:pt x="377" y="250"/>
                  </a:cubicBezTo>
                  <a:close/>
                  <a:moveTo>
                    <a:pt x="1173" y="2008"/>
                  </a:moveTo>
                  <a:cubicBezTo>
                    <a:pt x="1185" y="1968"/>
                    <a:pt x="1210" y="1930"/>
                    <a:pt x="1245" y="1898"/>
                  </a:cubicBezTo>
                  <a:cubicBezTo>
                    <a:pt x="1300" y="1848"/>
                    <a:pt x="1376" y="1820"/>
                    <a:pt x="1458" y="1820"/>
                  </a:cubicBezTo>
                  <a:lnTo>
                    <a:pt x="2367" y="1820"/>
                  </a:lnTo>
                  <a:cubicBezTo>
                    <a:pt x="2449" y="1820"/>
                    <a:pt x="2525" y="1848"/>
                    <a:pt x="2580" y="1898"/>
                  </a:cubicBezTo>
                  <a:cubicBezTo>
                    <a:pt x="2615" y="1930"/>
                    <a:pt x="2640" y="1968"/>
                    <a:pt x="2652" y="2007"/>
                  </a:cubicBezTo>
                  <a:lnTo>
                    <a:pt x="2652" y="2008"/>
                  </a:lnTo>
                  <a:lnTo>
                    <a:pt x="1173" y="2008"/>
                  </a:lnTo>
                  <a:close/>
                  <a:moveTo>
                    <a:pt x="2425" y="3236"/>
                  </a:moveTo>
                  <a:lnTo>
                    <a:pt x="1400" y="3236"/>
                  </a:lnTo>
                  <a:lnTo>
                    <a:pt x="1462" y="2866"/>
                  </a:lnTo>
                  <a:lnTo>
                    <a:pt x="2362" y="2866"/>
                  </a:lnTo>
                  <a:lnTo>
                    <a:pt x="2425" y="3236"/>
                  </a:lnTo>
                  <a:close/>
                  <a:moveTo>
                    <a:pt x="3574" y="2489"/>
                  </a:moveTo>
                  <a:cubicBezTo>
                    <a:pt x="3574" y="2559"/>
                    <a:pt x="3517" y="2616"/>
                    <a:pt x="3447" y="2616"/>
                  </a:cubicBezTo>
                  <a:lnTo>
                    <a:pt x="377" y="2616"/>
                  </a:lnTo>
                  <a:cubicBezTo>
                    <a:pt x="307" y="2616"/>
                    <a:pt x="250" y="2559"/>
                    <a:pt x="250" y="2489"/>
                  </a:cubicBezTo>
                  <a:lnTo>
                    <a:pt x="250" y="2258"/>
                  </a:lnTo>
                  <a:lnTo>
                    <a:pt x="3574" y="2258"/>
                  </a:lnTo>
                  <a:lnTo>
                    <a:pt x="3574" y="2489"/>
                  </a:lnTo>
                  <a:close/>
                  <a:moveTo>
                    <a:pt x="3574" y="248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98"/>
            <p:cNvSpPr>
              <a:spLocks noEditPoints="1"/>
            </p:cNvSpPr>
            <p:nvPr/>
          </p:nvSpPr>
          <p:spPr bwMode="auto">
            <a:xfrm>
              <a:off x="4907" y="1031"/>
              <a:ext cx="34" cy="38"/>
            </a:xfrm>
            <a:custGeom>
              <a:avLst/>
              <a:gdLst>
                <a:gd name="T0" fmla="*/ 136 w 847"/>
                <a:gd name="T1" fmla="*/ 831 h 957"/>
                <a:gd name="T2" fmla="*/ 275 w 847"/>
                <a:gd name="T3" fmla="*/ 916 h 957"/>
                <a:gd name="T4" fmla="*/ 423 w 847"/>
                <a:gd name="T5" fmla="*/ 957 h 957"/>
                <a:gd name="T6" fmla="*/ 572 w 847"/>
                <a:gd name="T7" fmla="*/ 916 h 957"/>
                <a:gd name="T8" fmla="*/ 711 w 847"/>
                <a:gd name="T9" fmla="*/ 831 h 957"/>
                <a:gd name="T10" fmla="*/ 847 w 847"/>
                <a:gd name="T11" fmla="*/ 587 h 957"/>
                <a:gd name="T12" fmla="*/ 847 w 847"/>
                <a:gd name="T13" fmla="*/ 310 h 957"/>
                <a:gd name="T14" fmla="*/ 538 w 847"/>
                <a:gd name="T15" fmla="*/ 0 h 957"/>
                <a:gd name="T16" fmla="*/ 309 w 847"/>
                <a:gd name="T17" fmla="*/ 0 h 957"/>
                <a:gd name="T18" fmla="*/ 0 w 847"/>
                <a:gd name="T19" fmla="*/ 310 h 957"/>
                <a:gd name="T20" fmla="*/ 0 w 847"/>
                <a:gd name="T21" fmla="*/ 587 h 957"/>
                <a:gd name="T22" fmla="*/ 136 w 847"/>
                <a:gd name="T23" fmla="*/ 831 h 957"/>
                <a:gd name="T24" fmla="*/ 250 w 847"/>
                <a:gd name="T25" fmla="*/ 310 h 957"/>
                <a:gd name="T26" fmla="*/ 309 w 847"/>
                <a:gd name="T27" fmla="*/ 250 h 957"/>
                <a:gd name="T28" fmla="*/ 538 w 847"/>
                <a:gd name="T29" fmla="*/ 250 h 957"/>
                <a:gd name="T30" fmla="*/ 597 w 847"/>
                <a:gd name="T31" fmla="*/ 310 h 957"/>
                <a:gd name="T32" fmla="*/ 597 w 847"/>
                <a:gd name="T33" fmla="*/ 587 h 957"/>
                <a:gd name="T34" fmla="*/ 580 w 847"/>
                <a:gd name="T35" fmla="*/ 618 h 957"/>
                <a:gd name="T36" fmla="*/ 442 w 847"/>
                <a:gd name="T37" fmla="*/ 702 h 957"/>
                <a:gd name="T38" fmla="*/ 405 w 847"/>
                <a:gd name="T39" fmla="*/ 702 h 957"/>
                <a:gd name="T40" fmla="*/ 267 w 847"/>
                <a:gd name="T41" fmla="*/ 618 h 957"/>
                <a:gd name="T42" fmla="*/ 250 w 847"/>
                <a:gd name="T43" fmla="*/ 587 h 957"/>
                <a:gd name="T44" fmla="*/ 250 w 847"/>
                <a:gd name="T45" fmla="*/ 310 h 957"/>
                <a:gd name="T46" fmla="*/ 250 w 847"/>
                <a:gd name="T47" fmla="*/ 310 h 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47" h="957">
                  <a:moveTo>
                    <a:pt x="136" y="831"/>
                  </a:moveTo>
                  <a:lnTo>
                    <a:pt x="275" y="916"/>
                  </a:lnTo>
                  <a:cubicBezTo>
                    <a:pt x="321" y="943"/>
                    <a:pt x="372" y="957"/>
                    <a:pt x="423" y="957"/>
                  </a:cubicBezTo>
                  <a:cubicBezTo>
                    <a:pt x="475" y="957"/>
                    <a:pt x="526" y="943"/>
                    <a:pt x="572" y="916"/>
                  </a:cubicBezTo>
                  <a:lnTo>
                    <a:pt x="711" y="831"/>
                  </a:lnTo>
                  <a:cubicBezTo>
                    <a:pt x="795" y="780"/>
                    <a:pt x="847" y="686"/>
                    <a:pt x="847" y="587"/>
                  </a:cubicBezTo>
                  <a:lnTo>
                    <a:pt x="847" y="310"/>
                  </a:lnTo>
                  <a:cubicBezTo>
                    <a:pt x="847" y="140"/>
                    <a:pt x="708" y="0"/>
                    <a:pt x="538" y="0"/>
                  </a:cubicBezTo>
                  <a:lnTo>
                    <a:pt x="309" y="0"/>
                  </a:lnTo>
                  <a:cubicBezTo>
                    <a:pt x="138" y="0"/>
                    <a:pt x="0" y="140"/>
                    <a:pt x="0" y="310"/>
                  </a:cubicBezTo>
                  <a:lnTo>
                    <a:pt x="0" y="587"/>
                  </a:lnTo>
                  <a:cubicBezTo>
                    <a:pt x="0" y="686"/>
                    <a:pt x="52" y="780"/>
                    <a:pt x="136" y="831"/>
                  </a:cubicBezTo>
                  <a:close/>
                  <a:moveTo>
                    <a:pt x="250" y="310"/>
                  </a:moveTo>
                  <a:cubicBezTo>
                    <a:pt x="250" y="277"/>
                    <a:pt x="276" y="250"/>
                    <a:pt x="309" y="250"/>
                  </a:cubicBezTo>
                  <a:lnTo>
                    <a:pt x="538" y="250"/>
                  </a:lnTo>
                  <a:cubicBezTo>
                    <a:pt x="571" y="250"/>
                    <a:pt x="597" y="277"/>
                    <a:pt x="597" y="310"/>
                  </a:cubicBezTo>
                  <a:lnTo>
                    <a:pt x="597" y="587"/>
                  </a:lnTo>
                  <a:cubicBezTo>
                    <a:pt x="597" y="599"/>
                    <a:pt x="591" y="611"/>
                    <a:pt x="580" y="618"/>
                  </a:cubicBezTo>
                  <a:lnTo>
                    <a:pt x="442" y="702"/>
                  </a:lnTo>
                  <a:cubicBezTo>
                    <a:pt x="431" y="709"/>
                    <a:pt x="416" y="709"/>
                    <a:pt x="405" y="702"/>
                  </a:cubicBezTo>
                  <a:lnTo>
                    <a:pt x="267" y="618"/>
                  </a:lnTo>
                  <a:cubicBezTo>
                    <a:pt x="256" y="611"/>
                    <a:pt x="250" y="599"/>
                    <a:pt x="250" y="587"/>
                  </a:cubicBezTo>
                  <a:lnTo>
                    <a:pt x="250" y="310"/>
                  </a:lnTo>
                  <a:close/>
                  <a:moveTo>
                    <a:pt x="250" y="31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99"/>
            <p:cNvSpPr>
              <a:spLocks noEditPoints="1"/>
            </p:cNvSpPr>
            <p:nvPr/>
          </p:nvSpPr>
          <p:spPr bwMode="auto">
            <a:xfrm>
              <a:off x="4755" y="809"/>
              <a:ext cx="152" cy="139"/>
            </a:xfrm>
            <a:custGeom>
              <a:avLst/>
              <a:gdLst>
                <a:gd name="T0" fmla="*/ 377 w 3824"/>
                <a:gd name="T1" fmla="*/ 2866 h 3486"/>
                <a:gd name="T2" fmla="*/ 1208 w 3824"/>
                <a:gd name="T3" fmla="*/ 2866 h 3486"/>
                <a:gd name="T4" fmla="*/ 1146 w 3824"/>
                <a:gd name="T5" fmla="*/ 3236 h 3486"/>
                <a:gd name="T6" fmla="*/ 1116 w 3824"/>
                <a:gd name="T7" fmla="*/ 3236 h 3486"/>
                <a:gd name="T8" fmla="*/ 991 w 3824"/>
                <a:gd name="T9" fmla="*/ 3361 h 3486"/>
                <a:gd name="T10" fmla="*/ 1116 w 3824"/>
                <a:gd name="T11" fmla="*/ 3486 h 3486"/>
                <a:gd name="T12" fmla="*/ 2707 w 3824"/>
                <a:gd name="T13" fmla="*/ 3486 h 3486"/>
                <a:gd name="T14" fmla="*/ 2832 w 3824"/>
                <a:gd name="T15" fmla="*/ 3361 h 3486"/>
                <a:gd name="T16" fmla="*/ 2707 w 3824"/>
                <a:gd name="T17" fmla="*/ 3236 h 3486"/>
                <a:gd name="T18" fmla="*/ 2678 w 3824"/>
                <a:gd name="T19" fmla="*/ 3236 h 3486"/>
                <a:gd name="T20" fmla="*/ 2615 w 3824"/>
                <a:gd name="T21" fmla="*/ 2866 h 3486"/>
                <a:gd name="T22" fmla="*/ 3446 w 3824"/>
                <a:gd name="T23" fmla="*/ 2866 h 3486"/>
                <a:gd name="T24" fmla="*/ 3824 w 3824"/>
                <a:gd name="T25" fmla="*/ 2489 h 3486"/>
                <a:gd name="T26" fmla="*/ 3824 w 3824"/>
                <a:gd name="T27" fmla="*/ 1317 h 3486"/>
                <a:gd name="T28" fmla="*/ 3699 w 3824"/>
                <a:gd name="T29" fmla="*/ 1192 h 3486"/>
                <a:gd name="T30" fmla="*/ 3574 w 3824"/>
                <a:gd name="T31" fmla="*/ 1317 h 3486"/>
                <a:gd name="T32" fmla="*/ 3574 w 3824"/>
                <a:gd name="T33" fmla="*/ 2007 h 3486"/>
                <a:gd name="T34" fmla="*/ 2901 w 3824"/>
                <a:gd name="T35" fmla="*/ 2007 h 3486"/>
                <a:gd name="T36" fmla="*/ 2901 w 3824"/>
                <a:gd name="T37" fmla="*/ 1990 h 3486"/>
                <a:gd name="T38" fmla="*/ 2898 w 3824"/>
                <a:gd name="T39" fmla="*/ 1962 h 3486"/>
                <a:gd name="T40" fmla="*/ 2749 w 3824"/>
                <a:gd name="T41" fmla="*/ 1714 h 3486"/>
                <a:gd name="T42" fmla="*/ 2367 w 3824"/>
                <a:gd name="T43" fmla="*/ 1569 h 3486"/>
                <a:gd name="T44" fmla="*/ 1457 w 3824"/>
                <a:gd name="T45" fmla="*/ 1569 h 3486"/>
                <a:gd name="T46" fmla="*/ 1075 w 3824"/>
                <a:gd name="T47" fmla="*/ 1714 h 3486"/>
                <a:gd name="T48" fmla="*/ 925 w 3824"/>
                <a:gd name="T49" fmla="*/ 1965 h 3486"/>
                <a:gd name="T50" fmla="*/ 922 w 3824"/>
                <a:gd name="T51" fmla="*/ 1993 h 3486"/>
                <a:gd name="T52" fmla="*/ 922 w 3824"/>
                <a:gd name="T53" fmla="*/ 2007 h 3486"/>
                <a:gd name="T54" fmla="*/ 250 w 3824"/>
                <a:gd name="T55" fmla="*/ 2007 h 3486"/>
                <a:gd name="T56" fmla="*/ 250 w 3824"/>
                <a:gd name="T57" fmla="*/ 377 h 3486"/>
                <a:gd name="T58" fmla="*/ 377 w 3824"/>
                <a:gd name="T59" fmla="*/ 250 h 3486"/>
                <a:gd name="T60" fmla="*/ 3446 w 3824"/>
                <a:gd name="T61" fmla="*/ 250 h 3486"/>
                <a:gd name="T62" fmla="*/ 3574 w 3824"/>
                <a:gd name="T63" fmla="*/ 377 h 3486"/>
                <a:gd name="T64" fmla="*/ 3574 w 3824"/>
                <a:gd name="T65" fmla="*/ 783 h 3486"/>
                <a:gd name="T66" fmla="*/ 3699 w 3824"/>
                <a:gd name="T67" fmla="*/ 908 h 3486"/>
                <a:gd name="T68" fmla="*/ 3824 w 3824"/>
                <a:gd name="T69" fmla="*/ 783 h 3486"/>
                <a:gd name="T70" fmla="*/ 3824 w 3824"/>
                <a:gd name="T71" fmla="*/ 377 h 3486"/>
                <a:gd name="T72" fmla="*/ 3446 w 3824"/>
                <a:gd name="T73" fmla="*/ 0 h 3486"/>
                <a:gd name="T74" fmla="*/ 377 w 3824"/>
                <a:gd name="T75" fmla="*/ 0 h 3486"/>
                <a:gd name="T76" fmla="*/ 0 w 3824"/>
                <a:gd name="T77" fmla="*/ 377 h 3486"/>
                <a:gd name="T78" fmla="*/ 0 w 3824"/>
                <a:gd name="T79" fmla="*/ 2489 h 3486"/>
                <a:gd name="T80" fmla="*/ 377 w 3824"/>
                <a:gd name="T81" fmla="*/ 2866 h 3486"/>
                <a:gd name="T82" fmla="*/ 2424 w 3824"/>
                <a:gd name="T83" fmla="*/ 3236 h 3486"/>
                <a:gd name="T84" fmla="*/ 1399 w 3824"/>
                <a:gd name="T85" fmla="*/ 3236 h 3486"/>
                <a:gd name="T86" fmla="*/ 1462 w 3824"/>
                <a:gd name="T87" fmla="*/ 2866 h 3486"/>
                <a:gd name="T88" fmla="*/ 2362 w 3824"/>
                <a:gd name="T89" fmla="*/ 2866 h 3486"/>
                <a:gd name="T90" fmla="*/ 2424 w 3824"/>
                <a:gd name="T91" fmla="*/ 3236 h 3486"/>
                <a:gd name="T92" fmla="*/ 1244 w 3824"/>
                <a:gd name="T93" fmla="*/ 1898 h 3486"/>
                <a:gd name="T94" fmla="*/ 1457 w 3824"/>
                <a:gd name="T95" fmla="*/ 1819 h 3486"/>
                <a:gd name="T96" fmla="*/ 2367 w 3824"/>
                <a:gd name="T97" fmla="*/ 1819 h 3486"/>
                <a:gd name="T98" fmla="*/ 2580 w 3824"/>
                <a:gd name="T99" fmla="*/ 1898 h 3486"/>
                <a:gd name="T100" fmla="*/ 2651 w 3824"/>
                <a:gd name="T101" fmla="*/ 2007 h 3486"/>
                <a:gd name="T102" fmla="*/ 2651 w 3824"/>
                <a:gd name="T103" fmla="*/ 2007 h 3486"/>
                <a:gd name="T104" fmla="*/ 1172 w 3824"/>
                <a:gd name="T105" fmla="*/ 2007 h 3486"/>
                <a:gd name="T106" fmla="*/ 1244 w 3824"/>
                <a:gd name="T107" fmla="*/ 1898 h 3486"/>
                <a:gd name="T108" fmla="*/ 3574 w 3824"/>
                <a:gd name="T109" fmla="*/ 2257 h 3486"/>
                <a:gd name="T110" fmla="*/ 3574 w 3824"/>
                <a:gd name="T111" fmla="*/ 2489 h 3486"/>
                <a:gd name="T112" fmla="*/ 3446 w 3824"/>
                <a:gd name="T113" fmla="*/ 2616 h 3486"/>
                <a:gd name="T114" fmla="*/ 377 w 3824"/>
                <a:gd name="T115" fmla="*/ 2616 h 3486"/>
                <a:gd name="T116" fmla="*/ 250 w 3824"/>
                <a:gd name="T117" fmla="*/ 2489 h 3486"/>
                <a:gd name="T118" fmla="*/ 250 w 3824"/>
                <a:gd name="T119" fmla="*/ 2257 h 3486"/>
                <a:gd name="T120" fmla="*/ 3574 w 3824"/>
                <a:gd name="T121" fmla="*/ 2257 h 3486"/>
                <a:gd name="T122" fmla="*/ 3574 w 3824"/>
                <a:gd name="T123" fmla="*/ 2257 h 3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24" h="3486">
                  <a:moveTo>
                    <a:pt x="377" y="2866"/>
                  </a:moveTo>
                  <a:lnTo>
                    <a:pt x="1208" y="2866"/>
                  </a:lnTo>
                  <a:lnTo>
                    <a:pt x="1146" y="3236"/>
                  </a:lnTo>
                  <a:lnTo>
                    <a:pt x="1116" y="3236"/>
                  </a:lnTo>
                  <a:cubicBezTo>
                    <a:pt x="1047" y="3236"/>
                    <a:pt x="991" y="3292"/>
                    <a:pt x="991" y="3361"/>
                  </a:cubicBezTo>
                  <a:cubicBezTo>
                    <a:pt x="991" y="3430"/>
                    <a:pt x="1047" y="3486"/>
                    <a:pt x="1116" y="3486"/>
                  </a:cubicBezTo>
                  <a:lnTo>
                    <a:pt x="2707" y="3486"/>
                  </a:lnTo>
                  <a:cubicBezTo>
                    <a:pt x="2776" y="3486"/>
                    <a:pt x="2832" y="3430"/>
                    <a:pt x="2832" y="3361"/>
                  </a:cubicBezTo>
                  <a:cubicBezTo>
                    <a:pt x="2832" y="3292"/>
                    <a:pt x="2776" y="3236"/>
                    <a:pt x="2707" y="3236"/>
                  </a:cubicBezTo>
                  <a:lnTo>
                    <a:pt x="2678" y="3236"/>
                  </a:lnTo>
                  <a:lnTo>
                    <a:pt x="2615" y="2866"/>
                  </a:lnTo>
                  <a:lnTo>
                    <a:pt x="3446" y="2866"/>
                  </a:lnTo>
                  <a:cubicBezTo>
                    <a:pt x="3654" y="2866"/>
                    <a:pt x="3824" y="2697"/>
                    <a:pt x="3824" y="2489"/>
                  </a:cubicBezTo>
                  <a:lnTo>
                    <a:pt x="3824" y="1317"/>
                  </a:lnTo>
                  <a:cubicBezTo>
                    <a:pt x="3824" y="1248"/>
                    <a:pt x="3768" y="1192"/>
                    <a:pt x="3699" y="1192"/>
                  </a:cubicBezTo>
                  <a:cubicBezTo>
                    <a:pt x="3630" y="1192"/>
                    <a:pt x="3574" y="1248"/>
                    <a:pt x="3574" y="1317"/>
                  </a:cubicBezTo>
                  <a:lnTo>
                    <a:pt x="3574" y="2007"/>
                  </a:lnTo>
                  <a:lnTo>
                    <a:pt x="2901" y="2007"/>
                  </a:lnTo>
                  <a:lnTo>
                    <a:pt x="2901" y="1990"/>
                  </a:lnTo>
                  <a:cubicBezTo>
                    <a:pt x="2901" y="1981"/>
                    <a:pt x="2900" y="1971"/>
                    <a:pt x="2898" y="1962"/>
                  </a:cubicBezTo>
                  <a:cubicBezTo>
                    <a:pt x="2876" y="1869"/>
                    <a:pt x="2824" y="1784"/>
                    <a:pt x="2749" y="1714"/>
                  </a:cubicBezTo>
                  <a:cubicBezTo>
                    <a:pt x="2647" y="1621"/>
                    <a:pt x="2512" y="1569"/>
                    <a:pt x="2367" y="1569"/>
                  </a:cubicBezTo>
                  <a:lnTo>
                    <a:pt x="1457" y="1569"/>
                  </a:lnTo>
                  <a:cubicBezTo>
                    <a:pt x="1312" y="1569"/>
                    <a:pt x="1177" y="1621"/>
                    <a:pt x="1075" y="1714"/>
                  </a:cubicBezTo>
                  <a:cubicBezTo>
                    <a:pt x="999" y="1784"/>
                    <a:pt x="947" y="1871"/>
                    <a:pt x="925" y="1965"/>
                  </a:cubicBezTo>
                  <a:cubicBezTo>
                    <a:pt x="923" y="1974"/>
                    <a:pt x="922" y="1984"/>
                    <a:pt x="922" y="1993"/>
                  </a:cubicBezTo>
                  <a:lnTo>
                    <a:pt x="922" y="2007"/>
                  </a:lnTo>
                  <a:lnTo>
                    <a:pt x="250" y="2007"/>
                  </a:lnTo>
                  <a:lnTo>
                    <a:pt x="250" y="377"/>
                  </a:lnTo>
                  <a:cubicBezTo>
                    <a:pt x="250" y="307"/>
                    <a:pt x="307" y="250"/>
                    <a:pt x="377" y="250"/>
                  </a:cubicBezTo>
                  <a:lnTo>
                    <a:pt x="3446" y="250"/>
                  </a:lnTo>
                  <a:cubicBezTo>
                    <a:pt x="3517" y="250"/>
                    <a:pt x="3574" y="307"/>
                    <a:pt x="3574" y="377"/>
                  </a:cubicBezTo>
                  <a:lnTo>
                    <a:pt x="3574" y="783"/>
                  </a:lnTo>
                  <a:cubicBezTo>
                    <a:pt x="3574" y="852"/>
                    <a:pt x="3630" y="908"/>
                    <a:pt x="3699" y="908"/>
                  </a:cubicBezTo>
                  <a:cubicBezTo>
                    <a:pt x="3768" y="908"/>
                    <a:pt x="3824" y="852"/>
                    <a:pt x="3824" y="783"/>
                  </a:cubicBezTo>
                  <a:lnTo>
                    <a:pt x="3824" y="377"/>
                  </a:lnTo>
                  <a:cubicBezTo>
                    <a:pt x="3824" y="169"/>
                    <a:pt x="3654" y="0"/>
                    <a:pt x="3446" y="0"/>
                  </a:cubicBezTo>
                  <a:lnTo>
                    <a:pt x="377" y="0"/>
                  </a:lnTo>
                  <a:cubicBezTo>
                    <a:pt x="169" y="0"/>
                    <a:pt x="0" y="169"/>
                    <a:pt x="0" y="377"/>
                  </a:cubicBezTo>
                  <a:lnTo>
                    <a:pt x="0" y="2489"/>
                  </a:lnTo>
                  <a:cubicBezTo>
                    <a:pt x="0" y="2697"/>
                    <a:pt x="169" y="2866"/>
                    <a:pt x="377" y="2866"/>
                  </a:cubicBezTo>
                  <a:close/>
                  <a:moveTo>
                    <a:pt x="2424" y="3236"/>
                  </a:moveTo>
                  <a:lnTo>
                    <a:pt x="1399" y="3236"/>
                  </a:lnTo>
                  <a:lnTo>
                    <a:pt x="1462" y="2866"/>
                  </a:lnTo>
                  <a:lnTo>
                    <a:pt x="2362" y="2866"/>
                  </a:lnTo>
                  <a:lnTo>
                    <a:pt x="2424" y="3236"/>
                  </a:lnTo>
                  <a:close/>
                  <a:moveTo>
                    <a:pt x="1244" y="1898"/>
                  </a:moveTo>
                  <a:cubicBezTo>
                    <a:pt x="1299" y="1847"/>
                    <a:pt x="1375" y="1819"/>
                    <a:pt x="1457" y="1819"/>
                  </a:cubicBezTo>
                  <a:lnTo>
                    <a:pt x="2367" y="1819"/>
                  </a:lnTo>
                  <a:cubicBezTo>
                    <a:pt x="2449" y="1819"/>
                    <a:pt x="2524" y="1847"/>
                    <a:pt x="2580" y="1898"/>
                  </a:cubicBezTo>
                  <a:cubicBezTo>
                    <a:pt x="2615" y="1930"/>
                    <a:pt x="2639" y="1968"/>
                    <a:pt x="2651" y="2007"/>
                  </a:cubicBezTo>
                  <a:lnTo>
                    <a:pt x="2651" y="2007"/>
                  </a:lnTo>
                  <a:lnTo>
                    <a:pt x="1172" y="2007"/>
                  </a:lnTo>
                  <a:cubicBezTo>
                    <a:pt x="1185" y="1968"/>
                    <a:pt x="1209" y="1930"/>
                    <a:pt x="1244" y="1898"/>
                  </a:cubicBezTo>
                  <a:close/>
                  <a:moveTo>
                    <a:pt x="3574" y="2257"/>
                  </a:moveTo>
                  <a:lnTo>
                    <a:pt x="3574" y="2489"/>
                  </a:lnTo>
                  <a:cubicBezTo>
                    <a:pt x="3574" y="2559"/>
                    <a:pt x="3517" y="2616"/>
                    <a:pt x="3446" y="2616"/>
                  </a:cubicBezTo>
                  <a:lnTo>
                    <a:pt x="377" y="2616"/>
                  </a:lnTo>
                  <a:cubicBezTo>
                    <a:pt x="307" y="2616"/>
                    <a:pt x="250" y="2559"/>
                    <a:pt x="250" y="2489"/>
                  </a:cubicBezTo>
                  <a:lnTo>
                    <a:pt x="250" y="2257"/>
                  </a:lnTo>
                  <a:lnTo>
                    <a:pt x="3574" y="2257"/>
                  </a:lnTo>
                  <a:close/>
                  <a:moveTo>
                    <a:pt x="3574" y="225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100"/>
            <p:cNvSpPr>
              <a:spLocks noEditPoints="1"/>
            </p:cNvSpPr>
            <p:nvPr/>
          </p:nvSpPr>
          <p:spPr bwMode="auto">
            <a:xfrm>
              <a:off x="4814" y="830"/>
              <a:ext cx="34" cy="38"/>
            </a:xfrm>
            <a:custGeom>
              <a:avLst/>
              <a:gdLst>
                <a:gd name="T0" fmla="*/ 310 w 848"/>
                <a:gd name="T1" fmla="*/ 0 h 957"/>
                <a:gd name="T2" fmla="*/ 0 w 848"/>
                <a:gd name="T3" fmla="*/ 310 h 957"/>
                <a:gd name="T4" fmla="*/ 0 w 848"/>
                <a:gd name="T5" fmla="*/ 587 h 957"/>
                <a:gd name="T6" fmla="*/ 137 w 848"/>
                <a:gd name="T7" fmla="*/ 831 h 957"/>
                <a:gd name="T8" fmla="*/ 276 w 848"/>
                <a:gd name="T9" fmla="*/ 915 h 957"/>
                <a:gd name="T10" fmla="*/ 424 w 848"/>
                <a:gd name="T11" fmla="*/ 957 h 957"/>
                <a:gd name="T12" fmla="*/ 572 w 848"/>
                <a:gd name="T13" fmla="*/ 915 h 957"/>
                <a:gd name="T14" fmla="*/ 711 w 848"/>
                <a:gd name="T15" fmla="*/ 831 h 957"/>
                <a:gd name="T16" fmla="*/ 848 w 848"/>
                <a:gd name="T17" fmla="*/ 587 h 957"/>
                <a:gd name="T18" fmla="*/ 848 w 848"/>
                <a:gd name="T19" fmla="*/ 310 h 957"/>
                <a:gd name="T20" fmla="*/ 538 w 848"/>
                <a:gd name="T21" fmla="*/ 0 h 957"/>
                <a:gd name="T22" fmla="*/ 310 w 848"/>
                <a:gd name="T23" fmla="*/ 0 h 957"/>
                <a:gd name="T24" fmla="*/ 598 w 848"/>
                <a:gd name="T25" fmla="*/ 310 h 957"/>
                <a:gd name="T26" fmla="*/ 598 w 848"/>
                <a:gd name="T27" fmla="*/ 587 h 957"/>
                <a:gd name="T28" fmla="*/ 581 w 848"/>
                <a:gd name="T29" fmla="*/ 617 h 957"/>
                <a:gd name="T30" fmla="*/ 442 w 848"/>
                <a:gd name="T31" fmla="*/ 702 h 957"/>
                <a:gd name="T32" fmla="*/ 406 w 848"/>
                <a:gd name="T33" fmla="*/ 702 h 957"/>
                <a:gd name="T34" fmla="*/ 267 w 848"/>
                <a:gd name="T35" fmla="*/ 617 h 957"/>
                <a:gd name="T36" fmla="*/ 250 w 848"/>
                <a:gd name="T37" fmla="*/ 587 h 957"/>
                <a:gd name="T38" fmla="*/ 250 w 848"/>
                <a:gd name="T39" fmla="*/ 310 h 957"/>
                <a:gd name="T40" fmla="*/ 310 w 848"/>
                <a:gd name="T41" fmla="*/ 250 h 957"/>
                <a:gd name="T42" fmla="*/ 538 w 848"/>
                <a:gd name="T43" fmla="*/ 250 h 957"/>
                <a:gd name="T44" fmla="*/ 598 w 848"/>
                <a:gd name="T45" fmla="*/ 310 h 957"/>
                <a:gd name="T46" fmla="*/ 598 w 848"/>
                <a:gd name="T47" fmla="*/ 310 h 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48" h="957">
                  <a:moveTo>
                    <a:pt x="310" y="0"/>
                  </a:moveTo>
                  <a:cubicBezTo>
                    <a:pt x="139" y="0"/>
                    <a:pt x="0" y="139"/>
                    <a:pt x="0" y="310"/>
                  </a:cubicBezTo>
                  <a:lnTo>
                    <a:pt x="0" y="587"/>
                  </a:lnTo>
                  <a:cubicBezTo>
                    <a:pt x="0" y="686"/>
                    <a:pt x="52" y="779"/>
                    <a:pt x="137" y="831"/>
                  </a:cubicBezTo>
                  <a:lnTo>
                    <a:pt x="276" y="915"/>
                  </a:lnTo>
                  <a:cubicBezTo>
                    <a:pt x="321" y="943"/>
                    <a:pt x="373" y="957"/>
                    <a:pt x="424" y="957"/>
                  </a:cubicBezTo>
                  <a:cubicBezTo>
                    <a:pt x="475" y="957"/>
                    <a:pt x="527" y="943"/>
                    <a:pt x="572" y="915"/>
                  </a:cubicBezTo>
                  <a:lnTo>
                    <a:pt x="711" y="831"/>
                  </a:lnTo>
                  <a:cubicBezTo>
                    <a:pt x="795" y="779"/>
                    <a:pt x="848" y="686"/>
                    <a:pt x="848" y="587"/>
                  </a:cubicBezTo>
                  <a:lnTo>
                    <a:pt x="848" y="310"/>
                  </a:lnTo>
                  <a:cubicBezTo>
                    <a:pt x="848" y="139"/>
                    <a:pt x="709" y="0"/>
                    <a:pt x="538" y="0"/>
                  </a:cubicBezTo>
                  <a:lnTo>
                    <a:pt x="310" y="0"/>
                  </a:lnTo>
                  <a:close/>
                  <a:moveTo>
                    <a:pt x="598" y="310"/>
                  </a:moveTo>
                  <a:lnTo>
                    <a:pt x="598" y="587"/>
                  </a:lnTo>
                  <a:cubicBezTo>
                    <a:pt x="598" y="599"/>
                    <a:pt x="591" y="611"/>
                    <a:pt x="581" y="617"/>
                  </a:cubicBezTo>
                  <a:lnTo>
                    <a:pt x="442" y="702"/>
                  </a:lnTo>
                  <a:cubicBezTo>
                    <a:pt x="431" y="709"/>
                    <a:pt x="417" y="709"/>
                    <a:pt x="406" y="702"/>
                  </a:cubicBezTo>
                  <a:lnTo>
                    <a:pt x="267" y="617"/>
                  </a:lnTo>
                  <a:cubicBezTo>
                    <a:pt x="257" y="611"/>
                    <a:pt x="250" y="599"/>
                    <a:pt x="250" y="587"/>
                  </a:cubicBezTo>
                  <a:lnTo>
                    <a:pt x="250" y="310"/>
                  </a:lnTo>
                  <a:cubicBezTo>
                    <a:pt x="250" y="277"/>
                    <a:pt x="277" y="250"/>
                    <a:pt x="310" y="250"/>
                  </a:cubicBezTo>
                  <a:lnTo>
                    <a:pt x="538" y="250"/>
                  </a:lnTo>
                  <a:cubicBezTo>
                    <a:pt x="571" y="250"/>
                    <a:pt x="598" y="277"/>
                    <a:pt x="598" y="310"/>
                  </a:cubicBezTo>
                  <a:close/>
                  <a:moveTo>
                    <a:pt x="598" y="31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101"/>
            <p:cNvSpPr>
              <a:spLocks noEditPoints="1"/>
            </p:cNvSpPr>
            <p:nvPr/>
          </p:nvSpPr>
          <p:spPr bwMode="auto">
            <a:xfrm>
              <a:off x="4661" y="1010"/>
              <a:ext cx="152" cy="139"/>
            </a:xfrm>
            <a:custGeom>
              <a:avLst/>
              <a:gdLst>
                <a:gd name="T0" fmla="*/ 3447 w 3824"/>
                <a:gd name="T1" fmla="*/ 0 h 3486"/>
                <a:gd name="T2" fmla="*/ 377 w 3824"/>
                <a:gd name="T3" fmla="*/ 0 h 3486"/>
                <a:gd name="T4" fmla="*/ 0 w 3824"/>
                <a:gd name="T5" fmla="*/ 378 h 3486"/>
                <a:gd name="T6" fmla="*/ 0 w 3824"/>
                <a:gd name="T7" fmla="*/ 2489 h 3486"/>
                <a:gd name="T8" fmla="*/ 377 w 3824"/>
                <a:gd name="T9" fmla="*/ 2866 h 3486"/>
                <a:gd name="T10" fmla="*/ 1209 w 3824"/>
                <a:gd name="T11" fmla="*/ 2866 h 3486"/>
                <a:gd name="T12" fmla="*/ 1146 w 3824"/>
                <a:gd name="T13" fmla="*/ 3236 h 3486"/>
                <a:gd name="T14" fmla="*/ 1116 w 3824"/>
                <a:gd name="T15" fmla="*/ 3236 h 3486"/>
                <a:gd name="T16" fmla="*/ 991 w 3824"/>
                <a:gd name="T17" fmla="*/ 3361 h 3486"/>
                <a:gd name="T18" fmla="*/ 1116 w 3824"/>
                <a:gd name="T19" fmla="*/ 3486 h 3486"/>
                <a:gd name="T20" fmla="*/ 2708 w 3824"/>
                <a:gd name="T21" fmla="*/ 3486 h 3486"/>
                <a:gd name="T22" fmla="*/ 2833 w 3824"/>
                <a:gd name="T23" fmla="*/ 3361 h 3486"/>
                <a:gd name="T24" fmla="*/ 2708 w 3824"/>
                <a:gd name="T25" fmla="*/ 3236 h 3486"/>
                <a:gd name="T26" fmla="*/ 2678 w 3824"/>
                <a:gd name="T27" fmla="*/ 3236 h 3486"/>
                <a:gd name="T28" fmla="*/ 2616 w 3824"/>
                <a:gd name="T29" fmla="*/ 2866 h 3486"/>
                <a:gd name="T30" fmla="*/ 3447 w 3824"/>
                <a:gd name="T31" fmla="*/ 2866 h 3486"/>
                <a:gd name="T32" fmla="*/ 3824 w 3824"/>
                <a:gd name="T33" fmla="*/ 2489 h 3486"/>
                <a:gd name="T34" fmla="*/ 3824 w 3824"/>
                <a:gd name="T35" fmla="*/ 378 h 3486"/>
                <a:gd name="T36" fmla="*/ 3447 w 3824"/>
                <a:gd name="T37" fmla="*/ 0 h 3486"/>
                <a:gd name="T38" fmla="*/ 377 w 3824"/>
                <a:gd name="T39" fmla="*/ 250 h 3486"/>
                <a:gd name="T40" fmla="*/ 3447 w 3824"/>
                <a:gd name="T41" fmla="*/ 250 h 3486"/>
                <a:gd name="T42" fmla="*/ 3574 w 3824"/>
                <a:gd name="T43" fmla="*/ 378 h 3486"/>
                <a:gd name="T44" fmla="*/ 3574 w 3824"/>
                <a:gd name="T45" fmla="*/ 2007 h 3486"/>
                <a:gd name="T46" fmla="*/ 2902 w 3824"/>
                <a:gd name="T47" fmla="*/ 2007 h 3486"/>
                <a:gd name="T48" fmla="*/ 2902 w 3824"/>
                <a:gd name="T49" fmla="*/ 1991 h 3486"/>
                <a:gd name="T50" fmla="*/ 2898 w 3824"/>
                <a:gd name="T51" fmla="*/ 1962 h 3486"/>
                <a:gd name="T52" fmla="*/ 2749 w 3824"/>
                <a:gd name="T53" fmla="*/ 1714 h 3486"/>
                <a:gd name="T54" fmla="*/ 2367 w 3824"/>
                <a:gd name="T55" fmla="*/ 1570 h 3486"/>
                <a:gd name="T56" fmla="*/ 1458 w 3824"/>
                <a:gd name="T57" fmla="*/ 1570 h 3486"/>
                <a:gd name="T58" fmla="*/ 1076 w 3824"/>
                <a:gd name="T59" fmla="*/ 1714 h 3486"/>
                <a:gd name="T60" fmla="*/ 926 w 3824"/>
                <a:gd name="T61" fmla="*/ 1965 h 3486"/>
                <a:gd name="T62" fmla="*/ 922 w 3824"/>
                <a:gd name="T63" fmla="*/ 1993 h 3486"/>
                <a:gd name="T64" fmla="*/ 922 w 3824"/>
                <a:gd name="T65" fmla="*/ 2008 h 3486"/>
                <a:gd name="T66" fmla="*/ 250 w 3824"/>
                <a:gd name="T67" fmla="*/ 2008 h 3486"/>
                <a:gd name="T68" fmla="*/ 250 w 3824"/>
                <a:gd name="T69" fmla="*/ 378 h 3486"/>
                <a:gd name="T70" fmla="*/ 377 w 3824"/>
                <a:gd name="T71" fmla="*/ 250 h 3486"/>
                <a:gd name="T72" fmla="*/ 2425 w 3824"/>
                <a:gd name="T73" fmla="*/ 3236 h 3486"/>
                <a:gd name="T74" fmla="*/ 1400 w 3824"/>
                <a:gd name="T75" fmla="*/ 3236 h 3486"/>
                <a:gd name="T76" fmla="*/ 1462 w 3824"/>
                <a:gd name="T77" fmla="*/ 2866 h 3486"/>
                <a:gd name="T78" fmla="*/ 2362 w 3824"/>
                <a:gd name="T79" fmla="*/ 2866 h 3486"/>
                <a:gd name="T80" fmla="*/ 2425 w 3824"/>
                <a:gd name="T81" fmla="*/ 3236 h 3486"/>
                <a:gd name="T82" fmla="*/ 3574 w 3824"/>
                <a:gd name="T83" fmla="*/ 2489 h 3486"/>
                <a:gd name="T84" fmla="*/ 3447 w 3824"/>
                <a:gd name="T85" fmla="*/ 2616 h 3486"/>
                <a:gd name="T86" fmla="*/ 377 w 3824"/>
                <a:gd name="T87" fmla="*/ 2616 h 3486"/>
                <a:gd name="T88" fmla="*/ 250 w 3824"/>
                <a:gd name="T89" fmla="*/ 2489 h 3486"/>
                <a:gd name="T90" fmla="*/ 250 w 3824"/>
                <a:gd name="T91" fmla="*/ 2258 h 3486"/>
                <a:gd name="T92" fmla="*/ 1300 w 3824"/>
                <a:gd name="T93" fmla="*/ 2258 h 3486"/>
                <a:gd name="T94" fmla="*/ 1425 w 3824"/>
                <a:gd name="T95" fmla="*/ 2133 h 3486"/>
                <a:gd name="T96" fmla="*/ 1300 w 3824"/>
                <a:gd name="T97" fmla="*/ 2008 h 3486"/>
                <a:gd name="T98" fmla="*/ 1173 w 3824"/>
                <a:gd name="T99" fmla="*/ 2008 h 3486"/>
                <a:gd name="T100" fmla="*/ 1245 w 3824"/>
                <a:gd name="T101" fmla="*/ 1898 h 3486"/>
                <a:gd name="T102" fmla="*/ 1458 w 3824"/>
                <a:gd name="T103" fmla="*/ 1820 h 3486"/>
                <a:gd name="T104" fmla="*/ 2367 w 3824"/>
                <a:gd name="T105" fmla="*/ 1820 h 3486"/>
                <a:gd name="T106" fmla="*/ 2580 w 3824"/>
                <a:gd name="T107" fmla="*/ 1898 h 3486"/>
                <a:gd name="T108" fmla="*/ 2652 w 3824"/>
                <a:gd name="T109" fmla="*/ 2007 h 3486"/>
                <a:gd name="T110" fmla="*/ 2652 w 3824"/>
                <a:gd name="T111" fmla="*/ 2008 h 3486"/>
                <a:gd name="T112" fmla="*/ 1823 w 3824"/>
                <a:gd name="T113" fmla="*/ 2008 h 3486"/>
                <a:gd name="T114" fmla="*/ 1698 w 3824"/>
                <a:gd name="T115" fmla="*/ 2133 h 3486"/>
                <a:gd name="T116" fmla="*/ 1823 w 3824"/>
                <a:gd name="T117" fmla="*/ 2258 h 3486"/>
                <a:gd name="T118" fmla="*/ 3574 w 3824"/>
                <a:gd name="T119" fmla="*/ 2258 h 3486"/>
                <a:gd name="T120" fmla="*/ 3574 w 3824"/>
                <a:gd name="T121" fmla="*/ 2489 h 3486"/>
                <a:gd name="T122" fmla="*/ 3574 w 3824"/>
                <a:gd name="T123" fmla="*/ 2489 h 3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24" h="3486">
                  <a:moveTo>
                    <a:pt x="3447" y="0"/>
                  </a:moveTo>
                  <a:lnTo>
                    <a:pt x="377" y="0"/>
                  </a:lnTo>
                  <a:cubicBezTo>
                    <a:pt x="169" y="0"/>
                    <a:pt x="0" y="170"/>
                    <a:pt x="0" y="378"/>
                  </a:cubicBezTo>
                  <a:lnTo>
                    <a:pt x="0" y="2489"/>
                  </a:lnTo>
                  <a:cubicBezTo>
                    <a:pt x="0" y="2697"/>
                    <a:pt x="169" y="2866"/>
                    <a:pt x="377" y="2866"/>
                  </a:cubicBezTo>
                  <a:lnTo>
                    <a:pt x="1209" y="2866"/>
                  </a:lnTo>
                  <a:lnTo>
                    <a:pt x="1146" y="3236"/>
                  </a:lnTo>
                  <a:lnTo>
                    <a:pt x="1116" y="3236"/>
                  </a:lnTo>
                  <a:cubicBezTo>
                    <a:pt x="1047" y="3236"/>
                    <a:pt x="991" y="3292"/>
                    <a:pt x="991" y="3361"/>
                  </a:cubicBezTo>
                  <a:cubicBezTo>
                    <a:pt x="991" y="3430"/>
                    <a:pt x="1047" y="3486"/>
                    <a:pt x="1116" y="3486"/>
                  </a:cubicBezTo>
                  <a:lnTo>
                    <a:pt x="2708" y="3486"/>
                  </a:lnTo>
                  <a:cubicBezTo>
                    <a:pt x="2777" y="3486"/>
                    <a:pt x="2833" y="3430"/>
                    <a:pt x="2833" y="3361"/>
                  </a:cubicBezTo>
                  <a:cubicBezTo>
                    <a:pt x="2833" y="3292"/>
                    <a:pt x="2777" y="3236"/>
                    <a:pt x="2708" y="3236"/>
                  </a:cubicBezTo>
                  <a:lnTo>
                    <a:pt x="2678" y="3236"/>
                  </a:lnTo>
                  <a:lnTo>
                    <a:pt x="2616" y="2866"/>
                  </a:lnTo>
                  <a:lnTo>
                    <a:pt x="3447" y="2866"/>
                  </a:lnTo>
                  <a:cubicBezTo>
                    <a:pt x="3655" y="2866"/>
                    <a:pt x="3824" y="2697"/>
                    <a:pt x="3824" y="2489"/>
                  </a:cubicBezTo>
                  <a:lnTo>
                    <a:pt x="3824" y="378"/>
                  </a:lnTo>
                  <a:cubicBezTo>
                    <a:pt x="3824" y="170"/>
                    <a:pt x="3655" y="0"/>
                    <a:pt x="3447" y="0"/>
                  </a:cubicBezTo>
                  <a:close/>
                  <a:moveTo>
                    <a:pt x="377" y="250"/>
                  </a:moveTo>
                  <a:lnTo>
                    <a:pt x="3447" y="250"/>
                  </a:lnTo>
                  <a:cubicBezTo>
                    <a:pt x="3517" y="250"/>
                    <a:pt x="3574" y="307"/>
                    <a:pt x="3574" y="378"/>
                  </a:cubicBezTo>
                  <a:lnTo>
                    <a:pt x="3574" y="2007"/>
                  </a:lnTo>
                  <a:lnTo>
                    <a:pt x="2902" y="2007"/>
                  </a:lnTo>
                  <a:lnTo>
                    <a:pt x="2902" y="1991"/>
                  </a:lnTo>
                  <a:cubicBezTo>
                    <a:pt x="2902" y="1981"/>
                    <a:pt x="2901" y="1971"/>
                    <a:pt x="2898" y="1962"/>
                  </a:cubicBezTo>
                  <a:cubicBezTo>
                    <a:pt x="2876" y="1869"/>
                    <a:pt x="2825" y="1784"/>
                    <a:pt x="2749" y="1714"/>
                  </a:cubicBezTo>
                  <a:cubicBezTo>
                    <a:pt x="2648" y="1621"/>
                    <a:pt x="2512" y="1570"/>
                    <a:pt x="2367" y="1570"/>
                  </a:cubicBezTo>
                  <a:lnTo>
                    <a:pt x="1458" y="1570"/>
                  </a:lnTo>
                  <a:cubicBezTo>
                    <a:pt x="1313" y="1570"/>
                    <a:pt x="1177" y="1621"/>
                    <a:pt x="1076" y="1714"/>
                  </a:cubicBezTo>
                  <a:cubicBezTo>
                    <a:pt x="999" y="1784"/>
                    <a:pt x="947" y="1871"/>
                    <a:pt x="926" y="1965"/>
                  </a:cubicBezTo>
                  <a:cubicBezTo>
                    <a:pt x="923" y="1974"/>
                    <a:pt x="922" y="1984"/>
                    <a:pt x="922" y="1993"/>
                  </a:cubicBezTo>
                  <a:lnTo>
                    <a:pt x="922" y="2008"/>
                  </a:lnTo>
                  <a:lnTo>
                    <a:pt x="250" y="2008"/>
                  </a:lnTo>
                  <a:lnTo>
                    <a:pt x="250" y="378"/>
                  </a:lnTo>
                  <a:cubicBezTo>
                    <a:pt x="250" y="307"/>
                    <a:pt x="307" y="250"/>
                    <a:pt x="377" y="250"/>
                  </a:cubicBezTo>
                  <a:close/>
                  <a:moveTo>
                    <a:pt x="2425" y="3236"/>
                  </a:moveTo>
                  <a:lnTo>
                    <a:pt x="1400" y="3236"/>
                  </a:lnTo>
                  <a:lnTo>
                    <a:pt x="1462" y="2866"/>
                  </a:lnTo>
                  <a:lnTo>
                    <a:pt x="2362" y="2866"/>
                  </a:lnTo>
                  <a:lnTo>
                    <a:pt x="2425" y="3236"/>
                  </a:lnTo>
                  <a:close/>
                  <a:moveTo>
                    <a:pt x="3574" y="2489"/>
                  </a:moveTo>
                  <a:cubicBezTo>
                    <a:pt x="3574" y="2559"/>
                    <a:pt x="3517" y="2616"/>
                    <a:pt x="3447" y="2616"/>
                  </a:cubicBezTo>
                  <a:lnTo>
                    <a:pt x="377" y="2616"/>
                  </a:lnTo>
                  <a:cubicBezTo>
                    <a:pt x="307" y="2616"/>
                    <a:pt x="250" y="2559"/>
                    <a:pt x="250" y="2489"/>
                  </a:cubicBezTo>
                  <a:lnTo>
                    <a:pt x="250" y="2258"/>
                  </a:lnTo>
                  <a:lnTo>
                    <a:pt x="1300" y="2258"/>
                  </a:lnTo>
                  <a:cubicBezTo>
                    <a:pt x="1369" y="2258"/>
                    <a:pt x="1425" y="2202"/>
                    <a:pt x="1425" y="2133"/>
                  </a:cubicBezTo>
                  <a:cubicBezTo>
                    <a:pt x="1425" y="2063"/>
                    <a:pt x="1369" y="2008"/>
                    <a:pt x="1300" y="2008"/>
                  </a:cubicBezTo>
                  <a:lnTo>
                    <a:pt x="1173" y="2008"/>
                  </a:lnTo>
                  <a:cubicBezTo>
                    <a:pt x="1185" y="1968"/>
                    <a:pt x="1210" y="1930"/>
                    <a:pt x="1245" y="1898"/>
                  </a:cubicBezTo>
                  <a:cubicBezTo>
                    <a:pt x="1300" y="1848"/>
                    <a:pt x="1376" y="1820"/>
                    <a:pt x="1458" y="1820"/>
                  </a:cubicBezTo>
                  <a:lnTo>
                    <a:pt x="2367" y="1820"/>
                  </a:lnTo>
                  <a:cubicBezTo>
                    <a:pt x="2449" y="1820"/>
                    <a:pt x="2525" y="1848"/>
                    <a:pt x="2580" y="1898"/>
                  </a:cubicBezTo>
                  <a:cubicBezTo>
                    <a:pt x="2615" y="1930"/>
                    <a:pt x="2640" y="1968"/>
                    <a:pt x="2652" y="2007"/>
                  </a:cubicBezTo>
                  <a:lnTo>
                    <a:pt x="2652" y="2008"/>
                  </a:lnTo>
                  <a:lnTo>
                    <a:pt x="1823" y="2008"/>
                  </a:lnTo>
                  <a:cubicBezTo>
                    <a:pt x="1754" y="2008"/>
                    <a:pt x="1698" y="2063"/>
                    <a:pt x="1698" y="2133"/>
                  </a:cubicBezTo>
                  <a:cubicBezTo>
                    <a:pt x="1698" y="2202"/>
                    <a:pt x="1754" y="2258"/>
                    <a:pt x="1823" y="2258"/>
                  </a:cubicBezTo>
                  <a:lnTo>
                    <a:pt x="3574" y="2258"/>
                  </a:lnTo>
                  <a:lnTo>
                    <a:pt x="3574" y="2489"/>
                  </a:lnTo>
                  <a:close/>
                  <a:moveTo>
                    <a:pt x="3574" y="248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102"/>
            <p:cNvSpPr>
              <a:spLocks noEditPoints="1"/>
            </p:cNvSpPr>
            <p:nvPr/>
          </p:nvSpPr>
          <p:spPr bwMode="auto">
            <a:xfrm>
              <a:off x="4720" y="1031"/>
              <a:ext cx="34" cy="38"/>
            </a:xfrm>
            <a:custGeom>
              <a:avLst/>
              <a:gdLst>
                <a:gd name="T0" fmla="*/ 137 w 848"/>
                <a:gd name="T1" fmla="*/ 831 h 957"/>
                <a:gd name="T2" fmla="*/ 276 w 848"/>
                <a:gd name="T3" fmla="*/ 916 h 957"/>
                <a:gd name="T4" fmla="*/ 424 w 848"/>
                <a:gd name="T5" fmla="*/ 957 h 957"/>
                <a:gd name="T6" fmla="*/ 573 w 848"/>
                <a:gd name="T7" fmla="*/ 916 h 957"/>
                <a:gd name="T8" fmla="*/ 711 w 848"/>
                <a:gd name="T9" fmla="*/ 831 h 957"/>
                <a:gd name="T10" fmla="*/ 848 w 848"/>
                <a:gd name="T11" fmla="*/ 587 h 957"/>
                <a:gd name="T12" fmla="*/ 848 w 848"/>
                <a:gd name="T13" fmla="*/ 310 h 957"/>
                <a:gd name="T14" fmla="*/ 539 w 848"/>
                <a:gd name="T15" fmla="*/ 0 h 957"/>
                <a:gd name="T16" fmla="*/ 310 w 848"/>
                <a:gd name="T17" fmla="*/ 0 h 957"/>
                <a:gd name="T18" fmla="*/ 0 w 848"/>
                <a:gd name="T19" fmla="*/ 310 h 957"/>
                <a:gd name="T20" fmla="*/ 0 w 848"/>
                <a:gd name="T21" fmla="*/ 587 h 957"/>
                <a:gd name="T22" fmla="*/ 137 w 848"/>
                <a:gd name="T23" fmla="*/ 831 h 957"/>
                <a:gd name="T24" fmla="*/ 251 w 848"/>
                <a:gd name="T25" fmla="*/ 310 h 957"/>
                <a:gd name="T26" fmla="*/ 310 w 848"/>
                <a:gd name="T27" fmla="*/ 250 h 957"/>
                <a:gd name="T28" fmla="*/ 539 w 848"/>
                <a:gd name="T29" fmla="*/ 250 h 957"/>
                <a:gd name="T30" fmla="*/ 598 w 848"/>
                <a:gd name="T31" fmla="*/ 310 h 957"/>
                <a:gd name="T32" fmla="*/ 598 w 848"/>
                <a:gd name="T33" fmla="*/ 587 h 957"/>
                <a:gd name="T34" fmla="*/ 581 w 848"/>
                <a:gd name="T35" fmla="*/ 618 h 957"/>
                <a:gd name="T36" fmla="*/ 443 w 848"/>
                <a:gd name="T37" fmla="*/ 702 h 957"/>
                <a:gd name="T38" fmla="*/ 406 w 848"/>
                <a:gd name="T39" fmla="*/ 702 h 957"/>
                <a:gd name="T40" fmla="*/ 268 w 848"/>
                <a:gd name="T41" fmla="*/ 618 h 957"/>
                <a:gd name="T42" fmla="*/ 251 w 848"/>
                <a:gd name="T43" fmla="*/ 587 h 957"/>
                <a:gd name="T44" fmla="*/ 251 w 848"/>
                <a:gd name="T45" fmla="*/ 310 h 957"/>
                <a:gd name="T46" fmla="*/ 251 w 848"/>
                <a:gd name="T47" fmla="*/ 310 h 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48" h="957">
                  <a:moveTo>
                    <a:pt x="137" y="831"/>
                  </a:moveTo>
                  <a:lnTo>
                    <a:pt x="276" y="916"/>
                  </a:lnTo>
                  <a:cubicBezTo>
                    <a:pt x="322" y="943"/>
                    <a:pt x="373" y="957"/>
                    <a:pt x="424" y="957"/>
                  </a:cubicBezTo>
                  <a:cubicBezTo>
                    <a:pt x="476" y="957"/>
                    <a:pt x="527" y="943"/>
                    <a:pt x="573" y="916"/>
                  </a:cubicBezTo>
                  <a:lnTo>
                    <a:pt x="711" y="831"/>
                  </a:lnTo>
                  <a:cubicBezTo>
                    <a:pt x="796" y="780"/>
                    <a:pt x="848" y="686"/>
                    <a:pt x="848" y="587"/>
                  </a:cubicBezTo>
                  <a:lnTo>
                    <a:pt x="848" y="310"/>
                  </a:lnTo>
                  <a:cubicBezTo>
                    <a:pt x="848" y="140"/>
                    <a:pt x="709" y="0"/>
                    <a:pt x="539" y="0"/>
                  </a:cubicBezTo>
                  <a:lnTo>
                    <a:pt x="310" y="0"/>
                  </a:lnTo>
                  <a:cubicBezTo>
                    <a:pt x="139" y="0"/>
                    <a:pt x="0" y="140"/>
                    <a:pt x="0" y="310"/>
                  </a:cubicBezTo>
                  <a:lnTo>
                    <a:pt x="0" y="587"/>
                  </a:lnTo>
                  <a:cubicBezTo>
                    <a:pt x="1" y="686"/>
                    <a:pt x="53" y="780"/>
                    <a:pt x="137" y="831"/>
                  </a:cubicBezTo>
                  <a:close/>
                  <a:moveTo>
                    <a:pt x="251" y="310"/>
                  </a:moveTo>
                  <a:cubicBezTo>
                    <a:pt x="251" y="277"/>
                    <a:pt x="277" y="250"/>
                    <a:pt x="310" y="250"/>
                  </a:cubicBezTo>
                  <a:lnTo>
                    <a:pt x="539" y="250"/>
                  </a:lnTo>
                  <a:cubicBezTo>
                    <a:pt x="572" y="250"/>
                    <a:pt x="598" y="277"/>
                    <a:pt x="598" y="310"/>
                  </a:cubicBezTo>
                  <a:lnTo>
                    <a:pt x="598" y="587"/>
                  </a:lnTo>
                  <a:cubicBezTo>
                    <a:pt x="598" y="599"/>
                    <a:pt x="592" y="611"/>
                    <a:pt x="581" y="618"/>
                  </a:cubicBezTo>
                  <a:lnTo>
                    <a:pt x="443" y="702"/>
                  </a:lnTo>
                  <a:cubicBezTo>
                    <a:pt x="431" y="709"/>
                    <a:pt x="417" y="709"/>
                    <a:pt x="406" y="702"/>
                  </a:cubicBezTo>
                  <a:lnTo>
                    <a:pt x="268" y="618"/>
                  </a:lnTo>
                  <a:cubicBezTo>
                    <a:pt x="257" y="611"/>
                    <a:pt x="251" y="599"/>
                    <a:pt x="251" y="587"/>
                  </a:cubicBezTo>
                  <a:lnTo>
                    <a:pt x="251" y="310"/>
                  </a:lnTo>
                  <a:close/>
                  <a:moveTo>
                    <a:pt x="251" y="31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488090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0057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1" name="Diapositive think-cell" r:id="rId4" imgW="592" imgH="595" progId="TCLayout.ActiveDocument.1">
                  <p:embed/>
                </p:oleObj>
              </mc:Choice>
              <mc:Fallback>
                <p:oleObj name="Diapositive think-cell" r:id="rId4" imgW="592" imgH="595" progId="TCLayout.ActiveDocument.1">
                  <p:embed/>
                  <p:pic>
                    <p:nvPicPr>
                      <p:cNvPr id="12" name="Obje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98" b="8081"/>
          <a:stretch/>
        </p:blipFill>
        <p:spPr>
          <a:xfrm>
            <a:off x="-5443" y="0"/>
            <a:ext cx="12197443" cy="6858000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 rot="10800000">
            <a:off x="0" y="0"/>
            <a:ext cx="12192000" cy="6858001"/>
          </a:xfrm>
          <a:prstGeom prst="rect">
            <a:avLst/>
          </a:prstGeom>
          <a:solidFill>
            <a:schemeClr val="accent2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2956240" y="206624"/>
            <a:ext cx="62795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A136A0"/>
                </a:solidFill>
                <a:latin typeface="Montserrat" panose="00000500000000000000" pitchFamily="50" charset="0"/>
                <a:ea typeface="Lato Black" panose="020F0502020204030203" pitchFamily="34" charset="0"/>
                <a:cs typeface="Lato Black" panose="020F0502020204030203" pitchFamily="34" charset="0"/>
              </a:rPr>
              <a:t>HOW?</a:t>
            </a:r>
          </a:p>
        </p:txBody>
      </p:sp>
      <p:sp>
        <p:nvSpPr>
          <p:cNvPr id="17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521687" y="6281148"/>
            <a:ext cx="2599875" cy="365125"/>
          </a:xfrm>
        </p:spPr>
        <p:txBody>
          <a:bodyPr/>
          <a:lstStyle/>
          <a:p>
            <a:pPr algn="l" rtl="1"/>
            <a:r>
              <a:rPr lang="en-US" b="1" dirty="0">
                <a:solidFill>
                  <a:schemeClr val="bg1"/>
                </a:solidFill>
                <a:latin typeface="Montserrat"/>
              </a:rPr>
              <a:t> </a:t>
            </a:r>
            <a:r>
              <a:rPr lang="en-US" dirty="0">
                <a:solidFill>
                  <a:schemeClr val="bg1"/>
                </a:solidFill>
                <a:latin typeface="Lato Light"/>
                <a:ea typeface="Lato Light"/>
                <a:cs typeface="Lato Light"/>
              </a:rPr>
              <a:t>www.</a:t>
            </a:r>
            <a:r>
              <a:rPr lang="en-US" dirty="0">
                <a:solidFill>
                  <a:schemeClr val="bg1"/>
                </a:solidFill>
                <a:latin typeface="Lato Medium"/>
                <a:ea typeface="Lato Medium"/>
                <a:cs typeface="Lato Medium"/>
              </a:rPr>
              <a:t>be-safetech.c</a:t>
            </a:r>
            <a:r>
              <a:rPr lang="en-US" dirty="0">
                <a:solidFill>
                  <a:schemeClr val="bg1"/>
                </a:solidFill>
                <a:latin typeface="Lato Light"/>
                <a:ea typeface="Lato Light"/>
                <a:cs typeface="Lato Light"/>
              </a:rPr>
              <a:t>om</a:t>
            </a:r>
            <a:r>
              <a:rPr lang="en-US" b="1" dirty="0">
                <a:solidFill>
                  <a:schemeClr val="bg1"/>
                </a:solidFill>
                <a:latin typeface="Montserrat"/>
              </a:rPr>
              <a:t> | </a:t>
            </a:r>
            <a:fld id="{DABD2AA5-CABB-4467-8A69-C511B00C377E}" type="slidenum">
              <a:rPr lang="en-US" b="1" dirty="0" smtClean="0">
                <a:solidFill>
                  <a:schemeClr val="bg1"/>
                </a:solidFill>
                <a:latin typeface="Montserrat"/>
              </a:rPr>
              <a:pPr algn="l" rtl="1"/>
              <a:t>9</a:t>
            </a:fld>
            <a:endParaRPr lang="en-US" b="1" dirty="0">
              <a:solidFill>
                <a:schemeClr val="bg1"/>
              </a:solidFill>
              <a:latin typeface="Montserrat"/>
            </a:endParaRP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5982373"/>
            <a:ext cx="1174243" cy="542252"/>
          </a:xfrm>
          <a:prstGeom prst="rect">
            <a:avLst/>
          </a:prstGeom>
        </p:spPr>
      </p:pic>
      <p:grpSp>
        <p:nvGrpSpPr>
          <p:cNvPr id="69" name="Groupe 68"/>
          <p:cNvGrpSpPr/>
          <p:nvPr/>
        </p:nvGrpSpPr>
        <p:grpSpPr>
          <a:xfrm>
            <a:off x="1023684" y="1920945"/>
            <a:ext cx="10158425" cy="3016110"/>
            <a:chOff x="1023684" y="1756983"/>
            <a:chExt cx="10158425" cy="3016110"/>
          </a:xfrm>
        </p:grpSpPr>
        <p:sp>
          <p:nvSpPr>
            <p:cNvPr id="14" name="Rectangle 13"/>
            <p:cNvSpPr/>
            <p:nvPr/>
          </p:nvSpPr>
          <p:spPr>
            <a:xfrm>
              <a:off x="1023684" y="2346447"/>
              <a:ext cx="23711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800"/>
                </a:spcAft>
              </a:pPr>
              <a:r>
                <a:rPr lang="en-US" sz="1400" dirty="0">
                  <a:solidFill>
                    <a:schemeClr val="bg1">
                      <a:lumMod val="95000"/>
                    </a:schemeClr>
                  </a:solidFill>
                  <a:latin typeface="Lato Medium" panose="020F0502020204030203" pitchFamily="34" charset="0"/>
                  <a:ea typeface="Lato Medium" panose="020F0502020204030203" pitchFamily="34" charset="0"/>
                  <a:cs typeface="Lato Medium" panose="020F0502020204030203" pitchFamily="34" charset="0"/>
                </a:rPr>
                <a:t>Cloud Based to ensure accessibility and flexibility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970493" y="3818986"/>
              <a:ext cx="237118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800"/>
                </a:spcAft>
              </a:pPr>
              <a:r>
                <a:rPr lang="en-US" sz="1400" dirty="0">
                  <a:solidFill>
                    <a:schemeClr val="bg1">
                      <a:lumMod val="95000"/>
                    </a:schemeClr>
                  </a:solidFill>
                  <a:latin typeface="Lato Medium" panose="020F0502020204030203" pitchFamily="34" charset="0"/>
                  <a:ea typeface="Lato Medium" panose="020F0502020204030203" pitchFamily="34" charset="0"/>
                  <a:cs typeface="Lato Medium" panose="020F0502020204030203" pitchFamily="34" charset="0"/>
                </a:rPr>
                <a:t>Bespoke user modes are crucial to success, allowing both employed and subcontractor access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4917302" y="2346447"/>
              <a:ext cx="237118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800"/>
                </a:spcAft>
              </a:pPr>
              <a:r>
                <a:rPr lang="en-US" sz="1400" dirty="0">
                  <a:solidFill>
                    <a:schemeClr val="bg1">
                      <a:lumMod val="95000"/>
                    </a:schemeClr>
                  </a:solidFill>
                  <a:latin typeface="Lato Medium" panose="020F0502020204030203" pitchFamily="34" charset="0"/>
                  <a:ea typeface="Lato Medium" panose="020F0502020204030203" pitchFamily="34" charset="0"/>
                  <a:cs typeface="Lato Medium" panose="020F0502020204030203" pitchFamily="34" charset="0"/>
                </a:rPr>
                <a:t>Manage your workforce from anywhere in the world and in any language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810921" y="2346447"/>
              <a:ext cx="237118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800"/>
                </a:spcAft>
              </a:pPr>
              <a:r>
                <a:rPr lang="en-US" sz="1400" dirty="0">
                  <a:solidFill>
                    <a:schemeClr val="bg1">
                      <a:lumMod val="95000"/>
                    </a:schemeClr>
                  </a:solidFill>
                  <a:latin typeface="Lato Medium" panose="020F0502020204030203" pitchFamily="34" charset="0"/>
                  <a:ea typeface="Lato Medium" panose="020F0502020204030203" pitchFamily="34" charset="0"/>
                  <a:cs typeface="Lato Medium" panose="020F0502020204030203" pitchFamily="34" charset="0"/>
                </a:rPr>
                <a:t>License based solution where each member of the team has a license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864111" y="3818986"/>
              <a:ext cx="237118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800"/>
                </a:spcAft>
              </a:pPr>
              <a:r>
                <a:rPr lang="en-US" sz="1400" dirty="0">
                  <a:solidFill>
                    <a:schemeClr val="bg1">
                      <a:lumMod val="95000"/>
                    </a:schemeClr>
                  </a:solidFill>
                  <a:latin typeface="Lato Medium" panose="020F0502020204030203" pitchFamily="34" charset="0"/>
                  <a:ea typeface="Lato Medium" panose="020F0502020204030203" pitchFamily="34" charset="0"/>
                  <a:cs typeface="Lato Medium" panose="020F0502020204030203" pitchFamily="34" charset="0"/>
                </a:rPr>
                <a:t>Enables you to track ALL your workforce and allows all of  your workforce to benefit </a:t>
              </a:r>
            </a:p>
          </p:txBody>
        </p:sp>
        <p:grpSp>
          <p:nvGrpSpPr>
            <p:cNvPr id="31" name="Group 65"/>
            <p:cNvGrpSpPr>
              <a:grpSpLocks noChangeAspect="1"/>
            </p:cNvGrpSpPr>
            <p:nvPr/>
          </p:nvGrpSpPr>
          <p:grpSpPr bwMode="auto">
            <a:xfrm>
              <a:off x="5900009" y="1756983"/>
              <a:ext cx="506512" cy="540000"/>
              <a:chOff x="5636" y="61"/>
              <a:chExt cx="363" cy="387"/>
            </a:xfrm>
            <a:solidFill>
              <a:schemeClr val="bg1"/>
            </a:solidFill>
          </p:grpSpPr>
          <p:sp>
            <p:nvSpPr>
              <p:cNvPr id="32" name="Freeform 66"/>
              <p:cNvSpPr>
                <a:spLocks noEditPoints="1"/>
              </p:cNvSpPr>
              <p:nvPr/>
            </p:nvSpPr>
            <p:spPr bwMode="auto">
              <a:xfrm>
                <a:off x="5636" y="61"/>
                <a:ext cx="363" cy="387"/>
              </a:xfrm>
              <a:custGeom>
                <a:avLst/>
                <a:gdLst>
                  <a:gd name="T0" fmla="*/ 6009 w 6017"/>
                  <a:gd name="T1" fmla="*/ 1596 h 6400"/>
                  <a:gd name="T2" fmla="*/ 5308 w 6017"/>
                  <a:gd name="T3" fmla="*/ 844 h 6400"/>
                  <a:gd name="T4" fmla="*/ 4845 w 6017"/>
                  <a:gd name="T5" fmla="*/ 1010 h 6400"/>
                  <a:gd name="T6" fmla="*/ 1753 w 6017"/>
                  <a:gd name="T7" fmla="*/ 658 h 6400"/>
                  <a:gd name="T8" fmla="*/ 1054 w 6017"/>
                  <a:gd name="T9" fmla="*/ 0 h 6400"/>
                  <a:gd name="T10" fmla="*/ 548 w 6017"/>
                  <a:gd name="T11" fmla="*/ 205 h 6400"/>
                  <a:gd name="T12" fmla="*/ 645 w 6017"/>
                  <a:gd name="T13" fmla="*/ 1530 h 6400"/>
                  <a:gd name="T14" fmla="*/ 253 w 6017"/>
                  <a:gd name="T15" fmla="*/ 2435 h 6400"/>
                  <a:gd name="T16" fmla="*/ 374 w 6017"/>
                  <a:gd name="T17" fmla="*/ 2381 h 6400"/>
                  <a:gd name="T18" fmla="*/ 758 w 6017"/>
                  <a:gd name="T19" fmla="*/ 1752 h 6400"/>
                  <a:gd name="T20" fmla="*/ 887 w 6017"/>
                  <a:gd name="T21" fmla="*/ 2419 h 6400"/>
                  <a:gd name="T22" fmla="*/ 1135 w 6017"/>
                  <a:gd name="T23" fmla="*/ 2404 h 6400"/>
                  <a:gd name="T24" fmla="*/ 1789 w 6017"/>
                  <a:gd name="T25" fmla="*/ 2071 h 6400"/>
                  <a:gd name="T26" fmla="*/ 2664 w 6017"/>
                  <a:gd name="T27" fmla="*/ 1888 h 6400"/>
                  <a:gd name="T28" fmla="*/ 3108 w 6017"/>
                  <a:gd name="T29" fmla="*/ 934 h 6400"/>
                  <a:gd name="T30" fmla="*/ 2867 w 6017"/>
                  <a:gd name="T31" fmla="*/ 575 h 6400"/>
                  <a:gd name="T32" fmla="*/ 4718 w 6017"/>
                  <a:gd name="T33" fmla="*/ 1148 h 6400"/>
                  <a:gd name="T34" fmla="*/ 4656 w 6017"/>
                  <a:gd name="T35" fmla="*/ 1926 h 6400"/>
                  <a:gd name="T36" fmla="*/ 4925 w 6017"/>
                  <a:gd name="T37" fmla="*/ 2929 h 6400"/>
                  <a:gd name="T38" fmla="*/ 5815 w 6017"/>
                  <a:gd name="T39" fmla="*/ 3184 h 6400"/>
                  <a:gd name="T40" fmla="*/ 5829 w 6017"/>
                  <a:gd name="T41" fmla="*/ 3392 h 6400"/>
                  <a:gd name="T42" fmla="*/ 187 w 6017"/>
                  <a:gd name="T43" fmla="*/ 3392 h 6400"/>
                  <a:gd name="T44" fmla="*/ 192 w 6017"/>
                  <a:gd name="T45" fmla="*/ 2633 h 6400"/>
                  <a:gd name="T46" fmla="*/ 0 w 6017"/>
                  <a:gd name="T47" fmla="*/ 3392 h 6400"/>
                  <a:gd name="T48" fmla="*/ 3008 w 6017"/>
                  <a:gd name="T49" fmla="*/ 6400 h 6400"/>
                  <a:gd name="T50" fmla="*/ 6016 w 6017"/>
                  <a:gd name="T51" fmla="*/ 3392 h 6400"/>
                  <a:gd name="T52" fmla="*/ 679 w 6017"/>
                  <a:gd name="T53" fmla="*/ 338 h 6400"/>
                  <a:gd name="T54" fmla="*/ 1052 w 6017"/>
                  <a:gd name="T55" fmla="*/ 187 h 6400"/>
                  <a:gd name="T56" fmla="*/ 1568 w 6017"/>
                  <a:gd name="T57" fmla="*/ 744 h 6400"/>
                  <a:gd name="T58" fmla="*/ 1021 w 6017"/>
                  <a:gd name="T59" fmla="*/ 1678 h 6400"/>
                  <a:gd name="T60" fmla="*/ 679 w 6017"/>
                  <a:gd name="T61" fmla="*/ 338 h 6400"/>
                  <a:gd name="T62" fmla="*/ 2967 w 6017"/>
                  <a:gd name="T63" fmla="*/ 1057 h 6400"/>
                  <a:gd name="T64" fmla="*/ 2532 w 6017"/>
                  <a:gd name="T65" fmla="*/ 1755 h 6400"/>
                  <a:gd name="T66" fmla="*/ 1789 w 6017"/>
                  <a:gd name="T67" fmla="*/ 1884 h 6400"/>
                  <a:gd name="T68" fmla="*/ 1028 w 6017"/>
                  <a:gd name="T69" fmla="*/ 2250 h 6400"/>
                  <a:gd name="T70" fmla="*/ 945 w 6017"/>
                  <a:gd name="T71" fmla="*/ 2207 h 6400"/>
                  <a:gd name="T72" fmla="*/ 1047 w 6017"/>
                  <a:gd name="T73" fmla="*/ 1876 h 6400"/>
                  <a:gd name="T74" fmla="*/ 1744 w 6017"/>
                  <a:gd name="T75" fmla="*/ 870 h 6400"/>
                  <a:gd name="T76" fmla="*/ 2759 w 6017"/>
                  <a:gd name="T77" fmla="*/ 819 h 6400"/>
                  <a:gd name="T78" fmla="*/ 5306 w 6017"/>
                  <a:gd name="T79" fmla="*/ 1032 h 6400"/>
                  <a:gd name="T80" fmla="*/ 5822 w 6017"/>
                  <a:gd name="T81" fmla="*/ 1588 h 6400"/>
                  <a:gd name="T82" fmla="*/ 5275 w 6017"/>
                  <a:gd name="T83" fmla="*/ 2523 h 6400"/>
                  <a:gd name="T84" fmla="*/ 4933 w 6017"/>
                  <a:gd name="T85" fmla="*/ 1183 h 6400"/>
                  <a:gd name="T86" fmla="*/ 5711 w 6017"/>
                  <a:gd name="T87" fmla="*/ 3028 h 6400"/>
                  <a:gd name="T88" fmla="*/ 5096 w 6017"/>
                  <a:gd name="T89" fmla="*/ 2852 h 6400"/>
                  <a:gd name="T90" fmla="*/ 4873 w 6017"/>
                  <a:gd name="T91" fmla="*/ 2338 h 6400"/>
                  <a:gd name="T92" fmla="*/ 5300 w 6017"/>
                  <a:gd name="T93" fmla="*/ 2720 h 6400"/>
                  <a:gd name="T94" fmla="*/ 5660 w 6017"/>
                  <a:gd name="T95" fmla="*/ 2428 h 6400"/>
                  <a:gd name="T96" fmla="*/ 5711 w 6017"/>
                  <a:gd name="T97" fmla="*/ 3028 h 6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017" h="6400">
                    <a:moveTo>
                      <a:pt x="5789" y="2244"/>
                    </a:moveTo>
                    <a:cubicBezTo>
                      <a:pt x="5905" y="2059"/>
                      <a:pt x="5999" y="1836"/>
                      <a:pt x="6009" y="1596"/>
                    </a:cubicBezTo>
                    <a:cubicBezTo>
                      <a:pt x="6017" y="1400"/>
                      <a:pt x="5945" y="1206"/>
                      <a:pt x="5810" y="1065"/>
                    </a:cubicBezTo>
                    <a:cubicBezTo>
                      <a:pt x="5677" y="925"/>
                      <a:pt x="5499" y="847"/>
                      <a:pt x="5308" y="844"/>
                    </a:cubicBezTo>
                    <a:cubicBezTo>
                      <a:pt x="5305" y="844"/>
                      <a:pt x="5303" y="844"/>
                      <a:pt x="5300" y="844"/>
                    </a:cubicBezTo>
                    <a:cubicBezTo>
                      <a:pt x="5132" y="844"/>
                      <a:pt x="4973" y="903"/>
                      <a:pt x="4845" y="1010"/>
                    </a:cubicBezTo>
                    <a:cubicBezTo>
                      <a:pt x="4321" y="606"/>
                      <a:pt x="3672" y="384"/>
                      <a:pt x="3008" y="384"/>
                    </a:cubicBezTo>
                    <a:cubicBezTo>
                      <a:pt x="2575" y="384"/>
                      <a:pt x="2144" y="478"/>
                      <a:pt x="1753" y="658"/>
                    </a:cubicBezTo>
                    <a:cubicBezTo>
                      <a:pt x="1739" y="495"/>
                      <a:pt x="1670" y="339"/>
                      <a:pt x="1557" y="220"/>
                    </a:cubicBezTo>
                    <a:cubicBezTo>
                      <a:pt x="1424" y="80"/>
                      <a:pt x="1246" y="2"/>
                      <a:pt x="1054" y="0"/>
                    </a:cubicBezTo>
                    <a:cubicBezTo>
                      <a:pt x="1052" y="0"/>
                      <a:pt x="1049" y="0"/>
                      <a:pt x="1047" y="0"/>
                    </a:cubicBezTo>
                    <a:cubicBezTo>
                      <a:pt x="858" y="0"/>
                      <a:pt x="681" y="73"/>
                      <a:pt x="548" y="205"/>
                    </a:cubicBezTo>
                    <a:cubicBezTo>
                      <a:pt x="412" y="339"/>
                      <a:pt x="337" y="519"/>
                      <a:pt x="337" y="710"/>
                    </a:cubicBezTo>
                    <a:cubicBezTo>
                      <a:pt x="337" y="1025"/>
                      <a:pt x="485" y="1312"/>
                      <a:pt x="645" y="1530"/>
                    </a:cubicBezTo>
                    <a:cubicBezTo>
                      <a:pt x="457" y="1768"/>
                      <a:pt x="307" y="2032"/>
                      <a:pt x="199" y="2314"/>
                    </a:cubicBezTo>
                    <a:cubicBezTo>
                      <a:pt x="180" y="2362"/>
                      <a:pt x="204" y="2416"/>
                      <a:pt x="253" y="2435"/>
                    </a:cubicBezTo>
                    <a:cubicBezTo>
                      <a:pt x="264" y="2439"/>
                      <a:pt x="275" y="2441"/>
                      <a:pt x="286" y="2441"/>
                    </a:cubicBezTo>
                    <a:cubicBezTo>
                      <a:pt x="324" y="2441"/>
                      <a:pt x="359" y="2418"/>
                      <a:pt x="374" y="2381"/>
                    </a:cubicBezTo>
                    <a:cubicBezTo>
                      <a:pt x="469" y="2132"/>
                      <a:pt x="600" y="1898"/>
                      <a:pt x="762" y="1685"/>
                    </a:cubicBezTo>
                    <a:cubicBezTo>
                      <a:pt x="759" y="1708"/>
                      <a:pt x="758" y="1730"/>
                      <a:pt x="758" y="1752"/>
                    </a:cubicBezTo>
                    <a:lnTo>
                      <a:pt x="758" y="2207"/>
                    </a:lnTo>
                    <a:cubicBezTo>
                      <a:pt x="758" y="2296"/>
                      <a:pt x="807" y="2378"/>
                      <a:pt x="887" y="2419"/>
                    </a:cubicBezTo>
                    <a:cubicBezTo>
                      <a:pt x="922" y="2438"/>
                      <a:pt x="960" y="2447"/>
                      <a:pt x="998" y="2447"/>
                    </a:cubicBezTo>
                    <a:cubicBezTo>
                      <a:pt x="1046" y="2447"/>
                      <a:pt x="1094" y="2432"/>
                      <a:pt x="1135" y="2404"/>
                    </a:cubicBezTo>
                    <a:lnTo>
                      <a:pt x="1470" y="2171"/>
                    </a:lnTo>
                    <a:cubicBezTo>
                      <a:pt x="1564" y="2106"/>
                      <a:pt x="1674" y="2071"/>
                      <a:pt x="1789" y="2071"/>
                    </a:cubicBezTo>
                    <a:lnTo>
                      <a:pt x="2221" y="2071"/>
                    </a:lnTo>
                    <a:cubicBezTo>
                      <a:pt x="2388" y="2071"/>
                      <a:pt x="2546" y="2006"/>
                      <a:pt x="2664" y="1888"/>
                    </a:cubicBezTo>
                    <a:lnTo>
                      <a:pt x="3090" y="1461"/>
                    </a:lnTo>
                    <a:cubicBezTo>
                      <a:pt x="3233" y="1318"/>
                      <a:pt x="3241" y="1086"/>
                      <a:pt x="3108" y="934"/>
                    </a:cubicBezTo>
                    <a:lnTo>
                      <a:pt x="2901" y="696"/>
                    </a:lnTo>
                    <a:cubicBezTo>
                      <a:pt x="2871" y="662"/>
                      <a:pt x="2860" y="618"/>
                      <a:pt x="2867" y="575"/>
                    </a:cubicBezTo>
                    <a:cubicBezTo>
                      <a:pt x="2914" y="573"/>
                      <a:pt x="2961" y="571"/>
                      <a:pt x="3008" y="571"/>
                    </a:cubicBezTo>
                    <a:cubicBezTo>
                      <a:pt x="3625" y="571"/>
                      <a:pt x="4229" y="776"/>
                      <a:pt x="4718" y="1148"/>
                    </a:cubicBezTo>
                    <a:cubicBezTo>
                      <a:pt x="4635" y="1266"/>
                      <a:pt x="4590" y="1407"/>
                      <a:pt x="4590" y="1554"/>
                    </a:cubicBezTo>
                    <a:cubicBezTo>
                      <a:pt x="4590" y="1684"/>
                      <a:pt x="4616" y="1809"/>
                      <a:pt x="4656" y="1926"/>
                    </a:cubicBezTo>
                    <a:cubicBezTo>
                      <a:pt x="4629" y="2129"/>
                      <a:pt x="4658" y="2336"/>
                      <a:pt x="4743" y="2524"/>
                    </a:cubicBezTo>
                    <a:lnTo>
                      <a:pt x="4925" y="2929"/>
                    </a:lnTo>
                    <a:cubicBezTo>
                      <a:pt x="5022" y="3146"/>
                      <a:pt x="5239" y="3287"/>
                      <a:pt x="5477" y="3287"/>
                    </a:cubicBezTo>
                    <a:cubicBezTo>
                      <a:pt x="5598" y="3287"/>
                      <a:pt x="5715" y="3251"/>
                      <a:pt x="5815" y="3184"/>
                    </a:cubicBezTo>
                    <a:lnTo>
                      <a:pt x="5821" y="3180"/>
                    </a:lnTo>
                    <a:cubicBezTo>
                      <a:pt x="5826" y="3250"/>
                      <a:pt x="5829" y="3321"/>
                      <a:pt x="5829" y="3392"/>
                    </a:cubicBezTo>
                    <a:cubicBezTo>
                      <a:pt x="5829" y="4947"/>
                      <a:pt x="4563" y="6213"/>
                      <a:pt x="3008" y="6213"/>
                    </a:cubicBezTo>
                    <a:cubicBezTo>
                      <a:pt x="1453" y="6213"/>
                      <a:pt x="187" y="4947"/>
                      <a:pt x="187" y="3392"/>
                    </a:cubicBezTo>
                    <a:cubicBezTo>
                      <a:pt x="187" y="3174"/>
                      <a:pt x="212" y="2956"/>
                      <a:pt x="262" y="2746"/>
                    </a:cubicBezTo>
                    <a:cubicBezTo>
                      <a:pt x="273" y="2695"/>
                      <a:pt x="242" y="2645"/>
                      <a:pt x="192" y="2633"/>
                    </a:cubicBezTo>
                    <a:cubicBezTo>
                      <a:pt x="141" y="2621"/>
                      <a:pt x="91" y="2653"/>
                      <a:pt x="79" y="2703"/>
                    </a:cubicBezTo>
                    <a:cubicBezTo>
                      <a:pt x="27" y="2927"/>
                      <a:pt x="0" y="3159"/>
                      <a:pt x="0" y="3392"/>
                    </a:cubicBezTo>
                    <a:cubicBezTo>
                      <a:pt x="0" y="4195"/>
                      <a:pt x="313" y="4951"/>
                      <a:pt x="881" y="5519"/>
                    </a:cubicBezTo>
                    <a:cubicBezTo>
                      <a:pt x="1449" y="6087"/>
                      <a:pt x="2205" y="6400"/>
                      <a:pt x="3008" y="6400"/>
                    </a:cubicBezTo>
                    <a:cubicBezTo>
                      <a:pt x="3811" y="6400"/>
                      <a:pt x="4567" y="6087"/>
                      <a:pt x="5135" y="5519"/>
                    </a:cubicBezTo>
                    <a:cubicBezTo>
                      <a:pt x="5703" y="4951"/>
                      <a:pt x="6016" y="4195"/>
                      <a:pt x="6016" y="3392"/>
                    </a:cubicBezTo>
                    <a:cubicBezTo>
                      <a:pt x="6016" y="2994"/>
                      <a:pt x="5940" y="2608"/>
                      <a:pt x="5789" y="2244"/>
                    </a:cubicBezTo>
                    <a:close/>
                    <a:moveTo>
                      <a:pt x="679" y="338"/>
                    </a:moveTo>
                    <a:cubicBezTo>
                      <a:pt x="778" y="241"/>
                      <a:pt x="908" y="187"/>
                      <a:pt x="1047" y="187"/>
                    </a:cubicBezTo>
                    <a:cubicBezTo>
                      <a:pt x="1049" y="187"/>
                      <a:pt x="1050" y="187"/>
                      <a:pt x="1052" y="187"/>
                    </a:cubicBezTo>
                    <a:cubicBezTo>
                      <a:pt x="1192" y="189"/>
                      <a:pt x="1323" y="246"/>
                      <a:pt x="1421" y="349"/>
                    </a:cubicBezTo>
                    <a:cubicBezTo>
                      <a:pt x="1521" y="454"/>
                      <a:pt x="1574" y="598"/>
                      <a:pt x="1568" y="744"/>
                    </a:cubicBezTo>
                    <a:cubicBezTo>
                      <a:pt x="1551" y="1161"/>
                      <a:pt x="1216" y="1536"/>
                      <a:pt x="1072" y="1678"/>
                    </a:cubicBezTo>
                    <a:cubicBezTo>
                      <a:pt x="1058" y="1692"/>
                      <a:pt x="1035" y="1692"/>
                      <a:pt x="1021" y="1678"/>
                    </a:cubicBezTo>
                    <a:cubicBezTo>
                      <a:pt x="872" y="1530"/>
                      <a:pt x="524" y="1140"/>
                      <a:pt x="524" y="710"/>
                    </a:cubicBezTo>
                    <a:cubicBezTo>
                      <a:pt x="524" y="569"/>
                      <a:pt x="579" y="437"/>
                      <a:pt x="679" y="338"/>
                    </a:cubicBezTo>
                    <a:close/>
                    <a:moveTo>
                      <a:pt x="2759" y="819"/>
                    </a:moveTo>
                    <a:lnTo>
                      <a:pt x="2967" y="1057"/>
                    </a:lnTo>
                    <a:cubicBezTo>
                      <a:pt x="3036" y="1136"/>
                      <a:pt x="3032" y="1255"/>
                      <a:pt x="2958" y="1329"/>
                    </a:cubicBezTo>
                    <a:lnTo>
                      <a:pt x="2532" y="1755"/>
                    </a:lnTo>
                    <a:cubicBezTo>
                      <a:pt x="2448" y="1838"/>
                      <a:pt x="2338" y="1884"/>
                      <a:pt x="2221" y="1884"/>
                    </a:cubicBezTo>
                    <a:lnTo>
                      <a:pt x="1789" y="1884"/>
                    </a:lnTo>
                    <a:cubicBezTo>
                      <a:pt x="1636" y="1884"/>
                      <a:pt x="1489" y="1930"/>
                      <a:pt x="1364" y="2017"/>
                    </a:cubicBezTo>
                    <a:lnTo>
                      <a:pt x="1028" y="2250"/>
                    </a:lnTo>
                    <a:cubicBezTo>
                      <a:pt x="1004" y="2266"/>
                      <a:pt x="982" y="2258"/>
                      <a:pt x="974" y="2253"/>
                    </a:cubicBezTo>
                    <a:cubicBezTo>
                      <a:pt x="965" y="2249"/>
                      <a:pt x="945" y="2236"/>
                      <a:pt x="945" y="2207"/>
                    </a:cubicBezTo>
                    <a:lnTo>
                      <a:pt x="945" y="1852"/>
                    </a:lnTo>
                    <a:cubicBezTo>
                      <a:pt x="977" y="1868"/>
                      <a:pt x="1012" y="1876"/>
                      <a:pt x="1047" y="1876"/>
                    </a:cubicBezTo>
                    <a:cubicBezTo>
                      <a:pt x="1104" y="1876"/>
                      <a:pt x="1161" y="1854"/>
                      <a:pt x="1204" y="1811"/>
                    </a:cubicBezTo>
                    <a:cubicBezTo>
                      <a:pt x="1385" y="1632"/>
                      <a:pt x="1679" y="1284"/>
                      <a:pt x="1744" y="870"/>
                    </a:cubicBezTo>
                    <a:cubicBezTo>
                      <a:pt x="2035" y="724"/>
                      <a:pt x="2352" y="629"/>
                      <a:pt x="2678" y="591"/>
                    </a:cubicBezTo>
                    <a:cubicBezTo>
                      <a:pt x="2676" y="673"/>
                      <a:pt x="2704" y="755"/>
                      <a:pt x="2759" y="819"/>
                    </a:cubicBezTo>
                    <a:close/>
                    <a:moveTo>
                      <a:pt x="5300" y="1032"/>
                    </a:moveTo>
                    <a:cubicBezTo>
                      <a:pt x="5302" y="1032"/>
                      <a:pt x="5304" y="1032"/>
                      <a:pt x="5306" y="1032"/>
                    </a:cubicBezTo>
                    <a:cubicBezTo>
                      <a:pt x="5446" y="1033"/>
                      <a:pt x="5577" y="1091"/>
                      <a:pt x="5674" y="1194"/>
                    </a:cubicBezTo>
                    <a:cubicBezTo>
                      <a:pt x="5774" y="1299"/>
                      <a:pt x="5828" y="1443"/>
                      <a:pt x="5822" y="1588"/>
                    </a:cubicBezTo>
                    <a:cubicBezTo>
                      <a:pt x="5804" y="2005"/>
                      <a:pt x="5469" y="2381"/>
                      <a:pt x="5326" y="2523"/>
                    </a:cubicBezTo>
                    <a:cubicBezTo>
                      <a:pt x="5312" y="2537"/>
                      <a:pt x="5289" y="2537"/>
                      <a:pt x="5275" y="2523"/>
                    </a:cubicBezTo>
                    <a:cubicBezTo>
                      <a:pt x="5125" y="2375"/>
                      <a:pt x="4778" y="1984"/>
                      <a:pt x="4778" y="1554"/>
                    </a:cubicBezTo>
                    <a:cubicBezTo>
                      <a:pt x="4778" y="1413"/>
                      <a:pt x="4833" y="1282"/>
                      <a:pt x="4933" y="1183"/>
                    </a:cubicBezTo>
                    <a:cubicBezTo>
                      <a:pt x="5031" y="1085"/>
                      <a:pt x="5161" y="1032"/>
                      <a:pt x="5300" y="1032"/>
                    </a:cubicBezTo>
                    <a:close/>
                    <a:moveTo>
                      <a:pt x="5711" y="3028"/>
                    </a:moveTo>
                    <a:cubicBezTo>
                      <a:pt x="5641" y="3075"/>
                      <a:pt x="5561" y="3099"/>
                      <a:pt x="5477" y="3099"/>
                    </a:cubicBezTo>
                    <a:cubicBezTo>
                      <a:pt x="5313" y="3099"/>
                      <a:pt x="5163" y="3003"/>
                      <a:pt x="5096" y="2852"/>
                    </a:cubicBezTo>
                    <a:lnTo>
                      <a:pt x="4913" y="2447"/>
                    </a:lnTo>
                    <a:cubicBezTo>
                      <a:pt x="4897" y="2411"/>
                      <a:pt x="4884" y="2375"/>
                      <a:pt x="4873" y="2338"/>
                    </a:cubicBezTo>
                    <a:cubicBezTo>
                      <a:pt x="4965" y="2469"/>
                      <a:pt x="5064" y="2578"/>
                      <a:pt x="5143" y="2656"/>
                    </a:cubicBezTo>
                    <a:cubicBezTo>
                      <a:pt x="5186" y="2699"/>
                      <a:pt x="5243" y="2720"/>
                      <a:pt x="5300" y="2720"/>
                    </a:cubicBezTo>
                    <a:cubicBezTo>
                      <a:pt x="5357" y="2720"/>
                      <a:pt x="5414" y="2699"/>
                      <a:pt x="5457" y="2656"/>
                    </a:cubicBezTo>
                    <a:cubicBezTo>
                      <a:pt x="5517" y="2597"/>
                      <a:pt x="5588" y="2520"/>
                      <a:pt x="5660" y="2428"/>
                    </a:cubicBezTo>
                    <a:cubicBezTo>
                      <a:pt x="5724" y="2604"/>
                      <a:pt x="5770" y="2785"/>
                      <a:pt x="5798" y="2970"/>
                    </a:cubicBezTo>
                    <a:lnTo>
                      <a:pt x="5711" y="3028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67"/>
              <p:cNvSpPr>
                <a:spLocks noEditPoints="1"/>
              </p:cNvSpPr>
              <p:nvPr/>
            </p:nvSpPr>
            <p:spPr bwMode="auto">
              <a:xfrm>
                <a:off x="5932" y="132"/>
                <a:ext cx="48" cy="48"/>
              </a:xfrm>
              <a:custGeom>
                <a:avLst/>
                <a:gdLst>
                  <a:gd name="T0" fmla="*/ 395 w 790"/>
                  <a:gd name="T1" fmla="*/ 790 h 790"/>
                  <a:gd name="T2" fmla="*/ 790 w 790"/>
                  <a:gd name="T3" fmla="*/ 395 h 790"/>
                  <a:gd name="T4" fmla="*/ 395 w 790"/>
                  <a:gd name="T5" fmla="*/ 0 h 790"/>
                  <a:gd name="T6" fmla="*/ 0 w 790"/>
                  <a:gd name="T7" fmla="*/ 395 h 790"/>
                  <a:gd name="T8" fmla="*/ 395 w 790"/>
                  <a:gd name="T9" fmla="*/ 790 h 790"/>
                  <a:gd name="T10" fmla="*/ 395 w 790"/>
                  <a:gd name="T11" fmla="*/ 187 h 790"/>
                  <a:gd name="T12" fmla="*/ 603 w 790"/>
                  <a:gd name="T13" fmla="*/ 395 h 790"/>
                  <a:gd name="T14" fmla="*/ 395 w 790"/>
                  <a:gd name="T15" fmla="*/ 603 h 790"/>
                  <a:gd name="T16" fmla="*/ 187 w 790"/>
                  <a:gd name="T17" fmla="*/ 395 h 790"/>
                  <a:gd name="T18" fmla="*/ 395 w 790"/>
                  <a:gd name="T19" fmla="*/ 187 h 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0" h="790">
                    <a:moveTo>
                      <a:pt x="395" y="790"/>
                    </a:moveTo>
                    <a:cubicBezTo>
                      <a:pt x="613" y="790"/>
                      <a:pt x="790" y="613"/>
                      <a:pt x="790" y="395"/>
                    </a:cubicBezTo>
                    <a:cubicBezTo>
                      <a:pt x="790" y="177"/>
                      <a:pt x="613" y="0"/>
                      <a:pt x="395" y="0"/>
                    </a:cubicBezTo>
                    <a:cubicBezTo>
                      <a:pt x="177" y="0"/>
                      <a:pt x="0" y="177"/>
                      <a:pt x="0" y="395"/>
                    </a:cubicBezTo>
                    <a:cubicBezTo>
                      <a:pt x="0" y="613"/>
                      <a:pt x="177" y="790"/>
                      <a:pt x="395" y="790"/>
                    </a:cubicBezTo>
                    <a:close/>
                    <a:moveTo>
                      <a:pt x="395" y="187"/>
                    </a:moveTo>
                    <a:cubicBezTo>
                      <a:pt x="510" y="187"/>
                      <a:pt x="603" y="281"/>
                      <a:pt x="603" y="395"/>
                    </a:cubicBezTo>
                    <a:cubicBezTo>
                      <a:pt x="603" y="510"/>
                      <a:pt x="510" y="603"/>
                      <a:pt x="395" y="603"/>
                    </a:cubicBezTo>
                    <a:cubicBezTo>
                      <a:pt x="280" y="603"/>
                      <a:pt x="187" y="510"/>
                      <a:pt x="187" y="395"/>
                    </a:cubicBezTo>
                    <a:cubicBezTo>
                      <a:pt x="187" y="281"/>
                      <a:pt x="280" y="187"/>
                      <a:pt x="395" y="18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68"/>
              <p:cNvSpPr>
                <a:spLocks noEditPoints="1"/>
              </p:cNvSpPr>
              <p:nvPr/>
            </p:nvSpPr>
            <p:spPr bwMode="auto">
              <a:xfrm>
                <a:off x="5736" y="171"/>
                <a:ext cx="178" cy="249"/>
              </a:xfrm>
              <a:custGeom>
                <a:avLst/>
                <a:gdLst>
                  <a:gd name="T0" fmla="*/ 1706 w 2944"/>
                  <a:gd name="T1" fmla="*/ 0 h 4113"/>
                  <a:gd name="T2" fmla="*/ 1199 w 2944"/>
                  <a:gd name="T3" fmla="*/ 205 h 4113"/>
                  <a:gd name="T4" fmla="*/ 452 w 2944"/>
                  <a:gd name="T5" fmla="*/ 836 h 4113"/>
                  <a:gd name="T6" fmla="*/ 94 w 2944"/>
                  <a:gd name="T7" fmla="*/ 1866 h 4113"/>
                  <a:gd name="T8" fmla="*/ 488 w 2944"/>
                  <a:gd name="T9" fmla="*/ 3154 h 4113"/>
                  <a:gd name="T10" fmla="*/ 632 w 2944"/>
                  <a:gd name="T11" fmla="*/ 4041 h 4113"/>
                  <a:gd name="T12" fmla="*/ 1082 w 2944"/>
                  <a:gd name="T13" fmla="*/ 4043 h 4113"/>
                  <a:gd name="T14" fmla="*/ 2288 w 2944"/>
                  <a:gd name="T15" fmla="*/ 3103 h 4113"/>
                  <a:gd name="T16" fmla="*/ 2526 w 2944"/>
                  <a:gd name="T17" fmla="*/ 2605 h 4113"/>
                  <a:gd name="T18" fmla="*/ 2135 w 2944"/>
                  <a:gd name="T19" fmla="*/ 2995 h 4113"/>
                  <a:gd name="T20" fmla="*/ 975 w 2944"/>
                  <a:gd name="T21" fmla="*/ 3890 h 4113"/>
                  <a:gd name="T22" fmla="*/ 655 w 2944"/>
                  <a:gd name="T23" fmla="*/ 3715 h 4113"/>
                  <a:gd name="T24" fmla="*/ 743 w 2944"/>
                  <a:gd name="T25" fmla="*/ 3321 h 4113"/>
                  <a:gd name="T26" fmla="*/ 1451 w 2944"/>
                  <a:gd name="T27" fmla="*/ 2196 h 4113"/>
                  <a:gd name="T28" fmla="*/ 750 w 2944"/>
                  <a:gd name="T29" fmla="*/ 1445 h 4113"/>
                  <a:gd name="T30" fmla="*/ 225 w 2944"/>
                  <a:gd name="T31" fmla="*/ 1669 h 4113"/>
                  <a:gd name="T32" fmla="*/ 605 w 2944"/>
                  <a:gd name="T33" fmla="*/ 944 h 4113"/>
                  <a:gd name="T34" fmla="*/ 1540 w 2944"/>
                  <a:gd name="T35" fmla="*/ 1811 h 4113"/>
                  <a:gd name="T36" fmla="*/ 1855 w 2944"/>
                  <a:gd name="T37" fmla="*/ 1811 h 4113"/>
                  <a:gd name="T38" fmla="*/ 2624 w 2944"/>
                  <a:gd name="T39" fmla="*/ 1819 h 4113"/>
                  <a:gd name="T40" fmla="*/ 2691 w 2944"/>
                  <a:gd name="T41" fmla="*/ 2211 h 4113"/>
                  <a:gd name="T42" fmla="*/ 2645 w 2944"/>
                  <a:gd name="T43" fmla="*/ 2438 h 4113"/>
                  <a:gd name="T44" fmla="*/ 2775 w 2944"/>
                  <a:gd name="T45" fmla="*/ 2415 h 4113"/>
                  <a:gd name="T46" fmla="*/ 2923 w 2944"/>
                  <a:gd name="T47" fmla="*/ 1969 h 4113"/>
                  <a:gd name="T48" fmla="*/ 2236 w 2944"/>
                  <a:gd name="T49" fmla="*/ 1315 h 4113"/>
                  <a:gd name="T50" fmla="*/ 2208 w 2944"/>
                  <a:gd name="T51" fmla="*/ 220 h 4113"/>
                  <a:gd name="T52" fmla="*/ 748 w 2944"/>
                  <a:gd name="T53" fmla="*/ 1632 h 4113"/>
                  <a:gd name="T54" fmla="*/ 1264 w 2944"/>
                  <a:gd name="T55" fmla="*/ 2189 h 4113"/>
                  <a:gd name="T56" fmla="*/ 717 w 2944"/>
                  <a:gd name="T57" fmla="*/ 3123 h 4113"/>
                  <a:gd name="T58" fmla="*/ 375 w 2944"/>
                  <a:gd name="T59" fmla="*/ 1783 h 4113"/>
                  <a:gd name="T60" fmla="*/ 1723 w 2944"/>
                  <a:gd name="T61" fmla="*/ 1678 h 4113"/>
                  <a:gd name="T62" fmla="*/ 1175 w 2944"/>
                  <a:gd name="T63" fmla="*/ 710 h 4113"/>
                  <a:gd name="T64" fmla="*/ 1698 w 2944"/>
                  <a:gd name="T65" fmla="*/ 187 h 4113"/>
                  <a:gd name="T66" fmla="*/ 2072 w 2944"/>
                  <a:gd name="T67" fmla="*/ 349 h 4113"/>
                  <a:gd name="T68" fmla="*/ 1723 w 2944"/>
                  <a:gd name="T69" fmla="*/ 1678 h 4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44" h="4113">
                    <a:moveTo>
                      <a:pt x="2208" y="220"/>
                    </a:moveTo>
                    <a:cubicBezTo>
                      <a:pt x="2075" y="80"/>
                      <a:pt x="1897" y="2"/>
                      <a:pt x="1706" y="0"/>
                    </a:cubicBezTo>
                    <a:cubicBezTo>
                      <a:pt x="1703" y="0"/>
                      <a:pt x="1700" y="0"/>
                      <a:pt x="1698" y="0"/>
                    </a:cubicBezTo>
                    <a:cubicBezTo>
                      <a:pt x="1510" y="0"/>
                      <a:pt x="1333" y="73"/>
                      <a:pt x="1199" y="205"/>
                    </a:cubicBezTo>
                    <a:cubicBezTo>
                      <a:pt x="1097" y="305"/>
                      <a:pt x="1030" y="430"/>
                      <a:pt x="1002" y="567"/>
                    </a:cubicBezTo>
                    <a:cubicBezTo>
                      <a:pt x="787" y="557"/>
                      <a:pt x="579" y="657"/>
                      <a:pt x="452" y="836"/>
                    </a:cubicBezTo>
                    <a:lnTo>
                      <a:pt x="138" y="1281"/>
                    </a:lnTo>
                    <a:cubicBezTo>
                      <a:pt x="15" y="1454"/>
                      <a:pt x="0" y="1679"/>
                      <a:pt x="94" y="1866"/>
                    </a:cubicBezTo>
                    <a:cubicBezTo>
                      <a:pt x="54" y="1955"/>
                      <a:pt x="33" y="2053"/>
                      <a:pt x="33" y="2155"/>
                    </a:cubicBezTo>
                    <a:cubicBezTo>
                      <a:pt x="33" y="2567"/>
                      <a:pt x="286" y="2930"/>
                      <a:pt x="488" y="3154"/>
                    </a:cubicBezTo>
                    <a:lnTo>
                      <a:pt x="468" y="3708"/>
                    </a:lnTo>
                    <a:cubicBezTo>
                      <a:pt x="463" y="3840"/>
                      <a:pt x="524" y="3964"/>
                      <a:pt x="632" y="4041"/>
                    </a:cubicBezTo>
                    <a:cubicBezTo>
                      <a:pt x="699" y="4089"/>
                      <a:pt x="779" y="4113"/>
                      <a:pt x="859" y="4113"/>
                    </a:cubicBezTo>
                    <a:cubicBezTo>
                      <a:pt x="937" y="4113"/>
                      <a:pt x="1015" y="4090"/>
                      <a:pt x="1082" y="4043"/>
                    </a:cubicBezTo>
                    <a:lnTo>
                      <a:pt x="1944" y="3445"/>
                    </a:lnTo>
                    <a:cubicBezTo>
                      <a:pt x="2078" y="3352"/>
                      <a:pt x="2194" y="3237"/>
                      <a:pt x="2288" y="3103"/>
                    </a:cubicBezTo>
                    <a:lnTo>
                      <a:pt x="2548" y="2736"/>
                    </a:lnTo>
                    <a:cubicBezTo>
                      <a:pt x="2578" y="2694"/>
                      <a:pt x="2568" y="2635"/>
                      <a:pt x="2526" y="2605"/>
                    </a:cubicBezTo>
                    <a:cubicBezTo>
                      <a:pt x="2484" y="2575"/>
                      <a:pt x="2425" y="2585"/>
                      <a:pt x="2395" y="2628"/>
                    </a:cubicBezTo>
                    <a:lnTo>
                      <a:pt x="2135" y="2995"/>
                    </a:lnTo>
                    <a:cubicBezTo>
                      <a:pt x="2054" y="3111"/>
                      <a:pt x="1953" y="3210"/>
                      <a:pt x="1837" y="3291"/>
                    </a:cubicBezTo>
                    <a:lnTo>
                      <a:pt x="975" y="3890"/>
                    </a:lnTo>
                    <a:cubicBezTo>
                      <a:pt x="905" y="3939"/>
                      <a:pt x="810" y="3938"/>
                      <a:pt x="740" y="3888"/>
                    </a:cubicBezTo>
                    <a:cubicBezTo>
                      <a:pt x="684" y="3848"/>
                      <a:pt x="652" y="3783"/>
                      <a:pt x="655" y="3715"/>
                    </a:cubicBezTo>
                    <a:lnTo>
                      <a:pt x="670" y="3309"/>
                    </a:lnTo>
                    <a:cubicBezTo>
                      <a:pt x="693" y="3317"/>
                      <a:pt x="718" y="3321"/>
                      <a:pt x="743" y="3321"/>
                    </a:cubicBezTo>
                    <a:cubicBezTo>
                      <a:pt x="800" y="3321"/>
                      <a:pt x="857" y="3299"/>
                      <a:pt x="900" y="3256"/>
                    </a:cubicBezTo>
                    <a:cubicBezTo>
                      <a:pt x="1098" y="3061"/>
                      <a:pt x="1432" y="2662"/>
                      <a:pt x="1451" y="2196"/>
                    </a:cubicBezTo>
                    <a:cubicBezTo>
                      <a:pt x="1460" y="2001"/>
                      <a:pt x="1387" y="1807"/>
                      <a:pt x="1253" y="1665"/>
                    </a:cubicBezTo>
                    <a:cubicBezTo>
                      <a:pt x="1120" y="1525"/>
                      <a:pt x="941" y="1447"/>
                      <a:pt x="750" y="1445"/>
                    </a:cubicBezTo>
                    <a:cubicBezTo>
                      <a:pt x="560" y="1443"/>
                      <a:pt x="379" y="1516"/>
                      <a:pt x="244" y="1650"/>
                    </a:cubicBezTo>
                    <a:cubicBezTo>
                      <a:pt x="237" y="1656"/>
                      <a:pt x="231" y="1663"/>
                      <a:pt x="225" y="1669"/>
                    </a:cubicBezTo>
                    <a:cubicBezTo>
                      <a:pt x="210" y="1573"/>
                      <a:pt x="231" y="1472"/>
                      <a:pt x="290" y="1389"/>
                    </a:cubicBezTo>
                    <a:lnTo>
                      <a:pt x="605" y="944"/>
                    </a:lnTo>
                    <a:cubicBezTo>
                      <a:pt x="694" y="819"/>
                      <a:pt x="839" y="749"/>
                      <a:pt x="989" y="754"/>
                    </a:cubicBezTo>
                    <a:cubicBezTo>
                      <a:pt x="1009" y="1217"/>
                      <a:pt x="1340" y="1613"/>
                      <a:pt x="1540" y="1811"/>
                    </a:cubicBezTo>
                    <a:cubicBezTo>
                      <a:pt x="1584" y="1854"/>
                      <a:pt x="1641" y="1876"/>
                      <a:pt x="1698" y="1876"/>
                    </a:cubicBezTo>
                    <a:cubicBezTo>
                      <a:pt x="1755" y="1876"/>
                      <a:pt x="1812" y="1854"/>
                      <a:pt x="1855" y="1811"/>
                    </a:cubicBezTo>
                    <a:cubicBezTo>
                      <a:pt x="1937" y="1730"/>
                      <a:pt x="2041" y="1615"/>
                      <a:pt x="2138" y="1475"/>
                    </a:cubicBezTo>
                    <a:lnTo>
                      <a:pt x="2624" y="1819"/>
                    </a:lnTo>
                    <a:cubicBezTo>
                      <a:pt x="2685" y="1862"/>
                      <a:pt x="2726" y="1927"/>
                      <a:pt x="2738" y="2001"/>
                    </a:cubicBezTo>
                    <a:cubicBezTo>
                      <a:pt x="2751" y="2075"/>
                      <a:pt x="2734" y="2149"/>
                      <a:pt x="2691" y="2211"/>
                    </a:cubicBezTo>
                    <a:lnTo>
                      <a:pt x="2622" y="2307"/>
                    </a:lnTo>
                    <a:cubicBezTo>
                      <a:pt x="2592" y="2349"/>
                      <a:pt x="2602" y="2408"/>
                      <a:pt x="2645" y="2438"/>
                    </a:cubicBezTo>
                    <a:cubicBezTo>
                      <a:pt x="2661" y="2449"/>
                      <a:pt x="2680" y="2455"/>
                      <a:pt x="2699" y="2455"/>
                    </a:cubicBezTo>
                    <a:cubicBezTo>
                      <a:pt x="2728" y="2455"/>
                      <a:pt x="2757" y="2441"/>
                      <a:pt x="2775" y="2415"/>
                    </a:cubicBezTo>
                    <a:lnTo>
                      <a:pt x="2843" y="2319"/>
                    </a:lnTo>
                    <a:cubicBezTo>
                      <a:pt x="2916" y="2217"/>
                      <a:pt x="2944" y="2093"/>
                      <a:pt x="2923" y="1969"/>
                    </a:cubicBezTo>
                    <a:cubicBezTo>
                      <a:pt x="2902" y="1846"/>
                      <a:pt x="2834" y="1738"/>
                      <a:pt x="2732" y="1666"/>
                    </a:cubicBezTo>
                    <a:lnTo>
                      <a:pt x="2236" y="1315"/>
                    </a:lnTo>
                    <a:cubicBezTo>
                      <a:pt x="2328" y="1148"/>
                      <a:pt x="2398" y="956"/>
                      <a:pt x="2406" y="751"/>
                    </a:cubicBezTo>
                    <a:cubicBezTo>
                      <a:pt x="2415" y="555"/>
                      <a:pt x="2342" y="362"/>
                      <a:pt x="2208" y="220"/>
                    </a:cubicBezTo>
                    <a:close/>
                    <a:moveTo>
                      <a:pt x="743" y="1632"/>
                    </a:moveTo>
                    <a:cubicBezTo>
                      <a:pt x="745" y="1632"/>
                      <a:pt x="746" y="1632"/>
                      <a:pt x="748" y="1632"/>
                    </a:cubicBezTo>
                    <a:cubicBezTo>
                      <a:pt x="888" y="1634"/>
                      <a:pt x="1019" y="1691"/>
                      <a:pt x="1117" y="1794"/>
                    </a:cubicBezTo>
                    <a:cubicBezTo>
                      <a:pt x="1217" y="1899"/>
                      <a:pt x="1270" y="2043"/>
                      <a:pt x="1264" y="2189"/>
                    </a:cubicBezTo>
                    <a:cubicBezTo>
                      <a:pt x="1247" y="2606"/>
                      <a:pt x="912" y="2981"/>
                      <a:pt x="768" y="3123"/>
                    </a:cubicBezTo>
                    <a:cubicBezTo>
                      <a:pt x="754" y="3137"/>
                      <a:pt x="731" y="3137"/>
                      <a:pt x="717" y="3123"/>
                    </a:cubicBezTo>
                    <a:cubicBezTo>
                      <a:pt x="568" y="2975"/>
                      <a:pt x="220" y="2585"/>
                      <a:pt x="220" y="2155"/>
                    </a:cubicBezTo>
                    <a:cubicBezTo>
                      <a:pt x="220" y="2014"/>
                      <a:pt x="275" y="1882"/>
                      <a:pt x="375" y="1783"/>
                    </a:cubicBezTo>
                    <a:cubicBezTo>
                      <a:pt x="474" y="1686"/>
                      <a:pt x="604" y="1632"/>
                      <a:pt x="743" y="1632"/>
                    </a:cubicBezTo>
                    <a:close/>
                    <a:moveTo>
                      <a:pt x="1723" y="1678"/>
                    </a:moveTo>
                    <a:cubicBezTo>
                      <a:pt x="1709" y="1692"/>
                      <a:pt x="1686" y="1692"/>
                      <a:pt x="1672" y="1678"/>
                    </a:cubicBezTo>
                    <a:cubicBezTo>
                      <a:pt x="1523" y="1530"/>
                      <a:pt x="1175" y="1139"/>
                      <a:pt x="1175" y="710"/>
                    </a:cubicBezTo>
                    <a:cubicBezTo>
                      <a:pt x="1175" y="569"/>
                      <a:pt x="1230" y="437"/>
                      <a:pt x="1330" y="338"/>
                    </a:cubicBezTo>
                    <a:cubicBezTo>
                      <a:pt x="1429" y="241"/>
                      <a:pt x="1559" y="187"/>
                      <a:pt x="1698" y="187"/>
                    </a:cubicBezTo>
                    <a:cubicBezTo>
                      <a:pt x="1700" y="187"/>
                      <a:pt x="1702" y="187"/>
                      <a:pt x="1704" y="187"/>
                    </a:cubicBezTo>
                    <a:cubicBezTo>
                      <a:pt x="1844" y="189"/>
                      <a:pt x="1974" y="246"/>
                      <a:pt x="2072" y="349"/>
                    </a:cubicBezTo>
                    <a:cubicBezTo>
                      <a:pt x="2172" y="454"/>
                      <a:pt x="2226" y="598"/>
                      <a:pt x="2219" y="743"/>
                    </a:cubicBezTo>
                    <a:cubicBezTo>
                      <a:pt x="2202" y="1161"/>
                      <a:pt x="1867" y="1536"/>
                      <a:pt x="1723" y="1678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69"/>
              <p:cNvSpPr>
                <a:spLocks/>
              </p:cNvSpPr>
              <p:nvPr/>
            </p:nvSpPr>
            <p:spPr bwMode="auto">
              <a:xfrm>
                <a:off x="5815" y="192"/>
                <a:ext cx="48" cy="47"/>
              </a:xfrm>
              <a:custGeom>
                <a:avLst/>
                <a:gdLst>
                  <a:gd name="T0" fmla="*/ 696 w 790"/>
                  <a:gd name="T1" fmla="*/ 301 h 790"/>
                  <a:gd name="T2" fmla="*/ 603 w 790"/>
                  <a:gd name="T3" fmla="*/ 395 h 790"/>
                  <a:gd name="T4" fmla="*/ 395 w 790"/>
                  <a:gd name="T5" fmla="*/ 602 h 790"/>
                  <a:gd name="T6" fmla="*/ 187 w 790"/>
                  <a:gd name="T7" fmla="*/ 395 h 790"/>
                  <a:gd name="T8" fmla="*/ 395 w 790"/>
                  <a:gd name="T9" fmla="*/ 187 h 790"/>
                  <a:gd name="T10" fmla="*/ 436 w 790"/>
                  <a:gd name="T11" fmla="*/ 191 h 790"/>
                  <a:gd name="T12" fmla="*/ 546 w 790"/>
                  <a:gd name="T13" fmla="*/ 118 h 790"/>
                  <a:gd name="T14" fmla="*/ 473 w 790"/>
                  <a:gd name="T15" fmla="*/ 7 h 790"/>
                  <a:gd name="T16" fmla="*/ 395 w 790"/>
                  <a:gd name="T17" fmla="*/ 0 h 790"/>
                  <a:gd name="T18" fmla="*/ 0 w 790"/>
                  <a:gd name="T19" fmla="*/ 395 h 790"/>
                  <a:gd name="T20" fmla="*/ 395 w 790"/>
                  <a:gd name="T21" fmla="*/ 790 h 790"/>
                  <a:gd name="T22" fmla="*/ 790 w 790"/>
                  <a:gd name="T23" fmla="*/ 395 h 790"/>
                  <a:gd name="T24" fmla="*/ 696 w 790"/>
                  <a:gd name="T25" fmla="*/ 301 h 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90" h="790">
                    <a:moveTo>
                      <a:pt x="696" y="301"/>
                    </a:moveTo>
                    <a:cubicBezTo>
                      <a:pt x="644" y="301"/>
                      <a:pt x="603" y="343"/>
                      <a:pt x="603" y="395"/>
                    </a:cubicBezTo>
                    <a:cubicBezTo>
                      <a:pt x="603" y="509"/>
                      <a:pt x="509" y="602"/>
                      <a:pt x="395" y="602"/>
                    </a:cubicBezTo>
                    <a:cubicBezTo>
                      <a:pt x="280" y="602"/>
                      <a:pt x="187" y="509"/>
                      <a:pt x="187" y="395"/>
                    </a:cubicBezTo>
                    <a:cubicBezTo>
                      <a:pt x="187" y="280"/>
                      <a:pt x="280" y="187"/>
                      <a:pt x="395" y="187"/>
                    </a:cubicBezTo>
                    <a:cubicBezTo>
                      <a:pt x="409" y="187"/>
                      <a:pt x="423" y="188"/>
                      <a:pt x="436" y="191"/>
                    </a:cubicBezTo>
                    <a:cubicBezTo>
                      <a:pt x="487" y="201"/>
                      <a:pt x="536" y="168"/>
                      <a:pt x="546" y="118"/>
                    </a:cubicBezTo>
                    <a:cubicBezTo>
                      <a:pt x="556" y="67"/>
                      <a:pt x="524" y="18"/>
                      <a:pt x="473" y="7"/>
                    </a:cubicBezTo>
                    <a:cubicBezTo>
                      <a:pt x="447" y="2"/>
                      <a:pt x="421" y="0"/>
                      <a:pt x="395" y="0"/>
                    </a:cubicBezTo>
                    <a:cubicBezTo>
                      <a:pt x="177" y="0"/>
                      <a:pt x="0" y="177"/>
                      <a:pt x="0" y="395"/>
                    </a:cubicBezTo>
                    <a:cubicBezTo>
                      <a:pt x="0" y="612"/>
                      <a:pt x="177" y="790"/>
                      <a:pt x="395" y="790"/>
                    </a:cubicBezTo>
                    <a:cubicBezTo>
                      <a:pt x="613" y="790"/>
                      <a:pt x="790" y="612"/>
                      <a:pt x="790" y="395"/>
                    </a:cubicBezTo>
                    <a:cubicBezTo>
                      <a:pt x="790" y="343"/>
                      <a:pt x="748" y="301"/>
                      <a:pt x="696" y="30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70"/>
              <p:cNvSpPr>
                <a:spLocks noEditPoints="1"/>
              </p:cNvSpPr>
              <p:nvPr/>
            </p:nvSpPr>
            <p:spPr bwMode="auto">
              <a:xfrm>
                <a:off x="5757" y="279"/>
                <a:ext cx="48" cy="48"/>
              </a:xfrm>
              <a:custGeom>
                <a:avLst/>
                <a:gdLst>
                  <a:gd name="T0" fmla="*/ 395 w 790"/>
                  <a:gd name="T1" fmla="*/ 790 h 790"/>
                  <a:gd name="T2" fmla="*/ 790 w 790"/>
                  <a:gd name="T3" fmla="*/ 395 h 790"/>
                  <a:gd name="T4" fmla="*/ 395 w 790"/>
                  <a:gd name="T5" fmla="*/ 0 h 790"/>
                  <a:gd name="T6" fmla="*/ 0 w 790"/>
                  <a:gd name="T7" fmla="*/ 395 h 790"/>
                  <a:gd name="T8" fmla="*/ 395 w 790"/>
                  <a:gd name="T9" fmla="*/ 790 h 790"/>
                  <a:gd name="T10" fmla="*/ 395 w 790"/>
                  <a:gd name="T11" fmla="*/ 187 h 790"/>
                  <a:gd name="T12" fmla="*/ 602 w 790"/>
                  <a:gd name="T13" fmla="*/ 395 h 790"/>
                  <a:gd name="T14" fmla="*/ 395 w 790"/>
                  <a:gd name="T15" fmla="*/ 603 h 790"/>
                  <a:gd name="T16" fmla="*/ 187 w 790"/>
                  <a:gd name="T17" fmla="*/ 395 h 790"/>
                  <a:gd name="T18" fmla="*/ 395 w 790"/>
                  <a:gd name="T19" fmla="*/ 187 h 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0" h="790">
                    <a:moveTo>
                      <a:pt x="395" y="790"/>
                    </a:moveTo>
                    <a:cubicBezTo>
                      <a:pt x="612" y="790"/>
                      <a:pt x="790" y="613"/>
                      <a:pt x="790" y="395"/>
                    </a:cubicBezTo>
                    <a:cubicBezTo>
                      <a:pt x="790" y="177"/>
                      <a:pt x="612" y="0"/>
                      <a:pt x="395" y="0"/>
                    </a:cubicBezTo>
                    <a:cubicBezTo>
                      <a:pt x="177" y="0"/>
                      <a:pt x="0" y="177"/>
                      <a:pt x="0" y="395"/>
                    </a:cubicBezTo>
                    <a:cubicBezTo>
                      <a:pt x="0" y="613"/>
                      <a:pt x="177" y="790"/>
                      <a:pt x="395" y="790"/>
                    </a:cubicBezTo>
                    <a:close/>
                    <a:moveTo>
                      <a:pt x="395" y="187"/>
                    </a:moveTo>
                    <a:cubicBezTo>
                      <a:pt x="509" y="187"/>
                      <a:pt x="602" y="280"/>
                      <a:pt x="602" y="395"/>
                    </a:cubicBezTo>
                    <a:cubicBezTo>
                      <a:pt x="602" y="509"/>
                      <a:pt x="509" y="603"/>
                      <a:pt x="395" y="603"/>
                    </a:cubicBezTo>
                    <a:cubicBezTo>
                      <a:pt x="280" y="603"/>
                      <a:pt x="187" y="509"/>
                      <a:pt x="187" y="395"/>
                    </a:cubicBezTo>
                    <a:cubicBezTo>
                      <a:pt x="187" y="280"/>
                      <a:pt x="280" y="187"/>
                      <a:pt x="395" y="18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71"/>
              <p:cNvSpPr>
                <a:spLocks noEditPoints="1"/>
              </p:cNvSpPr>
              <p:nvPr/>
            </p:nvSpPr>
            <p:spPr bwMode="auto">
              <a:xfrm>
                <a:off x="5675" y="81"/>
                <a:ext cx="48" cy="48"/>
              </a:xfrm>
              <a:custGeom>
                <a:avLst/>
                <a:gdLst>
                  <a:gd name="T0" fmla="*/ 790 w 790"/>
                  <a:gd name="T1" fmla="*/ 395 h 790"/>
                  <a:gd name="T2" fmla="*/ 395 w 790"/>
                  <a:gd name="T3" fmla="*/ 0 h 790"/>
                  <a:gd name="T4" fmla="*/ 0 w 790"/>
                  <a:gd name="T5" fmla="*/ 395 h 790"/>
                  <a:gd name="T6" fmla="*/ 395 w 790"/>
                  <a:gd name="T7" fmla="*/ 790 h 790"/>
                  <a:gd name="T8" fmla="*/ 790 w 790"/>
                  <a:gd name="T9" fmla="*/ 395 h 790"/>
                  <a:gd name="T10" fmla="*/ 187 w 790"/>
                  <a:gd name="T11" fmla="*/ 395 h 790"/>
                  <a:gd name="T12" fmla="*/ 395 w 790"/>
                  <a:gd name="T13" fmla="*/ 187 h 790"/>
                  <a:gd name="T14" fmla="*/ 602 w 790"/>
                  <a:gd name="T15" fmla="*/ 395 h 790"/>
                  <a:gd name="T16" fmla="*/ 395 w 790"/>
                  <a:gd name="T17" fmla="*/ 603 h 790"/>
                  <a:gd name="T18" fmla="*/ 187 w 790"/>
                  <a:gd name="T19" fmla="*/ 395 h 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0" h="790">
                    <a:moveTo>
                      <a:pt x="790" y="395"/>
                    </a:moveTo>
                    <a:cubicBezTo>
                      <a:pt x="790" y="177"/>
                      <a:pt x="612" y="0"/>
                      <a:pt x="395" y="0"/>
                    </a:cubicBezTo>
                    <a:cubicBezTo>
                      <a:pt x="177" y="0"/>
                      <a:pt x="0" y="177"/>
                      <a:pt x="0" y="395"/>
                    </a:cubicBezTo>
                    <a:cubicBezTo>
                      <a:pt x="0" y="613"/>
                      <a:pt x="177" y="790"/>
                      <a:pt x="395" y="790"/>
                    </a:cubicBezTo>
                    <a:cubicBezTo>
                      <a:pt x="612" y="790"/>
                      <a:pt x="790" y="613"/>
                      <a:pt x="790" y="395"/>
                    </a:cubicBezTo>
                    <a:close/>
                    <a:moveTo>
                      <a:pt x="187" y="395"/>
                    </a:moveTo>
                    <a:cubicBezTo>
                      <a:pt x="187" y="280"/>
                      <a:pt x="280" y="187"/>
                      <a:pt x="395" y="187"/>
                    </a:cubicBezTo>
                    <a:cubicBezTo>
                      <a:pt x="509" y="187"/>
                      <a:pt x="602" y="280"/>
                      <a:pt x="602" y="395"/>
                    </a:cubicBezTo>
                    <a:cubicBezTo>
                      <a:pt x="602" y="509"/>
                      <a:pt x="509" y="603"/>
                      <a:pt x="395" y="603"/>
                    </a:cubicBezTo>
                    <a:cubicBezTo>
                      <a:pt x="280" y="603"/>
                      <a:pt x="187" y="509"/>
                      <a:pt x="187" y="39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8" name="Group 89"/>
            <p:cNvGrpSpPr>
              <a:grpSpLocks noChangeAspect="1"/>
            </p:cNvGrpSpPr>
            <p:nvPr/>
          </p:nvGrpSpPr>
          <p:grpSpPr bwMode="auto">
            <a:xfrm>
              <a:off x="7754652" y="3215485"/>
              <a:ext cx="557522" cy="540000"/>
              <a:chOff x="5242" y="-778"/>
              <a:chExt cx="350" cy="339"/>
            </a:xfrm>
            <a:solidFill>
              <a:schemeClr val="bg1"/>
            </a:solidFill>
          </p:grpSpPr>
          <p:sp>
            <p:nvSpPr>
              <p:cNvPr id="39" name="Freeform 90"/>
              <p:cNvSpPr>
                <a:spLocks noEditPoints="1"/>
              </p:cNvSpPr>
              <p:nvPr/>
            </p:nvSpPr>
            <p:spPr bwMode="auto">
              <a:xfrm>
                <a:off x="5242" y="-778"/>
                <a:ext cx="350" cy="339"/>
              </a:xfrm>
              <a:custGeom>
                <a:avLst/>
                <a:gdLst>
                  <a:gd name="T0" fmla="*/ 4308 w 6620"/>
                  <a:gd name="T1" fmla="*/ 2 h 6402"/>
                  <a:gd name="T2" fmla="*/ 2454 w 6620"/>
                  <a:gd name="T3" fmla="*/ 1076 h 6402"/>
                  <a:gd name="T4" fmla="*/ 2472 w 6620"/>
                  <a:gd name="T5" fmla="*/ 3217 h 6402"/>
                  <a:gd name="T6" fmla="*/ 197 w 6620"/>
                  <a:gd name="T7" fmla="*/ 5493 h 6402"/>
                  <a:gd name="T8" fmla="*/ 82 w 6620"/>
                  <a:gd name="T9" fmla="*/ 6073 h 6402"/>
                  <a:gd name="T10" fmla="*/ 574 w 6620"/>
                  <a:gd name="T11" fmla="*/ 6402 h 6402"/>
                  <a:gd name="T12" fmla="*/ 951 w 6620"/>
                  <a:gd name="T13" fmla="*/ 6246 h 6402"/>
                  <a:gd name="T14" fmla="*/ 1216 w 6620"/>
                  <a:gd name="T15" fmla="*/ 5981 h 6402"/>
                  <a:gd name="T16" fmla="*/ 1219 w 6620"/>
                  <a:gd name="T17" fmla="*/ 5979 h 6402"/>
                  <a:gd name="T18" fmla="*/ 1221 w 6620"/>
                  <a:gd name="T19" fmla="*/ 5976 h 6402"/>
                  <a:gd name="T20" fmla="*/ 1536 w 6620"/>
                  <a:gd name="T21" fmla="*/ 5661 h 6402"/>
                  <a:gd name="T22" fmla="*/ 1539 w 6620"/>
                  <a:gd name="T23" fmla="*/ 5659 h 6402"/>
                  <a:gd name="T24" fmla="*/ 1541 w 6620"/>
                  <a:gd name="T25" fmla="*/ 5656 h 6402"/>
                  <a:gd name="T26" fmla="*/ 3226 w 6620"/>
                  <a:gd name="T27" fmla="*/ 3971 h 6402"/>
                  <a:gd name="T28" fmla="*/ 5670 w 6620"/>
                  <a:gd name="T29" fmla="*/ 3776 h 6402"/>
                  <a:gd name="T30" fmla="*/ 6315 w 6620"/>
                  <a:gd name="T31" fmla="*/ 1410 h 6402"/>
                  <a:gd name="T32" fmla="*/ 4308 w 6620"/>
                  <a:gd name="T33" fmla="*/ 2 h 6402"/>
                  <a:gd name="T34" fmla="*/ 1462 w 6620"/>
                  <a:gd name="T35" fmla="*/ 5433 h 6402"/>
                  <a:gd name="T36" fmla="*/ 1290 w 6620"/>
                  <a:gd name="T37" fmla="*/ 5260 h 6402"/>
                  <a:gd name="T38" fmla="*/ 1140 w 6620"/>
                  <a:gd name="T39" fmla="*/ 5261 h 6402"/>
                  <a:gd name="T40" fmla="*/ 1139 w 6620"/>
                  <a:gd name="T41" fmla="*/ 5411 h 6402"/>
                  <a:gd name="T42" fmla="*/ 1312 w 6620"/>
                  <a:gd name="T43" fmla="*/ 5583 h 6402"/>
                  <a:gd name="T44" fmla="*/ 1142 w 6620"/>
                  <a:gd name="T45" fmla="*/ 5753 h 6402"/>
                  <a:gd name="T46" fmla="*/ 970 w 6620"/>
                  <a:gd name="T47" fmla="*/ 5580 h 6402"/>
                  <a:gd name="T48" fmla="*/ 866 w 6620"/>
                  <a:gd name="T49" fmla="*/ 5551 h 6402"/>
                  <a:gd name="T50" fmla="*/ 790 w 6620"/>
                  <a:gd name="T51" fmla="*/ 5627 h 6402"/>
                  <a:gd name="T52" fmla="*/ 819 w 6620"/>
                  <a:gd name="T53" fmla="*/ 5731 h 6402"/>
                  <a:gd name="T54" fmla="*/ 992 w 6620"/>
                  <a:gd name="T55" fmla="*/ 5903 h 6402"/>
                  <a:gd name="T56" fmla="*/ 800 w 6620"/>
                  <a:gd name="T57" fmla="*/ 6095 h 6402"/>
                  <a:gd name="T58" fmla="*/ 574 w 6620"/>
                  <a:gd name="T59" fmla="*/ 6189 h 6402"/>
                  <a:gd name="T60" fmla="*/ 280 w 6620"/>
                  <a:gd name="T61" fmla="*/ 5991 h 6402"/>
                  <a:gd name="T62" fmla="*/ 348 w 6620"/>
                  <a:gd name="T63" fmla="*/ 5643 h 6402"/>
                  <a:gd name="T64" fmla="*/ 2593 w 6620"/>
                  <a:gd name="T65" fmla="*/ 3399 h 6402"/>
                  <a:gd name="T66" fmla="*/ 3044 w 6620"/>
                  <a:gd name="T67" fmla="*/ 3850 h 6402"/>
                  <a:gd name="T68" fmla="*/ 1462 w 6620"/>
                  <a:gd name="T69" fmla="*/ 5433 h 6402"/>
                  <a:gd name="T70" fmla="*/ 4308 w 6620"/>
                  <a:gd name="T71" fmla="*/ 4055 h 6402"/>
                  <a:gd name="T72" fmla="*/ 2388 w 6620"/>
                  <a:gd name="T73" fmla="*/ 2135 h 6402"/>
                  <a:gd name="T74" fmla="*/ 4308 w 6620"/>
                  <a:gd name="T75" fmla="*/ 215 h 6402"/>
                  <a:gd name="T76" fmla="*/ 6228 w 6620"/>
                  <a:gd name="T77" fmla="*/ 2135 h 6402"/>
                  <a:gd name="T78" fmla="*/ 4308 w 6620"/>
                  <a:gd name="T79" fmla="*/ 4055 h 6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620" h="6402">
                    <a:moveTo>
                      <a:pt x="4308" y="2"/>
                    </a:moveTo>
                    <a:cubicBezTo>
                      <a:pt x="3542" y="0"/>
                      <a:pt x="2834" y="410"/>
                      <a:pt x="2454" y="1076"/>
                    </a:cubicBezTo>
                    <a:cubicBezTo>
                      <a:pt x="2075" y="1741"/>
                      <a:pt x="2082" y="2559"/>
                      <a:pt x="2472" y="3217"/>
                    </a:cubicBezTo>
                    <a:lnTo>
                      <a:pt x="197" y="5493"/>
                    </a:lnTo>
                    <a:cubicBezTo>
                      <a:pt x="45" y="5645"/>
                      <a:pt x="0" y="5874"/>
                      <a:pt x="82" y="6073"/>
                    </a:cubicBezTo>
                    <a:cubicBezTo>
                      <a:pt x="165" y="6272"/>
                      <a:pt x="359" y="6402"/>
                      <a:pt x="574" y="6402"/>
                    </a:cubicBezTo>
                    <a:cubicBezTo>
                      <a:pt x="716" y="6402"/>
                      <a:pt x="851" y="6346"/>
                      <a:pt x="951" y="6246"/>
                    </a:cubicBezTo>
                    <a:lnTo>
                      <a:pt x="1216" y="5981"/>
                    </a:lnTo>
                    <a:cubicBezTo>
                      <a:pt x="1216" y="5981"/>
                      <a:pt x="1218" y="5980"/>
                      <a:pt x="1219" y="5979"/>
                    </a:cubicBezTo>
                    <a:cubicBezTo>
                      <a:pt x="1220" y="5978"/>
                      <a:pt x="1220" y="5977"/>
                      <a:pt x="1221" y="5976"/>
                    </a:cubicBezTo>
                    <a:lnTo>
                      <a:pt x="1536" y="5661"/>
                    </a:lnTo>
                    <a:cubicBezTo>
                      <a:pt x="1536" y="5661"/>
                      <a:pt x="1538" y="5660"/>
                      <a:pt x="1539" y="5659"/>
                    </a:cubicBezTo>
                    <a:cubicBezTo>
                      <a:pt x="1540" y="5658"/>
                      <a:pt x="1540" y="5657"/>
                      <a:pt x="1541" y="5656"/>
                    </a:cubicBezTo>
                    <a:lnTo>
                      <a:pt x="3226" y="3971"/>
                    </a:lnTo>
                    <a:cubicBezTo>
                      <a:pt x="4001" y="4427"/>
                      <a:pt x="4978" y="4349"/>
                      <a:pt x="5670" y="3776"/>
                    </a:cubicBezTo>
                    <a:cubicBezTo>
                      <a:pt x="6362" y="3202"/>
                      <a:pt x="6620" y="2256"/>
                      <a:pt x="6315" y="1410"/>
                    </a:cubicBezTo>
                    <a:cubicBezTo>
                      <a:pt x="6009" y="565"/>
                      <a:pt x="5207" y="1"/>
                      <a:pt x="4308" y="2"/>
                    </a:cubicBezTo>
                    <a:close/>
                    <a:moveTo>
                      <a:pt x="1462" y="5433"/>
                    </a:moveTo>
                    <a:lnTo>
                      <a:pt x="1290" y="5260"/>
                    </a:lnTo>
                    <a:cubicBezTo>
                      <a:pt x="1248" y="5219"/>
                      <a:pt x="1181" y="5220"/>
                      <a:pt x="1140" y="5261"/>
                    </a:cubicBezTo>
                    <a:cubicBezTo>
                      <a:pt x="1099" y="5302"/>
                      <a:pt x="1098" y="5369"/>
                      <a:pt x="1139" y="5411"/>
                    </a:cubicBezTo>
                    <a:lnTo>
                      <a:pt x="1312" y="5583"/>
                    </a:lnTo>
                    <a:lnTo>
                      <a:pt x="1142" y="5753"/>
                    </a:lnTo>
                    <a:lnTo>
                      <a:pt x="970" y="5580"/>
                    </a:lnTo>
                    <a:cubicBezTo>
                      <a:pt x="943" y="5552"/>
                      <a:pt x="903" y="5541"/>
                      <a:pt x="866" y="5551"/>
                    </a:cubicBezTo>
                    <a:cubicBezTo>
                      <a:pt x="829" y="5561"/>
                      <a:pt x="800" y="5590"/>
                      <a:pt x="790" y="5627"/>
                    </a:cubicBezTo>
                    <a:cubicBezTo>
                      <a:pt x="780" y="5664"/>
                      <a:pt x="791" y="5704"/>
                      <a:pt x="819" y="5731"/>
                    </a:cubicBezTo>
                    <a:lnTo>
                      <a:pt x="992" y="5903"/>
                    </a:lnTo>
                    <a:lnTo>
                      <a:pt x="800" y="6095"/>
                    </a:lnTo>
                    <a:cubicBezTo>
                      <a:pt x="740" y="6155"/>
                      <a:pt x="659" y="6189"/>
                      <a:pt x="574" y="6189"/>
                    </a:cubicBezTo>
                    <a:cubicBezTo>
                      <a:pt x="445" y="6188"/>
                      <a:pt x="329" y="6110"/>
                      <a:pt x="280" y="5991"/>
                    </a:cubicBezTo>
                    <a:cubicBezTo>
                      <a:pt x="231" y="5872"/>
                      <a:pt x="258" y="5735"/>
                      <a:pt x="348" y="5643"/>
                    </a:cubicBezTo>
                    <a:lnTo>
                      <a:pt x="2593" y="3399"/>
                    </a:lnTo>
                    <a:cubicBezTo>
                      <a:pt x="2720" y="3571"/>
                      <a:pt x="2872" y="3723"/>
                      <a:pt x="3044" y="3850"/>
                    </a:cubicBezTo>
                    <a:lnTo>
                      <a:pt x="1462" y="5433"/>
                    </a:lnTo>
                    <a:close/>
                    <a:moveTo>
                      <a:pt x="4308" y="4055"/>
                    </a:moveTo>
                    <a:cubicBezTo>
                      <a:pt x="3247" y="4055"/>
                      <a:pt x="2388" y="3196"/>
                      <a:pt x="2388" y="2135"/>
                    </a:cubicBezTo>
                    <a:cubicBezTo>
                      <a:pt x="2388" y="1075"/>
                      <a:pt x="3247" y="215"/>
                      <a:pt x="4308" y="215"/>
                    </a:cubicBezTo>
                    <a:cubicBezTo>
                      <a:pt x="5368" y="215"/>
                      <a:pt x="6228" y="1075"/>
                      <a:pt x="6228" y="2135"/>
                    </a:cubicBezTo>
                    <a:cubicBezTo>
                      <a:pt x="6226" y="3195"/>
                      <a:pt x="5368" y="4054"/>
                      <a:pt x="4308" y="405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91"/>
              <p:cNvSpPr>
                <a:spLocks/>
              </p:cNvSpPr>
              <p:nvPr/>
            </p:nvSpPr>
            <p:spPr bwMode="auto">
              <a:xfrm>
                <a:off x="5377" y="-758"/>
                <a:ext cx="142" cy="141"/>
              </a:xfrm>
              <a:custGeom>
                <a:avLst/>
                <a:gdLst>
                  <a:gd name="T0" fmla="*/ 772 w 2679"/>
                  <a:gd name="T1" fmla="*/ 772 h 2666"/>
                  <a:gd name="T2" fmla="*/ 2500 w 2679"/>
                  <a:gd name="T3" fmla="*/ 584 h 2666"/>
                  <a:gd name="T4" fmla="*/ 2648 w 2679"/>
                  <a:gd name="T5" fmla="*/ 552 h 2666"/>
                  <a:gd name="T6" fmla="*/ 2615 w 2679"/>
                  <a:gd name="T7" fmla="*/ 404 h 2666"/>
                  <a:gd name="T8" fmla="*/ 621 w 2679"/>
                  <a:gd name="T9" fmla="*/ 622 h 2666"/>
                  <a:gd name="T10" fmla="*/ 405 w 2679"/>
                  <a:gd name="T11" fmla="*/ 2615 h 2666"/>
                  <a:gd name="T12" fmla="*/ 499 w 2679"/>
                  <a:gd name="T13" fmla="*/ 2664 h 2666"/>
                  <a:gd name="T14" fmla="*/ 589 w 2679"/>
                  <a:gd name="T15" fmla="*/ 2607 h 2666"/>
                  <a:gd name="T16" fmla="*/ 584 w 2679"/>
                  <a:gd name="T17" fmla="*/ 2500 h 2666"/>
                  <a:gd name="T18" fmla="*/ 772 w 2679"/>
                  <a:gd name="T19" fmla="*/ 772 h 2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79" h="2666">
                    <a:moveTo>
                      <a:pt x="772" y="772"/>
                    </a:moveTo>
                    <a:cubicBezTo>
                      <a:pt x="1234" y="314"/>
                      <a:pt x="1951" y="237"/>
                      <a:pt x="2500" y="584"/>
                    </a:cubicBezTo>
                    <a:cubicBezTo>
                      <a:pt x="2550" y="616"/>
                      <a:pt x="2616" y="601"/>
                      <a:pt x="2648" y="552"/>
                    </a:cubicBezTo>
                    <a:cubicBezTo>
                      <a:pt x="2679" y="502"/>
                      <a:pt x="2665" y="436"/>
                      <a:pt x="2615" y="404"/>
                    </a:cubicBezTo>
                    <a:cubicBezTo>
                      <a:pt x="1982" y="0"/>
                      <a:pt x="1153" y="90"/>
                      <a:pt x="621" y="622"/>
                    </a:cubicBezTo>
                    <a:cubicBezTo>
                      <a:pt x="90" y="1153"/>
                      <a:pt x="0" y="1982"/>
                      <a:pt x="405" y="2615"/>
                    </a:cubicBezTo>
                    <a:cubicBezTo>
                      <a:pt x="425" y="2647"/>
                      <a:pt x="461" y="2666"/>
                      <a:pt x="499" y="2664"/>
                    </a:cubicBezTo>
                    <a:cubicBezTo>
                      <a:pt x="538" y="2663"/>
                      <a:pt x="572" y="2641"/>
                      <a:pt x="589" y="2607"/>
                    </a:cubicBezTo>
                    <a:cubicBezTo>
                      <a:pt x="607" y="2573"/>
                      <a:pt x="605" y="2532"/>
                      <a:pt x="584" y="2500"/>
                    </a:cubicBezTo>
                    <a:cubicBezTo>
                      <a:pt x="237" y="1951"/>
                      <a:pt x="314" y="1234"/>
                      <a:pt x="772" y="77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92"/>
              <p:cNvSpPr>
                <a:spLocks/>
              </p:cNvSpPr>
              <p:nvPr/>
            </p:nvSpPr>
            <p:spPr bwMode="auto">
              <a:xfrm>
                <a:off x="5421" y="-714"/>
                <a:ext cx="141" cy="141"/>
              </a:xfrm>
              <a:custGeom>
                <a:avLst/>
                <a:gdLst>
                  <a:gd name="T0" fmla="*/ 2128 w 2677"/>
                  <a:gd name="T1" fmla="*/ 21 h 2666"/>
                  <a:gd name="T2" fmla="*/ 2096 w 2677"/>
                  <a:gd name="T3" fmla="*/ 168 h 2666"/>
                  <a:gd name="T4" fmla="*/ 1909 w 2677"/>
                  <a:gd name="T5" fmla="*/ 1897 h 2666"/>
                  <a:gd name="T6" fmla="*/ 180 w 2677"/>
                  <a:gd name="T7" fmla="*/ 2085 h 2666"/>
                  <a:gd name="T8" fmla="*/ 32 w 2677"/>
                  <a:gd name="T9" fmla="*/ 2117 h 2666"/>
                  <a:gd name="T10" fmla="*/ 65 w 2677"/>
                  <a:gd name="T11" fmla="*/ 2264 h 2666"/>
                  <a:gd name="T12" fmla="*/ 2059 w 2677"/>
                  <a:gd name="T13" fmla="*/ 2048 h 2666"/>
                  <a:gd name="T14" fmla="*/ 2276 w 2677"/>
                  <a:gd name="T15" fmla="*/ 53 h 2666"/>
                  <a:gd name="T16" fmla="*/ 2209 w 2677"/>
                  <a:gd name="T17" fmla="*/ 6 h 2666"/>
                  <a:gd name="T18" fmla="*/ 2128 w 2677"/>
                  <a:gd name="T19" fmla="*/ 21 h 2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77" h="2666">
                    <a:moveTo>
                      <a:pt x="2128" y="21"/>
                    </a:moveTo>
                    <a:cubicBezTo>
                      <a:pt x="2079" y="53"/>
                      <a:pt x="2064" y="119"/>
                      <a:pt x="2096" y="168"/>
                    </a:cubicBezTo>
                    <a:cubicBezTo>
                      <a:pt x="2448" y="717"/>
                      <a:pt x="2370" y="1437"/>
                      <a:pt x="1909" y="1897"/>
                    </a:cubicBezTo>
                    <a:cubicBezTo>
                      <a:pt x="1448" y="2358"/>
                      <a:pt x="728" y="2436"/>
                      <a:pt x="180" y="2085"/>
                    </a:cubicBezTo>
                    <a:cubicBezTo>
                      <a:pt x="130" y="2053"/>
                      <a:pt x="64" y="2067"/>
                      <a:pt x="32" y="2117"/>
                    </a:cubicBezTo>
                    <a:cubicBezTo>
                      <a:pt x="0" y="2167"/>
                      <a:pt x="15" y="2233"/>
                      <a:pt x="65" y="2264"/>
                    </a:cubicBezTo>
                    <a:cubicBezTo>
                      <a:pt x="699" y="2666"/>
                      <a:pt x="1526" y="2576"/>
                      <a:pt x="2059" y="2048"/>
                    </a:cubicBezTo>
                    <a:cubicBezTo>
                      <a:pt x="2587" y="1514"/>
                      <a:pt x="2677" y="687"/>
                      <a:pt x="2276" y="53"/>
                    </a:cubicBezTo>
                    <a:cubicBezTo>
                      <a:pt x="2261" y="29"/>
                      <a:pt x="2236" y="12"/>
                      <a:pt x="2209" y="6"/>
                    </a:cubicBezTo>
                    <a:cubicBezTo>
                      <a:pt x="2181" y="0"/>
                      <a:pt x="2152" y="5"/>
                      <a:pt x="2128" y="2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93"/>
              <p:cNvSpPr>
                <a:spLocks/>
              </p:cNvSpPr>
              <p:nvPr/>
            </p:nvSpPr>
            <p:spPr bwMode="auto">
              <a:xfrm>
                <a:off x="5413" y="-722"/>
                <a:ext cx="57" cy="57"/>
              </a:xfrm>
              <a:custGeom>
                <a:avLst/>
                <a:gdLst>
                  <a:gd name="T0" fmla="*/ 190 w 1084"/>
                  <a:gd name="T1" fmla="*/ 1045 h 1084"/>
                  <a:gd name="T2" fmla="*/ 1043 w 1084"/>
                  <a:gd name="T3" fmla="*/ 192 h 1084"/>
                  <a:gd name="T4" fmla="*/ 1042 w 1084"/>
                  <a:gd name="T5" fmla="*/ 42 h 1084"/>
                  <a:gd name="T6" fmla="*/ 893 w 1084"/>
                  <a:gd name="T7" fmla="*/ 41 h 1084"/>
                  <a:gd name="T8" fmla="*/ 39 w 1084"/>
                  <a:gd name="T9" fmla="*/ 894 h 1084"/>
                  <a:gd name="T10" fmla="*/ 10 w 1084"/>
                  <a:gd name="T11" fmla="*/ 998 h 1084"/>
                  <a:gd name="T12" fmla="*/ 86 w 1084"/>
                  <a:gd name="T13" fmla="*/ 1074 h 1084"/>
                  <a:gd name="T14" fmla="*/ 190 w 1084"/>
                  <a:gd name="T15" fmla="*/ 1045 h 10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4" h="1084">
                    <a:moveTo>
                      <a:pt x="190" y="1045"/>
                    </a:moveTo>
                    <a:lnTo>
                      <a:pt x="1043" y="192"/>
                    </a:lnTo>
                    <a:cubicBezTo>
                      <a:pt x="1084" y="150"/>
                      <a:pt x="1083" y="83"/>
                      <a:pt x="1042" y="42"/>
                    </a:cubicBezTo>
                    <a:cubicBezTo>
                      <a:pt x="1001" y="1"/>
                      <a:pt x="934" y="0"/>
                      <a:pt x="893" y="41"/>
                    </a:cubicBezTo>
                    <a:lnTo>
                      <a:pt x="39" y="894"/>
                    </a:lnTo>
                    <a:cubicBezTo>
                      <a:pt x="12" y="921"/>
                      <a:pt x="0" y="961"/>
                      <a:pt x="10" y="998"/>
                    </a:cubicBezTo>
                    <a:cubicBezTo>
                      <a:pt x="20" y="1035"/>
                      <a:pt x="49" y="1064"/>
                      <a:pt x="86" y="1074"/>
                    </a:cubicBezTo>
                    <a:cubicBezTo>
                      <a:pt x="124" y="1084"/>
                      <a:pt x="163" y="1073"/>
                      <a:pt x="190" y="10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94"/>
              <p:cNvSpPr>
                <a:spLocks/>
              </p:cNvSpPr>
              <p:nvPr/>
            </p:nvSpPr>
            <p:spPr bwMode="auto">
              <a:xfrm>
                <a:off x="5447" y="-688"/>
                <a:ext cx="57" cy="57"/>
              </a:xfrm>
              <a:custGeom>
                <a:avLst/>
                <a:gdLst>
                  <a:gd name="T0" fmla="*/ 893 w 1084"/>
                  <a:gd name="T1" fmla="*/ 41 h 1084"/>
                  <a:gd name="T2" fmla="*/ 39 w 1084"/>
                  <a:gd name="T3" fmla="*/ 894 h 1084"/>
                  <a:gd name="T4" fmla="*/ 10 w 1084"/>
                  <a:gd name="T5" fmla="*/ 998 h 1084"/>
                  <a:gd name="T6" fmla="*/ 86 w 1084"/>
                  <a:gd name="T7" fmla="*/ 1074 h 1084"/>
                  <a:gd name="T8" fmla="*/ 190 w 1084"/>
                  <a:gd name="T9" fmla="*/ 1045 h 1084"/>
                  <a:gd name="T10" fmla="*/ 1043 w 1084"/>
                  <a:gd name="T11" fmla="*/ 192 h 1084"/>
                  <a:gd name="T12" fmla="*/ 1042 w 1084"/>
                  <a:gd name="T13" fmla="*/ 42 h 1084"/>
                  <a:gd name="T14" fmla="*/ 893 w 1084"/>
                  <a:gd name="T15" fmla="*/ 41 h 10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4" h="1084">
                    <a:moveTo>
                      <a:pt x="893" y="41"/>
                    </a:moveTo>
                    <a:lnTo>
                      <a:pt x="39" y="894"/>
                    </a:lnTo>
                    <a:cubicBezTo>
                      <a:pt x="12" y="921"/>
                      <a:pt x="0" y="961"/>
                      <a:pt x="10" y="998"/>
                    </a:cubicBezTo>
                    <a:cubicBezTo>
                      <a:pt x="20" y="1035"/>
                      <a:pt x="49" y="1064"/>
                      <a:pt x="86" y="1074"/>
                    </a:cubicBezTo>
                    <a:cubicBezTo>
                      <a:pt x="124" y="1084"/>
                      <a:pt x="163" y="1073"/>
                      <a:pt x="190" y="1045"/>
                    </a:cubicBezTo>
                    <a:lnTo>
                      <a:pt x="1043" y="192"/>
                    </a:lnTo>
                    <a:cubicBezTo>
                      <a:pt x="1084" y="150"/>
                      <a:pt x="1083" y="83"/>
                      <a:pt x="1042" y="42"/>
                    </a:cubicBezTo>
                    <a:cubicBezTo>
                      <a:pt x="1001" y="1"/>
                      <a:pt x="934" y="0"/>
                      <a:pt x="893" y="4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95"/>
              <p:cNvSpPr>
                <a:spLocks/>
              </p:cNvSpPr>
              <p:nvPr/>
            </p:nvSpPr>
            <p:spPr bwMode="auto">
              <a:xfrm>
                <a:off x="5419" y="-716"/>
                <a:ext cx="79" cy="80"/>
              </a:xfrm>
              <a:custGeom>
                <a:avLst/>
                <a:gdLst>
                  <a:gd name="T0" fmla="*/ 190 w 1510"/>
                  <a:gd name="T1" fmla="*/ 1471 h 1510"/>
                  <a:gd name="T2" fmla="*/ 1470 w 1510"/>
                  <a:gd name="T3" fmla="*/ 191 h 1510"/>
                  <a:gd name="T4" fmla="*/ 1468 w 1510"/>
                  <a:gd name="T5" fmla="*/ 42 h 1510"/>
                  <a:gd name="T6" fmla="*/ 1319 w 1510"/>
                  <a:gd name="T7" fmla="*/ 41 h 1510"/>
                  <a:gd name="T8" fmla="*/ 39 w 1510"/>
                  <a:gd name="T9" fmla="*/ 1321 h 1510"/>
                  <a:gd name="T10" fmla="*/ 10 w 1510"/>
                  <a:gd name="T11" fmla="*/ 1424 h 1510"/>
                  <a:gd name="T12" fmla="*/ 86 w 1510"/>
                  <a:gd name="T13" fmla="*/ 1501 h 1510"/>
                  <a:gd name="T14" fmla="*/ 190 w 1510"/>
                  <a:gd name="T15" fmla="*/ 1471 h 1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10" h="1510">
                    <a:moveTo>
                      <a:pt x="190" y="1471"/>
                    </a:moveTo>
                    <a:lnTo>
                      <a:pt x="1470" y="191"/>
                    </a:lnTo>
                    <a:cubicBezTo>
                      <a:pt x="1510" y="150"/>
                      <a:pt x="1510" y="83"/>
                      <a:pt x="1468" y="42"/>
                    </a:cubicBezTo>
                    <a:cubicBezTo>
                      <a:pt x="1427" y="1"/>
                      <a:pt x="1361" y="0"/>
                      <a:pt x="1319" y="41"/>
                    </a:cubicBezTo>
                    <a:lnTo>
                      <a:pt x="39" y="1321"/>
                    </a:lnTo>
                    <a:cubicBezTo>
                      <a:pt x="11" y="1347"/>
                      <a:pt x="0" y="1387"/>
                      <a:pt x="10" y="1424"/>
                    </a:cubicBezTo>
                    <a:cubicBezTo>
                      <a:pt x="20" y="1462"/>
                      <a:pt x="49" y="1491"/>
                      <a:pt x="86" y="1501"/>
                    </a:cubicBezTo>
                    <a:cubicBezTo>
                      <a:pt x="123" y="1510"/>
                      <a:pt x="163" y="1499"/>
                      <a:pt x="190" y="147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" name="Group 22"/>
            <p:cNvGrpSpPr>
              <a:grpSpLocks noChangeAspect="1"/>
            </p:cNvGrpSpPr>
            <p:nvPr/>
          </p:nvGrpSpPr>
          <p:grpSpPr bwMode="auto">
            <a:xfrm>
              <a:off x="9819426" y="1756983"/>
              <a:ext cx="354177" cy="540000"/>
              <a:chOff x="6135" y="894"/>
              <a:chExt cx="223" cy="340"/>
            </a:xfrm>
            <a:solidFill>
              <a:schemeClr val="bg1"/>
            </a:solidFill>
          </p:grpSpPr>
          <p:sp>
            <p:nvSpPr>
              <p:cNvPr id="7" name="Freeform 23"/>
              <p:cNvSpPr>
                <a:spLocks noEditPoints="1"/>
              </p:cNvSpPr>
              <p:nvPr/>
            </p:nvSpPr>
            <p:spPr bwMode="auto">
              <a:xfrm>
                <a:off x="6135" y="894"/>
                <a:ext cx="223" cy="340"/>
              </a:xfrm>
              <a:custGeom>
                <a:avLst/>
                <a:gdLst>
                  <a:gd name="T0" fmla="*/ 5614 w 5618"/>
                  <a:gd name="T1" fmla="*/ 1642 h 8542"/>
                  <a:gd name="T2" fmla="*/ 5607 w 5618"/>
                  <a:gd name="T3" fmla="*/ 1616 h 8542"/>
                  <a:gd name="T4" fmla="*/ 5587 w 5618"/>
                  <a:gd name="T5" fmla="*/ 1578 h 8542"/>
                  <a:gd name="T6" fmla="*/ 4061 w 5618"/>
                  <a:gd name="T7" fmla="*/ 49 h 8542"/>
                  <a:gd name="T8" fmla="*/ 4021 w 5618"/>
                  <a:gd name="T9" fmla="*/ 20 h 8542"/>
                  <a:gd name="T10" fmla="*/ 3996 w 5618"/>
                  <a:gd name="T11" fmla="*/ 9 h 8542"/>
                  <a:gd name="T12" fmla="*/ 3954 w 5618"/>
                  <a:gd name="T13" fmla="*/ 1 h 8542"/>
                  <a:gd name="T14" fmla="*/ 167 w 5618"/>
                  <a:gd name="T15" fmla="*/ 0 h 8542"/>
                  <a:gd name="T16" fmla="*/ 167 w 5618"/>
                  <a:gd name="T17" fmla="*/ 7467 h 8542"/>
                  <a:gd name="T18" fmla="*/ 2762 w 5618"/>
                  <a:gd name="T19" fmla="*/ 8512 h 8542"/>
                  <a:gd name="T20" fmla="*/ 4201 w 5618"/>
                  <a:gd name="T21" fmla="*/ 8508 h 8542"/>
                  <a:gd name="T22" fmla="*/ 4456 w 5618"/>
                  <a:gd name="T23" fmla="*/ 8367 h 8542"/>
                  <a:gd name="T24" fmla="*/ 5618 w 5618"/>
                  <a:gd name="T25" fmla="*/ 7300 h 8542"/>
                  <a:gd name="T26" fmla="*/ 4109 w 5618"/>
                  <a:gd name="T27" fmla="*/ 569 h 8542"/>
                  <a:gd name="T28" fmla="*/ 4109 w 5618"/>
                  <a:gd name="T29" fmla="*/ 569 h 8542"/>
                  <a:gd name="T30" fmla="*/ 2648 w 5618"/>
                  <a:gd name="T31" fmla="*/ 4981 h 8542"/>
                  <a:gd name="T32" fmla="*/ 2942 w 5618"/>
                  <a:gd name="T33" fmla="*/ 4524 h 8542"/>
                  <a:gd name="T34" fmla="*/ 3123 w 5618"/>
                  <a:gd name="T35" fmla="*/ 4526 h 8542"/>
                  <a:gd name="T36" fmla="*/ 3565 w 5618"/>
                  <a:gd name="T37" fmla="*/ 4319 h 8542"/>
                  <a:gd name="T38" fmla="*/ 4009 w 5618"/>
                  <a:gd name="T39" fmla="*/ 4526 h 8542"/>
                  <a:gd name="T40" fmla="*/ 4190 w 5618"/>
                  <a:gd name="T41" fmla="*/ 4524 h 8542"/>
                  <a:gd name="T42" fmla="*/ 4484 w 5618"/>
                  <a:gd name="T43" fmla="*/ 4981 h 8542"/>
                  <a:gd name="T44" fmla="*/ 4485 w 5618"/>
                  <a:gd name="T45" fmla="*/ 5377 h 8542"/>
                  <a:gd name="T46" fmla="*/ 4484 w 5618"/>
                  <a:gd name="T47" fmla="*/ 5773 h 8542"/>
                  <a:gd name="T48" fmla="*/ 4190 w 5618"/>
                  <a:gd name="T49" fmla="*/ 6230 h 8542"/>
                  <a:gd name="T50" fmla="*/ 4009 w 5618"/>
                  <a:gd name="T51" fmla="*/ 6228 h 8542"/>
                  <a:gd name="T52" fmla="*/ 3566 w 5618"/>
                  <a:gd name="T53" fmla="*/ 6435 h 8542"/>
                  <a:gd name="T54" fmla="*/ 3123 w 5618"/>
                  <a:gd name="T55" fmla="*/ 6228 h 8542"/>
                  <a:gd name="T56" fmla="*/ 2942 w 5618"/>
                  <a:gd name="T57" fmla="*/ 6230 h 8542"/>
                  <a:gd name="T58" fmla="*/ 2648 w 5618"/>
                  <a:gd name="T59" fmla="*/ 5773 h 8542"/>
                  <a:gd name="T60" fmla="*/ 2647 w 5618"/>
                  <a:gd name="T61" fmla="*/ 5377 h 8542"/>
                  <a:gd name="T62" fmla="*/ 3655 w 5618"/>
                  <a:gd name="T63" fmla="*/ 7772 h 8542"/>
                  <a:gd name="T64" fmla="*/ 3009 w 5618"/>
                  <a:gd name="T65" fmla="*/ 6565 h 8542"/>
                  <a:gd name="T66" fmla="*/ 3170 w 5618"/>
                  <a:gd name="T67" fmla="*/ 6566 h 8542"/>
                  <a:gd name="T68" fmla="*/ 3873 w 5618"/>
                  <a:gd name="T69" fmla="*/ 6628 h 8542"/>
                  <a:gd name="T70" fmla="*/ 4071 w 5618"/>
                  <a:gd name="T71" fmla="*/ 6563 h 8542"/>
                  <a:gd name="T72" fmla="*/ 4456 w 5618"/>
                  <a:gd name="T73" fmla="*/ 7134 h 8542"/>
                  <a:gd name="T74" fmla="*/ 4577 w 5618"/>
                  <a:gd name="T75" fmla="*/ 6117 h 8542"/>
                  <a:gd name="T76" fmla="*/ 4851 w 5618"/>
                  <a:gd name="T77" fmla="*/ 5491 h 8542"/>
                  <a:gd name="T78" fmla="*/ 4886 w 5618"/>
                  <a:gd name="T79" fmla="*/ 4937 h 8542"/>
                  <a:gd name="T80" fmla="*/ 4544 w 5618"/>
                  <a:gd name="T81" fmla="*/ 4537 h 8542"/>
                  <a:gd name="T82" fmla="*/ 4071 w 5618"/>
                  <a:gd name="T83" fmla="*/ 4190 h 8542"/>
                  <a:gd name="T84" fmla="*/ 3873 w 5618"/>
                  <a:gd name="T85" fmla="*/ 4126 h 8542"/>
                  <a:gd name="T86" fmla="*/ 3170 w 5618"/>
                  <a:gd name="T87" fmla="*/ 4188 h 8542"/>
                  <a:gd name="T88" fmla="*/ 2983 w 5618"/>
                  <a:gd name="T89" fmla="*/ 4188 h 8542"/>
                  <a:gd name="T90" fmla="*/ 2555 w 5618"/>
                  <a:gd name="T91" fmla="*/ 4637 h 8542"/>
                  <a:gd name="T92" fmla="*/ 2281 w 5618"/>
                  <a:gd name="T93" fmla="*/ 5263 h 8542"/>
                  <a:gd name="T94" fmla="*/ 2246 w 5618"/>
                  <a:gd name="T95" fmla="*/ 5817 h 8542"/>
                  <a:gd name="T96" fmla="*/ 2588 w 5618"/>
                  <a:gd name="T97" fmla="*/ 6216 h 8542"/>
                  <a:gd name="T98" fmla="*/ 333 w 5618"/>
                  <a:gd name="T99" fmla="*/ 7134 h 8542"/>
                  <a:gd name="T100" fmla="*/ 3776 w 5618"/>
                  <a:gd name="T101" fmla="*/ 1675 h 8542"/>
                  <a:gd name="T102" fmla="*/ 5284 w 5618"/>
                  <a:gd name="T103" fmla="*/ 7134 h 8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618" h="8542">
                    <a:moveTo>
                      <a:pt x="5617" y="1669"/>
                    </a:moveTo>
                    <a:cubicBezTo>
                      <a:pt x="5617" y="1667"/>
                      <a:pt x="5617" y="1666"/>
                      <a:pt x="5617" y="1664"/>
                    </a:cubicBezTo>
                    <a:cubicBezTo>
                      <a:pt x="5617" y="1657"/>
                      <a:pt x="5616" y="1649"/>
                      <a:pt x="5614" y="1642"/>
                    </a:cubicBezTo>
                    <a:lnTo>
                      <a:pt x="5614" y="1642"/>
                    </a:lnTo>
                    <a:cubicBezTo>
                      <a:pt x="5613" y="1635"/>
                      <a:pt x="5611" y="1628"/>
                      <a:pt x="5609" y="1622"/>
                    </a:cubicBezTo>
                    <a:cubicBezTo>
                      <a:pt x="5608" y="1620"/>
                      <a:pt x="5607" y="1618"/>
                      <a:pt x="5607" y="1616"/>
                    </a:cubicBezTo>
                    <a:cubicBezTo>
                      <a:pt x="5604" y="1610"/>
                      <a:pt x="5602" y="1604"/>
                      <a:pt x="5599" y="1598"/>
                    </a:cubicBezTo>
                    <a:cubicBezTo>
                      <a:pt x="5598" y="1597"/>
                      <a:pt x="5598" y="1597"/>
                      <a:pt x="5598" y="1597"/>
                    </a:cubicBezTo>
                    <a:cubicBezTo>
                      <a:pt x="5595" y="1590"/>
                      <a:pt x="5591" y="1584"/>
                      <a:pt x="5587" y="1578"/>
                    </a:cubicBezTo>
                    <a:cubicBezTo>
                      <a:pt x="5585" y="1577"/>
                      <a:pt x="5584" y="1575"/>
                      <a:pt x="5583" y="1574"/>
                    </a:cubicBezTo>
                    <a:cubicBezTo>
                      <a:pt x="5579" y="1568"/>
                      <a:pt x="5574" y="1562"/>
                      <a:pt x="5569" y="1557"/>
                    </a:cubicBezTo>
                    <a:lnTo>
                      <a:pt x="4061" y="49"/>
                    </a:lnTo>
                    <a:cubicBezTo>
                      <a:pt x="4055" y="44"/>
                      <a:pt x="4050" y="39"/>
                      <a:pt x="4044" y="34"/>
                    </a:cubicBezTo>
                    <a:cubicBezTo>
                      <a:pt x="4042" y="33"/>
                      <a:pt x="4041" y="32"/>
                      <a:pt x="4039" y="31"/>
                    </a:cubicBezTo>
                    <a:cubicBezTo>
                      <a:pt x="4033" y="27"/>
                      <a:pt x="4027" y="23"/>
                      <a:pt x="4021" y="20"/>
                    </a:cubicBezTo>
                    <a:cubicBezTo>
                      <a:pt x="4021" y="19"/>
                      <a:pt x="4020" y="19"/>
                      <a:pt x="4020" y="19"/>
                    </a:cubicBezTo>
                    <a:cubicBezTo>
                      <a:pt x="4014" y="16"/>
                      <a:pt x="4008" y="13"/>
                      <a:pt x="4001" y="11"/>
                    </a:cubicBezTo>
                    <a:cubicBezTo>
                      <a:pt x="3999" y="10"/>
                      <a:pt x="3998" y="10"/>
                      <a:pt x="3996" y="9"/>
                    </a:cubicBezTo>
                    <a:cubicBezTo>
                      <a:pt x="3989" y="7"/>
                      <a:pt x="3982" y="5"/>
                      <a:pt x="3975" y="3"/>
                    </a:cubicBezTo>
                    <a:lnTo>
                      <a:pt x="3975" y="3"/>
                    </a:lnTo>
                    <a:cubicBezTo>
                      <a:pt x="3968" y="2"/>
                      <a:pt x="3961" y="1"/>
                      <a:pt x="3954" y="1"/>
                    </a:cubicBezTo>
                    <a:cubicBezTo>
                      <a:pt x="3952" y="0"/>
                      <a:pt x="3950" y="0"/>
                      <a:pt x="3948" y="0"/>
                    </a:cubicBezTo>
                    <a:cubicBezTo>
                      <a:pt x="3947" y="0"/>
                      <a:pt x="3945" y="0"/>
                      <a:pt x="3943" y="0"/>
                    </a:cubicBezTo>
                    <a:lnTo>
                      <a:pt x="167" y="0"/>
                    </a:lnTo>
                    <a:cubicBezTo>
                      <a:pt x="75" y="0"/>
                      <a:pt x="0" y="75"/>
                      <a:pt x="0" y="167"/>
                    </a:cubicBezTo>
                    <a:lnTo>
                      <a:pt x="0" y="7300"/>
                    </a:lnTo>
                    <a:cubicBezTo>
                      <a:pt x="0" y="7392"/>
                      <a:pt x="75" y="7467"/>
                      <a:pt x="167" y="7467"/>
                    </a:cubicBezTo>
                    <a:lnTo>
                      <a:pt x="2676" y="7467"/>
                    </a:lnTo>
                    <a:lnTo>
                      <a:pt x="2676" y="8367"/>
                    </a:lnTo>
                    <a:cubicBezTo>
                      <a:pt x="2676" y="8427"/>
                      <a:pt x="2709" y="8483"/>
                      <a:pt x="2762" y="8512"/>
                    </a:cubicBezTo>
                    <a:cubicBezTo>
                      <a:pt x="2815" y="8542"/>
                      <a:pt x="2880" y="8540"/>
                      <a:pt x="2931" y="8508"/>
                    </a:cubicBezTo>
                    <a:lnTo>
                      <a:pt x="3566" y="8110"/>
                    </a:lnTo>
                    <a:lnTo>
                      <a:pt x="4201" y="8508"/>
                    </a:lnTo>
                    <a:cubicBezTo>
                      <a:pt x="4228" y="8525"/>
                      <a:pt x="4259" y="8533"/>
                      <a:pt x="4289" y="8533"/>
                    </a:cubicBezTo>
                    <a:cubicBezTo>
                      <a:pt x="4317" y="8533"/>
                      <a:pt x="4345" y="8526"/>
                      <a:pt x="4370" y="8513"/>
                    </a:cubicBezTo>
                    <a:cubicBezTo>
                      <a:pt x="4423" y="8483"/>
                      <a:pt x="4456" y="8427"/>
                      <a:pt x="4456" y="8367"/>
                    </a:cubicBezTo>
                    <a:lnTo>
                      <a:pt x="4456" y="7467"/>
                    </a:lnTo>
                    <a:lnTo>
                      <a:pt x="5451" y="7467"/>
                    </a:lnTo>
                    <a:cubicBezTo>
                      <a:pt x="5543" y="7467"/>
                      <a:pt x="5618" y="7392"/>
                      <a:pt x="5618" y="7300"/>
                    </a:cubicBezTo>
                    <a:lnTo>
                      <a:pt x="5618" y="1675"/>
                    </a:lnTo>
                    <a:cubicBezTo>
                      <a:pt x="5618" y="1673"/>
                      <a:pt x="5617" y="1671"/>
                      <a:pt x="5617" y="1669"/>
                    </a:cubicBezTo>
                    <a:close/>
                    <a:moveTo>
                      <a:pt x="4109" y="569"/>
                    </a:moveTo>
                    <a:lnTo>
                      <a:pt x="5049" y="1508"/>
                    </a:lnTo>
                    <a:lnTo>
                      <a:pt x="4109" y="1508"/>
                    </a:lnTo>
                    <a:lnTo>
                      <a:pt x="4109" y="569"/>
                    </a:lnTo>
                    <a:close/>
                    <a:moveTo>
                      <a:pt x="2594" y="5148"/>
                    </a:moveTo>
                    <a:cubicBezTo>
                      <a:pt x="2582" y="5116"/>
                      <a:pt x="2563" y="5064"/>
                      <a:pt x="2562" y="5043"/>
                    </a:cubicBezTo>
                    <a:cubicBezTo>
                      <a:pt x="2575" y="5027"/>
                      <a:pt x="2621" y="4998"/>
                      <a:pt x="2648" y="4981"/>
                    </a:cubicBezTo>
                    <a:cubicBezTo>
                      <a:pt x="2708" y="4943"/>
                      <a:pt x="2775" y="4900"/>
                      <a:pt x="2824" y="4834"/>
                    </a:cubicBezTo>
                    <a:cubicBezTo>
                      <a:pt x="2873" y="4767"/>
                      <a:pt x="2893" y="4689"/>
                      <a:pt x="2911" y="4620"/>
                    </a:cubicBezTo>
                    <a:cubicBezTo>
                      <a:pt x="2919" y="4591"/>
                      <a:pt x="2931" y="4542"/>
                      <a:pt x="2942" y="4524"/>
                    </a:cubicBezTo>
                    <a:cubicBezTo>
                      <a:pt x="2948" y="4523"/>
                      <a:pt x="2960" y="4521"/>
                      <a:pt x="2983" y="4521"/>
                    </a:cubicBezTo>
                    <a:cubicBezTo>
                      <a:pt x="3002" y="4521"/>
                      <a:pt x="3022" y="4522"/>
                      <a:pt x="3044" y="4523"/>
                    </a:cubicBezTo>
                    <a:cubicBezTo>
                      <a:pt x="3070" y="4524"/>
                      <a:pt x="3096" y="4526"/>
                      <a:pt x="3123" y="4526"/>
                    </a:cubicBezTo>
                    <a:cubicBezTo>
                      <a:pt x="3183" y="4526"/>
                      <a:pt x="3231" y="4519"/>
                      <a:pt x="3275" y="4504"/>
                    </a:cubicBezTo>
                    <a:cubicBezTo>
                      <a:pt x="3352" y="4479"/>
                      <a:pt x="3413" y="4429"/>
                      <a:pt x="3468" y="4386"/>
                    </a:cubicBezTo>
                    <a:cubicBezTo>
                      <a:pt x="3498" y="4362"/>
                      <a:pt x="3548" y="4321"/>
                      <a:pt x="3565" y="4319"/>
                    </a:cubicBezTo>
                    <a:cubicBezTo>
                      <a:pt x="3584" y="4321"/>
                      <a:pt x="3634" y="4362"/>
                      <a:pt x="3664" y="4386"/>
                    </a:cubicBezTo>
                    <a:cubicBezTo>
                      <a:pt x="3718" y="4429"/>
                      <a:pt x="3780" y="4479"/>
                      <a:pt x="3857" y="4504"/>
                    </a:cubicBezTo>
                    <a:cubicBezTo>
                      <a:pt x="3901" y="4519"/>
                      <a:pt x="3949" y="4526"/>
                      <a:pt x="4009" y="4526"/>
                    </a:cubicBezTo>
                    <a:cubicBezTo>
                      <a:pt x="4036" y="4526"/>
                      <a:pt x="4062" y="4524"/>
                      <a:pt x="4087" y="4523"/>
                    </a:cubicBezTo>
                    <a:cubicBezTo>
                      <a:pt x="4110" y="4522"/>
                      <a:pt x="4130" y="4521"/>
                      <a:pt x="4149" y="4521"/>
                    </a:cubicBezTo>
                    <a:cubicBezTo>
                      <a:pt x="4172" y="4521"/>
                      <a:pt x="4184" y="4523"/>
                      <a:pt x="4190" y="4524"/>
                    </a:cubicBezTo>
                    <a:cubicBezTo>
                      <a:pt x="4201" y="4542"/>
                      <a:pt x="4213" y="4591"/>
                      <a:pt x="4221" y="4620"/>
                    </a:cubicBezTo>
                    <a:cubicBezTo>
                      <a:pt x="4239" y="4689"/>
                      <a:pt x="4259" y="4767"/>
                      <a:pt x="4308" y="4834"/>
                    </a:cubicBezTo>
                    <a:cubicBezTo>
                      <a:pt x="4357" y="4900"/>
                      <a:pt x="4424" y="4943"/>
                      <a:pt x="4484" y="4981"/>
                    </a:cubicBezTo>
                    <a:cubicBezTo>
                      <a:pt x="4511" y="4998"/>
                      <a:pt x="4556" y="5027"/>
                      <a:pt x="4569" y="5043"/>
                    </a:cubicBezTo>
                    <a:cubicBezTo>
                      <a:pt x="4569" y="5064"/>
                      <a:pt x="4550" y="5116"/>
                      <a:pt x="4538" y="5148"/>
                    </a:cubicBezTo>
                    <a:cubicBezTo>
                      <a:pt x="4513" y="5215"/>
                      <a:pt x="4485" y="5292"/>
                      <a:pt x="4485" y="5377"/>
                    </a:cubicBezTo>
                    <a:cubicBezTo>
                      <a:pt x="4485" y="5462"/>
                      <a:pt x="4513" y="5538"/>
                      <a:pt x="4538" y="5606"/>
                    </a:cubicBezTo>
                    <a:cubicBezTo>
                      <a:pt x="4550" y="5638"/>
                      <a:pt x="4569" y="5690"/>
                      <a:pt x="4569" y="5711"/>
                    </a:cubicBezTo>
                    <a:cubicBezTo>
                      <a:pt x="4556" y="5727"/>
                      <a:pt x="4511" y="5756"/>
                      <a:pt x="4484" y="5773"/>
                    </a:cubicBezTo>
                    <a:cubicBezTo>
                      <a:pt x="4424" y="5811"/>
                      <a:pt x="4357" y="5853"/>
                      <a:pt x="4308" y="5920"/>
                    </a:cubicBezTo>
                    <a:cubicBezTo>
                      <a:pt x="4259" y="5987"/>
                      <a:pt x="4239" y="6065"/>
                      <a:pt x="4221" y="6133"/>
                    </a:cubicBezTo>
                    <a:cubicBezTo>
                      <a:pt x="4213" y="6163"/>
                      <a:pt x="4201" y="6211"/>
                      <a:pt x="4190" y="6230"/>
                    </a:cubicBezTo>
                    <a:cubicBezTo>
                      <a:pt x="4184" y="6231"/>
                      <a:pt x="4172" y="6233"/>
                      <a:pt x="4149" y="6233"/>
                    </a:cubicBezTo>
                    <a:cubicBezTo>
                      <a:pt x="4130" y="6233"/>
                      <a:pt x="4110" y="6232"/>
                      <a:pt x="4087" y="6231"/>
                    </a:cubicBezTo>
                    <a:cubicBezTo>
                      <a:pt x="4062" y="6229"/>
                      <a:pt x="4036" y="6228"/>
                      <a:pt x="4009" y="6228"/>
                    </a:cubicBezTo>
                    <a:cubicBezTo>
                      <a:pt x="3949" y="6228"/>
                      <a:pt x="3901" y="6235"/>
                      <a:pt x="3857" y="6249"/>
                    </a:cubicBezTo>
                    <a:cubicBezTo>
                      <a:pt x="3780" y="6275"/>
                      <a:pt x="3718" y="6324"/>
                      <a:pt x="3664" y="6368"/>
                    </a:cubicBezTo>
                    <a:cubicBezTo>
                      <a:pt x="3635" y="6392"/>
                      <a:pt x="3586" y="6431"/>
                      <a:pt x="3566" y="6435"/>
                    </a:cubicBezTo>
                    <a:cubicBezTo>
                      <a:pt x="3546" y="6431"/>
                      <a:pt x="3497" y="6392"/>
                      <a:pt x="3468" y="6368"/>
                    </a:cubicBezTo>
                    <a:cubicBezTo>
                      <a:pt x="3413" y="6324"/>
                      <a:pt x="3352" y="6275"/>
                      <a:pt x="3275" y="6249"/>
                    </a:cubicBezTo>
                    <a:cubicBezTo>
                      <a:pt x="3231" y="6235"/>
                      <a:pt x="3183" y="6228"/>
                      <a:pt x="3123" y="6228"/>
                    </a:cubicBezTo>
                    <a:cubicBezTo>
                      <a:pt x="3096" y="6228"/>
                      <a:pt x="3070" y="6229"/>
                      <a:pt x="3044" y="6231"/>
                    </a:cubicBezTo>
                    <a:cubicBezTo>
                      <a:pt x="3022" y="6232"/>
                      <a:pt x="3002" y="6233"/>
                      <a:pt x="2983" y="6233"/>
                    </a:cubicBezTo>
                    <a:cubicBezTo>
                      <a:pt x="2960" y="6233"/>
                      <a:pt x="2948" y="6231"/>
                      <a:pt x="2942" y="6230"/>
                    </a:cubicBezTo>
                    <a:cubicBezTo>
                      <a:pt x="2931" y="6211"/>
                      <a:pt x="2919" y="6163"/>
                      <a:pt x="2911" y="6133"/>
                    </a:cubicBezTo>
                    <a:cubicBezTo>
                      <a:pt x="2893" y="6065"/>
                      <a:pt x="2873" y="5987"/>
                      <a:pt x="2824" y="5920"/>
                    </a:cubicBezTo>
                    <a:cubicBezTo>
                      <a:pt x="2775" y="5853"/>
                      <a:pt x="2708" y="5811"/>
                      <a:pt x="2648" y="5773"/>
                    </a:cubicBezTo>
                    <a:cubicBezTo>
                      <a:pt x="2621" y="5756"/>
                      <a:pt x="2576" y="5727"/>
                      <a:pt x="2563" y="5711"/>
                    </a:cubicBezTo>
                    <a:cubicBezTo>
                      <a:pt x="2563" y="5690"/>
                      <a:pt x="2582" y="5638"/>
                      <a:pt x="2594" y="5606"/>
                    </a:cubicBezTo>
                    <a:cubicBezTo>
                      <a:pt x="2618" y="5538"/>
                      <a:pt x="2647" y="5462"/>
                      <a:pt x="2647" y="5377"/>
                    </a:cubicBezTo>
                    <a:cubicBezTo>
                      <a:pt x="2647" y="5292"/>
                      <a:pt x="2618" y="5215"/>
                      <a:pt x="2594" y="5148"/>
                    </a:cubicBezTo>
                    <a:close/>
                    <a:moveTo>
                      <a:pt x="4123" y="8065"/>
                    </a:moveTo>
                    <a:lnTo>
                      <a:pt x="3655" y="7772"/>
                    </a:lnTo>
                    <a:cubicBezTo>
                      <a:pt x="3600" y="7738"/>
                      <a:pt x="3532" y="7738"/>
                      <a:pt x="3477" y="7772"/>
                    </a:cubicBezTo>
                    <a:lnTo>
                      <a:pt x="3009" y="8065"/>
                    </a:lnTo>
                    <a:lnTo>
                      <a:pt x="3009" y="6565"/>
                    </a:lnTo>
                    <a:cubicBezTo>
                      <a:pt x="3027" y="6565"/>
                      <a:pt x="3044" y="6564"/>
                      <a:pt x="3061" y="6563"/>
                    </a:cubicBezTo>
                    <a:cubicBezTo>
                      <a:pt x="3083" y="6562"/>
                      <a:pt x="3104" y="6561"/>
                      <a:pt x="3123" y="6561"/>
                    </a:cubicBezTo>
                    <a:cubicBezTo>
                      <a:pt x="3152" y="6561"/>
                      <a:pt x="3165" y="6564"/>
                      <a:pt x="3170" y="6566"/>
                    </a:cubicBezTo>
                    <a:cubicBezTo>
                      <a:pt x="3190" y="6572"/>
                      <a:pt x="3228" y="6603"/>
                      <a:pt x="3259" y="6628"/>
                    </a:cubicBezTo>
                    <a:cubicBezTo>
                      <a:pt x="3336" y="6690"/>
                      <a:pt x="3433" y="6768"/>
                      <a:pt x="3566" y="6768"/>
                    </a:cubicBezTo>
                    <a:cubicBezTo>
                      <a:pt x="3699" y="6768"/>
                      <a:pt x="3795" y="6690"/>
                      <a:pt x="3873" y="6628"/>
                    </a:cubicBezTo>
                    <a:cubicBezTo>
                      <a:pt x="3904" y="6603"/>
                      <a:pt x="3942" y="6572"/>
                      <a:pt x="3962" y="6566"/>
                    </a:cubicBezTo>
                    <a:cubicBezTo>
                      <a:pt x="3967" y="6564"/>
                      <a:pt x="3979" y="6561"/>
                      <a:pt x="4009" y="6561"/>
                    </a:cubicBezTo>
                    <a:cubicBezTo>
                      <a:pt x="4028" y="6561"/>
                      <a:pt x="4049" y="6562"/>
                      <a:pt x="4071" y="6563"/>
                    </a:cubicBezTo>
                    <a:cubicBezTo>
                      <a:pt x="4088" y="6564"/>
                      <a:pt x="4105" y="6565"/>
                      <a:pt x="4123" y="6565"/>
                    </a:cubicBezTo>
                    <a:lnTo>
                      <a:pt x="4123" y="8065"/>
                    </a:lnTo>
                    <a:close/>
                    <a:moveTo>
                      <a:pt x="4456" y="7134"/>
                    </a:moveTo>
                    <a:lnTo>
                      <a:pt x="4456" y="6431"/>
                    </a:lnTo>
                    <a:cubicBezTo>
                      <a:pt x="4506" y="6364"/>
                      <a:pt x="4526" y="6284"/>
                      <a:pt x="4544" y="6216"/>
                    </a:cubicBezTo>
                    <a:cubicBezTo>
                      <a:pt x="4553" y="6181"/>
                      <a:pt x="4565" y="6132"/>
                      <a:pt x="4577" y="6117"/>
                    </a:cubicBezTo>
                    <a:cubicBezTo>
                      <a:pt x="4588" y="6101"/>
                      <a:pt x="4631" y="6074"/>
                      <a:pt x="4662" y="6055"/>
                    </a:cubicBezTo>
                    <a:cubicBezTo>
                      <a:pt x="4744" y="6003"/>
                      <a:pt x="4846" y="5938"/>
                      <a:pt x="4886" y="5816"/>
                    </a:cubicBezTo>
                    <a:cubicBezTo>
                      <a:pt x="4926" y="5696"/>
                      <a:pt x="4885" y="5582"/>
                      <a:pt x="4851" y="5491"/>
                    </a:cubicBezTo>
                    <a:cubicBezTo>
                      <a:pt x="4836" y="5449"/>
                      <a:pt x="4819" y="5402"/>
                      <a:pt x="4819" y="5377"/>
                    </a:cubicBezTo>
                    <a:cubicBezTo>
                      <a:pt x="4819" y="5351"/>
                      <a:pt x="4836" y="5304"/>
                      <a:pt x="4851" y="5263"/>
                    </a:cubicBezTo>
                    <a:cubicBezTo>
                      <a:pt x="4885" y="5171"/>
                      <a:pt x="4926" y="5057"/>
                      <a:pt x="4886" y="4937"/>
                    </a:cubicBezTo>
                    <a:cubicBezTo>
                      <a:pt x="4846" y="4815"/>
                      <a:pt x="4744" y="4751"/>
                      <a:pt x="4662" y="4699"/>
                    </a:cubicBezTo>
                    <a:cubicBezTo>
                      <a:pt x="4631" y="4679"/>
                      <a:pt x="4588" y="4652"/>
                      <a:pt x="4577" y="4637"/>
                    </a:cubicBezTo>
                    <a:cubicBezTo>
                      <a:pt x="4565" y="4621"/>
                      <a:pt x="4553" y="4573"/>
                      <a:pt x="4544" y="4537"/>
                    </a:cubicBezTo>
                    <a:cubicBezTo>
                      <a:pt x="4520" y="4444"/>
                      <a:pt x="4490" y="4329"/>
                      <a:pt x="4388" y="4254"/>
                    </a:cubicBezTo>
                    <a:cubicBezTo>
                      <a:pt x="4307" y="4194"/>
                      <a:pt x="4213" y="4188"/>
                      <a:pt x="4149" y="4188"/>
                    </a:cubicBezTo>
                    <a:cubicBezTo>
                      <a:pt x="4122" y="4188"/>
                      <a:pt x="4096" y="4189"/>
                      <a:pt x="4071" y="4190"/>
                    </a:cubicBezTo>
                    <a:cubicBezTo>
                      <a:pt x="4049" y="4191"/>
                      <a:pt x="4028" y="4192"/>
                      <a:pt x="4009" y="4192"/>
                    </a:cubicBezTo>
                    <a:cubicBezTo>
                      <a:pt x="3979" y="4192"/>
                      <a:pt x="3967" y="4190"/>
                      <a:pt x="3962" y="4188"/>
                    </a:cubicBezTo>
                    <a:cubicBezTo>
                      <a:pt x="3942" y="4181"/>
                      <a:pt x="3904" y="4151"/>
                      <a:pt x="3873" y="4126"/>
                    </a:cubicBezTo>
                    <a:cubicBezTo>
                      <a:pt x="3795" y="4063"/>
                      <a:pt x="3699" y="3985"/>
                      <a:pt x="3566" y="3985"/>
                    </a:cubicBezTo>
                    <a:cubicBezTo>
                      <a:pt x="3433" y="3985"/>
                      <a:pt x="3336" y="4063"/>
                      <a:pt x="3259" y="4126"/>
                    </a:cubicBezTo>
                    <a:cubicBezTo>
                      <a:pt x="3228" y="4151"/>
                      <a:pt x="3190" y="4181"/>
                      <a:pt x="3170" y="4188"/>
                    </a:cubicBezTo>
                    <a:cubicBezTo>
                      <a:pt x="3165" y="4190"/>
                      <a:pt x="3152" y="4192"/>
                      <a:pt x="3123" y="4192"/>
                    </a:cubicBezTo>
                    <a:cubicBezTo>
                      <a:pt x="3104" y="4192"/>
                      <a:pt x="3083" y="4191"/>
                      <a:pt x="3061" y="4190"/>
                    </a:cubicBezTo>
                    <a:cubicBezTo>
                      <a:pt x="3036" y="4189"/>
                      <a:pt x="3010" y="4188"/>
                      <a:pt x="2983" y="4188"/>
                    </a:cubicBezTo>
                    <a:cubicBezTo>
                      <a:pt x="2919" y="4188"/>
                      <a:pt x="2825" y="4194"/>
                      <a:pt x="2744" y="4254"/>
                    </a:cubicBezTo>
                    <a:cubicBezTo>
                      <a:pt x="2642" y="4329"/>
                      <a:pt x="2612" y="4444"/>
                      <a:pt x="2588" y="4537"/>
                    </a:cubicBezTo>
                    <a:cubicBezTo>
                      <a:pt x="2579" y="4573"/>
                      <a:pt x="2566" y="4621"/>
                      <a:pt x="2555" y="4637"/>
                    </a:cubicBezTo>
                    <a:cubicBezTo>
                      <a:pt x="2544" y="4652"/>
                      <a:pt x="2501" y="4679"/>
                      <a:pt x="2470" y="4699"/>
                    </a:cubicBezTo>
                    <a:cubicBezTo>
                      <a:pt x="2388" y="4751"/>
                      <a:pt x="2286" y="4815"/>
                      <a:pt x="2246" y="4937"/>
                    </a:cubicBezTo>
                    <a:cubicBezTo>
                      <a:pt x="2205" y="5057"/>
                      <a:pt x="2247" y="5171"/>
                      <a:pt x="2281" y="5263"/>
                    </a:cubicBezTo>
                    <a:cubicBezTo>
                      <a:pt x="2296" y="5304"/>
                      <a:pt x="2313" y="5351"/>
                      <a:pt x="2313" y="5377"/>
                    </a:cubicBezTo>
                    <a:cubicBezTo>
                      <a:pt x="2313" y="5402"/>
                      <a:pt x="2296" y="5449"/>
                      <a:pt x="2281" y="5491"/>
                    </a:cubicBezTo>
                    <a:cubicBezTo>
                      <a:pt x="2247" y="5582"/>
                      <a:pt x="2205" y="5696"/>
                      <a:pt x="2246" y="5817"/>
                    </a:cubicBezTo>
                    <a:cubicBezTo>
                      <a:pt x="2286" y="5938"/>
                      <a:pt x="2388" y="6003"/>
                      <a:pt x="2470" y="6055"/>
                    </a:cubicBezTo>
                    <a:cubicBezTo>
                      <a:pt x="2501" y="6074"/>
                      <a:pt x="2544" y="6101"/>
                      <a:pt x="2555" y="6117"/>
                    </a:cubicBezTo>
                    <a:cubicBezTo>
                      <a:pt x="2566" y="6132"/>
                      <a:pt x="2579" y="6181"/>
                      <a:pt x="2588" y="6216"/>
                    </a:cubicBezTo>
                    <a:cubicBezTo>
                      <a:pt x="2606" y="6284"/>
                      <a:pt x="2626" y="6364"/>
                      <a:pt x="2676" y="6431"/>
                    </a:cubicBezTo>
                    <a:lnTo>
                      <a:pt x="2676" y="7134"/>
                    </a:lnTo>
                    <a:lnTo>
                      <a:pt x="333" y="7134"/>
                    </a:lnTo>
                    <a:lnTo>
                      <a:pt x="333" y="333"/>
                    </a:lnTo>
                    <a:lnTo>
                      <a:pt x="3776" y="333"/>
                    </a:lnTo>
                    <a:lnTo>
                      <a:pt x="3776" y="1675"/>
                    </a:lnTo>
                    <a:cubicBezTo>
                      <a:pt x="3776" y="1767"/>
                      <a:pt x="3851" y="1842"/>
                      <a:pt x="3943" y="1842"/>
                    </a:cubicBezTo>
                    <a:lnTo>
                      <a:pt x="5284" y="1842"/>
                    </a:lnTo>
                    <a:lnTo>
                      <a:pt x="5284" y="7134"/>
                    </a:lnTo>
                    <a:lnTo>
                      <a:pt x="4456" y="7134"/>
                    </a:lnTo>
                    <a:close/>
                    <a:moveTo>
                      <a:pt x="4456" y="7134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24"/>
              <p:cNvSpPr>
                <a:spLocks noEditPoints="1"/>
              </p:cNvSpPr>
              <p:nvPr/>
            </p:nvSpPr>
            <p:spPr bwMode="auto">
              <a:xfrm>
                <a:off x="6167" y="954"/>
                <a:ext cx="99" cy="13"/>
              </a:xfrm>
              <a:custGeom>
                <a:avLst/>
                <a:gdLst>
                  <a:gd name="T0" fmla="*/ 167 w 2481"/>
                  <a:gd name="T1" fmla="*/ 334 h 334"/>
                  <a:gd name="T2" fmla="*/ 2314 w 2481"/>
                  <a:gd name="T3" fmla="*/ 334 h 334"/>
                  <a:gd name="T4" fmla="*/ 2481 w 2481"/>
                  <a:gd name="T5" fmla="*/ 167 h 334"/>
                  <a:gd name="T6" fmla="*/ 2314 w 2481"/>
                  <a:gd name="T7" fmla="*/ 0 h 334"/>
                  <a:gd name="T8" fmla="*/ 167 w 2481"/>
                  <a:gd name="T9" fmla="*/ 0 h 334"/>
                  <a:gd name="T10" fmla="*/ 0 w 2481"/>
                  <a:gd name="T11" fmla="*/ 167 h 334"/>
                  <a:gd name="T12" fmla="*/ 167 w 2481"/>
                  <a:gd name="T13" fmla="*/ 334 h 334"/>
                  <a:gd name="T14" fmla="*/ 167 w 2481"/>
                  <a:gd name="T15" fmla="*/ 334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81" h="334">
                    <a:moveTo>
                      <a:pt x="167" y="334"/>
                    </a:moveTo>
                    <a:lnTo>
                      <a:pt x="2314" y="334"/>
                    </a:lnTo>
                    <a:cubicBezTo>
                      <a:pt x="2406" y="334"/>
                      <a:pt x="2481" y="259"/>
                      <a:pt x="2481" y="167"/>
                    </a:cubicBezTo>
                    <a:cubicBezTo>
                      <a:pt x="2481" y="75"/>
                      <a:pt x="2406" y="0"/>
                      <a:pt x="2314" y="0"/>
                    </a:cubicBezTo>
                    <a:lnTo>
                      <a:pt x="167" y="0"/>
                    </a:lnTo>
                    <a:cubicBezTo>
                      <a:pt x="75" y="0"/>
                      <a:pt x="0" y="75"/>
                      <a:pt x="0" y="167"/>
                    </a:cubicBezTo>
                    <a:cubicBezTo>
                      <a:pt x="0" y="259"/>
                      <a:pt x="75" y="334"/>
                      <a:pt x="167" y="334"/>
                    </a:cubicBezTo>
                    <a:close/>
                    <a:moveTo>
                      <a:pt x="167" y="334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25"/>
              <p:cNvSpPr>
                <a:spLocks noEditPoints="1"/>
              </p:cNvSpPr>
              <p:nvPr/>
            </p:nvSpPr>
            <p:spPr bwMode="auto">
              <a:xfrm>
                <a:off x="6167" y="987"/>
                <a:ext cx="159" cy="14"/>
              </a:xfrm>
              <a:custGeom>
                <a:avLst/>
                <a:gdLst>
                  <a:gd name="T0" fmla="*/ 3841 w 4008"/>
                  <a:gd name="T1" fmla="*/ 0 h 334"/>
                  <a:gd name="T2" fmla="*/ 167 w 4008"/>
                  <a:gd name="T3" fmla="*/ 0 h 334"/>
                  <a:gd name="T4" fmla="*/ 0 w 4008"/>
                  <a:gd name="T5" fmla="*/ 167 h 334"/>
                  <a:gd name="T6" fmla="*/ 167 w 4008"/>
                  <a:gd name="T7" fmla="*/ 334 h 334"/>
                  <a:gd name="T8" fmla="*/ 3841 w 4008"/>
                  <a:gd name="T9" fmla="*/ 334 h 334"/>
                  <a:gd name="T10" fmla="*/ 4008 w 4008"/>
                  <a:gd name="T11" fmla="*/ 167 h 334"/>
                  <a:gd name="T12" fmla="*/ 3841 w 4008"/>
                  <a:gd name="T13" fmla="*/ 0 h 334"/>
                  <a:gd name="T14" fmla="*/ 3841 w 4008"/>
                  <a:gd name="T15" fmla="*/ 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008" h="334">
                    <a:moveTo>
                      <a:pt x="3841" y="0"/>
                    </a:moveTo>
                    <a:lnTo>
                      <a:pt x="167" y="0"/>
                    </a:lnTo>
                    <a:cubicBezTo>
                      <a:pt x="75" y="0"/>
                      <a:pt x="0" y="75"/>
                      <a:pt x="0" y="167"/>
                    </a:cubicBezTo>
                    <a:cubicBezTo>
                      <a:pt x="0" y="259"/>
                      <a:pt x="75" y="334"/>
                      <a:pt x="167" y="334"/>
                    </a:cubicBezTo>
                    <a:lnTo>
                      <a:pt x="3841" y="334"/>
                    </a:lnTo>
                    <a:cubicBezTo>
                      <a:pt x="3933" y="334"/>
                      <a:pt x="4008" y="259"/>
                      <a:pt x="4008" y="167"/>
                    </a:cubicBezTo>
                    <a:cubicBezTo>
                      <a:pt x="4008" y="75"/>
                      <a:pt x="3933" y="0"/>
                      <a:pt x="3841" y="0"/>
                    </a:cubicBezTo>
                    <a:close/>
                    <a:moveTo>
                      <a:pt x="3841" y="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6"/>
              <p:cNvSpPr>
                <a:spLocks noEditPoints="1"/>
              </p:cNvSpPr>
              <p:nvPr/>
            </p:nvSpPr>
            <p:spPr bwMode="auto">
              <a:xfrm>
                <a:off x="6167" y="1021"/>
                <a:ext cx="133" cy="13"/>
              </a:xfrm>
              <a:custGeom>
                <a:avLst/>
                <a:gdLst>
                  <a:gd name="T0" fmla="*/ 3174 w 3341"/>
                  <a:gd name="T1" fmla="*/ 0 h 333"/>
                  <a:gd name="T2" fmla="*/ 167 w 3341"/>
                  <a:gd name="T3" fmla="*/ 0 h 333"/>
                  <a:gd name="T4" fmla="*/ 0 w 3341"/>
                  <a:gd name="T5" fmla="*/ 166 h 333"/>
                  <a:gd name="T6" fmla="*/ 167 w 3341"/>
                  <a:gd name="T7" fmla="*/ 333 h 333"/>
                  <a:gd name="T8" fmla="*/ 3174 w 3341"/>
                  <a:gd name="T9" fmla="*/ 333 h 333"/>
                  <a:gd name="T10" fmla="*/ 3341 w 3341"/>
                  <a:gd name="T11" fmla="*/ 166 h 333"/>
                  <a:gd name="T12" fmla="*/ 3174 w 3341"/>
                  <a:gd name="T13" fmla="*/ 0 h 333"/>
                  <a:gd name="T14" fmla="*/ 3174 w 3341"/>
                  <a:gd name="T15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41" h="333">
                    <a:moveTo>
                      <a:pt x="3174" y="0"/>
                    </a:moveTo>
                    <a:lnTo>
                      <a:pt x="167" y="0"/>
                    </a:lnTo>
                    <a:cubicBezTo>
                      <a:pt x="75" y="0"/>
                      <a:pt x="0" y="74"/>
                      <a:pt x="0" y="166"/>
                    </a:cubicBezTo>
                    <a:cubicBezTo>
                      <a:pt x="0" y="258"/>
                      <a:pt x="75" y="333"/>
                      <a:pt x="167" y="333"/>
                    </a:cubicBezTo>
                    <a:lnTo>
                      <a:pt x="3174" y="333"/>
                    </a:lnTo>
                    <a:cubicBezTo>
                      <a:pt x="3267" y="333"/>
                      <a:pt x="3341" y="258"/>
                      <a:pt x="3341" y="166"/>
                    </a:cubicBezTo>
                    <a:cubicBezTo>
                      <a:pt x="3341" y="74"/>
                      <a:pt x="3267" y="0"/>
                      <a:pt x="3174" y="0"/>
                    </a:cubicBezTo>
                    <a:close/>
                    <a:moveTo>
                      <a:pt x="3174" y="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7"/>
              <p:cNvSpPr>
                <a:spLocks noEditPoints="1"/>
              </p:cNvSpPr>
              <p:nvPr/>
            </p:nvSpPr>
            <p:spPr bwMode="auto">
              <a:xfrm>
                <a:off x="6313" y="1021"/>
                <a:ext cx="13" cy="13"/>
              </a:xfrm>
              <a:custGeom>
                <a:avLst/>
                <a:gdLst>
                  <a:gd name="T0" fmla="*/ 167 w 334"/>
                  <a:gd name="T1" fmla="*/ 0 h 333"/>
                  <a:gd name="T2" fmla="*/ 0 w 334"/>
                  <a:gd name="T3" fmla="*/ 166 h 333"/>
                  <a:gd name="T4" fmla="*/ 167 w 334"/>
                  <a:gd name="T5" fmla="*/ 333 h 333"/>
                  <a:gd name="T6" fmla="*/ 334 w 334"/>
                  <a:gd name="T7" fmla="*/ 166 h 333"/>
                  <a:gd name="T8" fmla="*/ 167 w 334"/>
                  <a:gd name="T9" fmla="*/ 0 h 333"/>
                  <a:gd name="T10" fmla="*/ 167 w 334"/>
                  <a:gd name="T11" fmla="*/ 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4" h="333">
                    <a:moveTo>
                      <a:pt x="167" y="0"/>
                    </a:moveTo>
                    <a:cubicBezTo>
                      <a:pt x="75" y="0"/>
                      <a:pt x="0" y="75"/>
                      <a:pt x="0" y="166"/>
                    </a:cubicBezTo>
                    <a:cubicBezTo>
                      <a:pt x="0" y="258"/>
                      <a:pt x="75" y="333"/>
                      <a:pt x="167" y="333"/>
                    </a:cubicBezTo>
                    <a:cubicBezTo>
                      <a:pt x="259" y="333"/>
                      <a:pt x="334" y="258"/>
                      <a:pt x="334" y="166"/>
                    </a:cubicBezTo>
                    <a:cubicBezTo>
                      <a:pt x="334" y="75"/>
                      <a:pt x="259" y="0"/>
                      <a:pt x="167" y="0"/>
                    </a:cubicBezTo>
                    <a:close/>
                    <a:moveTo>
                      <a:pt x="167" y="0"/>
                    </a:move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9" name="Freeform 31"/>
            <p:cNvSpPr>
              <a:spLocks noChangeAspect="1" noEditPoints="1"/>
            </p:cNvSpPr>
            <p:nvPr/>
          </p:nvSpPr>
          <p:spPr bwMode="auto">
            <a:xfrm>
              <a:off x="3794800" y="3298562"/>
              <a:ext cx="722574" cy="456923"/>
            </a:xfrm>
            <a:custGeom>
              <a:avLst/>
              <a:gdLst>
                <a:gd name="T0" fmla="*/ 5771 w 6318"/>
                <a:gd name="T1" fmla="*/ 1175 h 4011"/>
                <a:gd name="T2" fmla="*/ 4329 w 6318"/>
                <a:gd name="T3" fmla="*/ 1175 h 4011"/>
                <a:gd name="T4" fmla="*/ 4210 w 6318"/>
                <a:gd name="T5" fmla="*/ 2015 h 4011"/>
                <a:gd name="T6" fmla="*/ 4066 w 6318"/>
                <a:gd name="T7" fmla="*/ 914 h 4011"/>
                <a:gd name="T8" fmla="*/ 2239 w 6318"/>
                <a:gd name="T9" fmla="*/ 914 h 4011"/>
                <a:gd name="T10" fmla="*/ 2101 w 6318"/>
                <a:gd name="T11" fmla="*/ 2011 h 4011"/>
                <a:gd name="T12" fmla="*/ 1988 w 6318"/>
                <a:gd name="T13" fmla="*/ 1176 h 4011"/>
                <a:gd name="T14" fmla="*/ 545 w 6318"/>
                <a:gd name="T15" fmla="*/ 1176 h 4011"/>
                <a:gd name="T16" fmla="*/ 0 w 6318"/>
                <a:gd name="T17" fmla="*/ 2963 h 4011"/>
                <a:gd name="T18" fmla="*/ 5 w 6318"/>
                <a:gd name="T19" fmla="*/ 3050 h 4011"/>
                <a:gd name="T20" fmla="*/ 1520 w 6318"/>
                <a:gd name="T21" fmla="*/ 3261 h 4011"/>
                <a:gd name="T22" fmla="*/ 2185 w 6318"/>
                <a:gd name="T23" fmla="*/ 4011 h 4011"/>
                <a:gd name="T24" fmla="*/ 4788 w 6318"/>
                <a:gd name="T25" fmla="*/ 3346 h 4011"/>
                <a:gd name="T26" fmla="*/ 4774 w 6318"/>
                <a:gd name="T27" fmla="*/ 3050 h 4011"/>
                <a:gd name="T28" fmla="*/ 6318 w 6318"/>
                <a:gd name="T29" fmla="*/ 3045 h 4011"/>
                <a:gd name="T30" fmla="*/ 5464 w 6318"/>
                <a:gd name="T31" fmla="*/ 1765 h 4011"/>
                <a:gd name="T32" fmla="*/ 5050 w 6318"/>
                <a:gd name="T33" fmla="*/ 653 h 4011"/>
                <a:gd name="T34" fmla="*/ 5060 w 6318"/>
                <a:gd name="T35" fmla="*/ 1695 h 4011"/>
                <a:gd name="T36" fmla="*/ 5040 w 6318"/>
                <a:gd name="T37" fmla="*/ 1695 h 4011"/>
                <a:gd name="T38" fmla="*/ 2436 w 6318"/>
                <a:gd name="T39" fmla="*/ 914 h 4011"/>
                <a:gd name="T40" fmla="*/ 3864 w 6318"/>
                <a:gd name="T41" fmla="*/ 914 h 4011"/>
                <a:gd name="T42" fmla="*/ 3150 w 6318"/>
                <a:gd name="T43" fmla="*/ 1626 h 4011"/>
                <a:gd name="T44" fmla="*/ 2436 w 6318"/>
                <a:gd name="T45" fmla="*/ 914 h 4011"/>
                <a:gd name="T46" fmla="*/ 1263 w 6318"/>
                <a:gd name="T47" fmla="*/ 653 h 4011"/>
                <a:gd name="T48" fmla="*/ 1272 w 6318"/>
                <a:gd name="T49" fmla="*/ 1695 h 4011"/>
                <a:gd name="T50" fmla="*/ 1252 w 6318"/>
                <a:gd name="T51" fmla="*/ 1695 h 4011"/>
                <a:gd name="T52" fmla="*/ 1569 w 6318"/>
                <a:gd name="T53" fmla="*/ 2849 h 4011"/>
                <a:gd name="T54" fmla="*/ 1255 w 6318"/>
                <a:gd name="T55" fmla="*/ 1895 h 4011"/>
                <a:gd name="T56" fmla="*/ 1270 w 6318"/>
                <a:gd name="T57" fmla="*/ 1895 h 4011"/>
                <a:gd name="T58" fmla="*/ 1569 w 6318"/>
                <a:gd name="T59" fmla="*/ 2849 h 4011"/>
                <a:gd name="T60" fmla="*/ 4120 w 6318"/>
                <a:gd name="T61" fmla="*/ 3811 h 4011"/>
                <a:gd name="T62" fmla="*/ 1718 w 6318"/>
                <a:gd name="T63" fmla="*/ 3346 h 4011"/>
                <a:gd name="T64" fmla="*/ 3109 w 6318"/>
                <a:gd name="T65" fmla="*/ 1828 h 4011"/>
                <a:gd name="T66" fmla="*/ 3194 w 6318"/>
                <a:gd name="T67" fmla="*/ 1828 h 4011"/>
                <a:gd name="T68" fmla="*/ 4585 w 6318"/>
                <a:gd name="T69" fmla="*/ 3346 h 4011"/>
                <a:gd name="T70" fmla="*/ 4355 w 6318"/>
                <a:gd name="T71" fmla="*/ 2154 h 4011"/>
                <a:gd name="T72" fmla="*/ 5050 w 6318"/>
                <a:gd name="T73" fmla="*/ 1895 h 4011"/>
                <a:gd name="T74" fmla="*/ 6110 w 6318"/>
                <a:gd name="T75" fmla="*/ 2849 h 4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318" h="4011">
                  <a:moveTo>
                    <a:pt x="5464" y="1765"/>
                  </a:moveTo>
                  <a:cubicBezTo>
                    <a:pt x="5649" y="1635"/>
                    <a:pt x="5771" y="1419"/>
                    <a:pt x="5771" y="1175"/>
                  </a:cubicBezTo>
                  <a:cubicBezTo>
                    <a:pt x="5771" y="776"/>
                    <a:pt x="5449" y="454"/>
                    <a:pt x="5050" y="454"/>
                  </a:cubicBezTo>
                  <a:cubicBezTo>
                    <a:pt x="4651" y="454"/>
                    <a:pt x="4329" y="776"/>
                    <a:pt x="4329" y="1175"/>
                  </a:cubicBezTo>
                  <a:cubicBezTo>
                    <a:pt x="4329" y="1419"/>
                    <a:pt x="4450" y="1635"/>
                    <a:pt x="4636" y="1765"/>
                  </a:cubicBezTo>
                  <a:cubicBezTo>
                    <a:pt x="4478" y="1820"/>
                    <a:pt x="4333" y="1905"/>
                    <a:pt x="4210" y="2015"/>
                  </a:cubicBezTo>
                  <a:cubicBezTo>
                    <a:pt x="4041" y="1871"/>
                    <a:pt x="3843" y="1761"/>
                    <a:pt x="3625" y="1696"/>
                  </a:cubicBezTo>
                  <a:cubicBezTo>
                    <a:pt x="3889" y="1536"/>
                    <a:pt x="4066" y="1245"/>
                    <a:pt x="4066" y="914"/>
                  </a:cubicBezTo>
                  <a:cubicBezTo>
                    <a:pt x="4066" y="409"/>
                    <a:pt x="3658" y="0"/>
                    <a:pt x="3153" y="0"/>
                  </a:cubicBezTo>
                  <a:cubicBezTo>
                    <a:pt x="2648" y="0"/>
                    <a:pt x="2239" y="410"/>
                    <a:pt x="2239" y="914"/>
                  </a:cubicBezTo>
                  <a:cubicBezTo>
                    <a:pt x="2239" y="1245"/>
                    <a:pt x="2415" y="1536"/>
                    <a:pt x="2680" y="1696"/>
                  </a:cubicBezTo>
                  <a:cubicBezTo>
                    <a:pt x="2465" y="1761"/>
                    <a:pt x="2269" y="1870"/>
                    <a:pt x="2101" y="2011"/>
                  </a:cubicBezTo>
                  <a:cubicBezTo>
                    <a:pt x="1979" y="1904"/>
                    <a:pt x="1836" y="1820"/>
                    <a:pt x="1680" y="1766"/>
                  </a:cubicBezTo>
                  <a:cubicBezTo>
                    <a:pt x="1865" y="1636"/>
                    <a:pt x="1988" y="1420"/>
                    <a:pt x="1988" y="1176"/>
                  </a:cubicBezTo>
                  <a:cubicBezTo>
                    <a:pt x="1988" y="778"/>
                    <a:pt x="1665" y="455"/>
                    <a:pt x="1266" y="455"/>
                  </a:cubicBezTo>
                  <a:cubicBezTo>
                    <a:pt x="868" y="455"/>
                    <a:pt x="545" y="778"/>
                    <a:pt x="545" y="1176"/>
                  </a:cubicBezTo>
                  <a:cubicBezTo>
                    <a:pt x="545" y="1420"/>
                    <a:pt x="666" y="1636"/>
                    <a:pt x="853" y="1766"/>
                  </a:cubicBezTo>
                  <a:cubicBezTo>
                    <a:pt x="356" y="1938"/>
                    <a:pt x="0" y="2409"/>
                    <a:pt x="0" y="2963"/>
                  </a:cubicBezTo>
                  <a:lnTo>
                    <a:pt x="0" y="3045"/>
                  </a:lnTo>
                  <a:cubicBezTo>
                    <a:pt x="0" y="3048"/>
                    <a:pt x="3" y="3050"/>
                    <a:pt x="5" y="3050"/>
                  </a:cubicBezTo>
                  <a:lnTo>
                    <a:pt x="1534" y="3050"/>
                  </a:lnTo>
                  <a:cubicBezTo>
                    <a:pt x="1525" y="3119"/>
                    <a:pt x="1520" y="3190"/>
                    <a:pt x="1520" y="3261"/>
                  </a:cubicBezTo>
                  <a:lnTo>
                    <a:pt x="1520" y="3346"/>
                  </a:lnTo>
                  <a:cubicBezTo>
                    <a:pt x="1520" y="3714"/>
                    <a:pt x="1818" y="4011"/>
                    <a:pt x="2185" y="4011"/>
                  </a:cubicBezTo>
                  <a:lnTo>
                    <a:pt x="4123" y="4011"/>
                  </a:lnTo>
                  <a:cubicBezTo>
                    <a:pt x="4490" y="4011"/>
                    <a:pt x="4788" y="3714"/>
                    <a:pt x="4788" y="3346"/>
                  </a:cubicBezTo>
                  <a:lnTo>
                    <a:pt x="4788" y="3261"/>
                  </a:lnTo>
                  <a:cubicBezTo>
                    <a:pt x="4788" y="3190"/>
                    <a:pt x="4783" y="3119"/>
                    <a:pt x="4774" y="3050"/>
                  </a:cubicBezTo>
                  <a:lnTo>
                    <a:pt x="6313" y="3050"/>
                  </a:lnTo>
                  <a:cubicBezTo>
                    <a:pt x="6315" y="3050"/>
                    <a:pt x="6318" y="3048"/>
                    <a:pt x="6318" y="3045"/>
                  </a:cubicBezTo>
                  <a:lnTo>
                    <a:pt x="6318" y="2963"/>
                  </a:lnTo>
                  <a:cubicBezTo>
                    <a:pt x="6315" y="2408"/>
                    <a:pt x="5960" y="1936"/>
                    <a:pt x="5464" y="1765"/>
                  </a:cubicBezTo>
                  <a:close/>
                  <a:moveTo>
                    <a:pt x="4529" y="1174"/>
                  </a:moveTo>
                  <a:cubicBezTo>
                    <a:pt x="4529" y="886"/>
                    <a:pt x="4763" y="653"/>
                    <a:pt x="5050" y="653"/>
                  </a:cubicBezTo>
                  <a:cubicBezTo>
                    <a:pt x="5338" y="653"/>
                    <a:pt x="5571" y="886"/>
                    <a:pt x="5571" y="1174"/>
                  </a:cubicBezTo>
                  <a:cubicBezTo>
                    <a:pt x="5571" y="1458"/>
                    <a:pt x="5343" y="1689"/>
                    <a:pt x="5060" y="1695"/>
                  </a:cubicBezTo>
                  <a:lnTo>
                    <a:pt x="5050" y="1695"/>
                  </a:lnTo>
                  <a:lnTo>
                    <a:pt x="5040" y="1695"/>
                  </a:lnTo>
                  <a:cubicBezTo>
                    <a:pt x="4756" y="1690"/>
                    <a:pt x="4529" y="1459"/>
                    <a:pt x="4529" y="1174"/>
                  </a:cubicBezTo>
                  <a:close/>
                  <a:moveTo>
                    <a:pt x="2436" y="914"/>
                  </a:moveTo>
                  <a:cubicBezTo>
                    <a:pt x="2436" y="520"/>
                    <a:pt x="2756" y="200"/>
                    <a:pt x="3150" y="200"/>
                  </a:cubicBezTo>
                  <a:cubicBezTo>
                    <a:pt x="3544" y="200"/>
                    <a:pt x="3864" y="520"/>
                    <a:pt x="3864" y="914"/>
                  </a:cubicBezTo>
                  <a:cubicBezTo>
                    <a:pt x="3864" y="1294"/>
                    <a:pt x="3565" y="1605"/>
                    <a:pt x="3191" y="1626"/>
                  </a:cubicBezTo>
                  <a:lnTo>
                    <a:pt x="3150" y="1626"/>
                  </a:lnTo>
                  <a:lnTo>
                    <a:pt x="3109" y="1626"/>
                  </a:lnTo>
                  <a:cubicBezTo>
                    <a:pt x="2735" y="1605"/>
                    <a:pt x="2436" y="1294"/>
                    <a:pt x="2436" y="914"/>
                  </a:cubicBezTo>
                  <a:close/>
                  <a:moveTo>
                    <a:pt x="741" y="1174"/>
                  </a:moveTo>
                  <a:cubicBezTo>
                    <a:pt x="741" y="886"/>
                    <a:pt x="975" y="653"/>
                    <a:pt x="1263" y="653"/>
                  </a:cubicBezTo>
                  <a:cubicBezTo>
                    <a:pt x="1550" y="653"/>
                    <a:pt x="1784" y="886"/>
                    <a:pt x="1784" y="1174"/>
                  </a:cubicBezTo>
                  <a:cubicBezTo>
                    <a:pt x="1784" y="1458"/>
                    <a:pt x="1555" y="1689"/>
                    <a:pt x="1272" y="1695"/>
                  </a:cubicBezTo>
                  <a:lnTo>
                    <a:pt x="1262" y="1695"/>
                  </a:lnTo>
                  <a:lnTo>
                    <a:pt x="1252" y="1695"/>
                  </a:lnTo>
                  <a:cubicBezTo>
                    <a:pt x="970" y="1690"/>
                    <a:pt x="741" y="1459"/>
                    <a:pt x="741" y="1174"/>
                  </a:cubicBezTo>
                  <a:close/>
                  <a:moveTo>
                    <a:pt x="1569" y="2849"/>
                  </a:moveTo>
                  <a:lnTo>
                    <a:pt x="203" y="2849"/>
                  </a:lnTo>
                  <a:cubicBezTo>
                    <a:pt x="259" y="2316"/>
                    <a:pt x="709" y="1899"/>
                    <a:pt x="1255" y="1895"/>
                  </a:cubicBezTo>
                  <a:lnTo>
                    <a:pt x="1263" y="1895"/>
                  </a:lnTo>
                  <a:lnTo>
                    <a:pt x="1270" y="1895"/>
                  </a:lnTo>
                  <a:cubicBezTo>
                    <a:pt x="1530" y="1896"/>
                    <a:pt x="1767" y="1993"/>
                    <a:pt x="1951" y="2149"/>
                  </a:cubicBezTo>
                  <a:cubicBezTo>
                    <a:pt x="1771" y="2344"/>
                    <a:pt x="1638" y="2584"/>
                    <a:pt x="1569" y="2849"/>
                  </a:cubicBezTo>
                  <a:close/>
                  <a:moveTo>
                    <a:pt x="4585" y="3346"/>
                  </a:moveTo>
                  <a:cubicBezTo>
                    <a:pt x="4585" y="3603"/>
                    <a:pt x="4376" y="3811"/>
                    <a:pt x="4120" y="3811"/>
                  </a:cubicBezTo>
                  <a:lnTo>
                    <a:pt x="2183" y="3811"/>
                  </a:lnTo>
                  <a:cubicBezTo>
                    <a:pt x="1926" y="3811"/>
                    <a:pt x="1718" y="3603"/>
                    <a:pt x="1718" y="3346"/>
                  </a:cubicBezTo>
                  <a:lnTo>
                    <a:pt x="1718" y="3261"/>
                  </a:lnTo>
                  <a:cubicBezTo>
                    <a:pt x="1718" y="2485"/>
                    <a:pt x="2338" y="1850"/>
                    <a:pt x="3109" y="1828"/>
                  </a:cubicBezTo>
                  <a:cubicBezTo>
                    <a:pt x="3123" y="1829"/>
                    <a:pt x="3138" y="1829"/>
                    <a:pt x="3151" y="1829"/>
                  </a:cubicBezTo>
                  <a:cubicBezTo>
                    <a:pt x="3165" y="1829"/>
                    <a:pt x="3180" y="1829"/>
                    <a:pt x="3194" y="1828"/>
                  </a:cubicBezTo>
                  <a:cubicBezTo>
                    <a:pt x="3965" y="1850"/>
                    <a:pt x="4585" y="2485"/>
                    <a:pt x="4585" y="3261"/>
                  </a:cubicBezTo>
                  <a:lnTo>
                    <a:pt x="4585" y="3346"/>
                  </a:lnTo>
                  <a:close/>
                  <a:moveTo>
                    <a:pt x="4734" y="2849"/>
                  </a:moveTo>
                  <a:cubicBezTo>
                    <a:pt x="4665" y="2585"/>
                    <a:pt x="4534" y="2349"/>
                    <a:pt x="4355" y="2154"/>
                  </a:cubicBezTo>
                  <a:cubicBezTo>
                    <a:pt x="4540" y="1994"/>
                    <a:pt x="4780" y="1898"/>
                    <a:pt x="5043" y="1895"/>
                  </a:cubicBezTo>
                  <a:lnTo>
                    <a:pt x="5050" y="1895"/>
                  </a:lnTo>
                  <a:lnTo>
                    <a:pt x="5058" y="1895"/>
                  </a:lnTo>
                  <a:cubicBezTo>
                    <a:pt x="5604" y="1899"/>
                    <a:pt x="6054" y="2316"/>
                    <a:pt x="6110" y="2849"/>
                  </a:cubicBezTo>
                  <a:lnTo>
                    <a:pt x="4734" y="2849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0" name="Group 34"/>
            <p:cNvGrpSpPr>
              <a:grpSpLocks noChangeAspect="1"/>
            </p:cNvGrpSpPr>
            <p:nvPr/>
          </p:nvGrpSpPr>
          <p:grpSpPr bwMode="auto">
            <a:xfrm>
              <a:off x="1931452" y="1756983"/>
              <a:ext cx="555652" cy="540000"/>
              <a:chOff x="1169" y="873"/>
              <a:chExt cx="355" cy="345"/>
            </a:xfrm>
            <a:solidFill>
              <a:schemeClr val="bg1"/>
            </a:solidFill>
          </p:grpSpPr>
          <p:sp>
            <p:nvSpPr>
              <p:cNvPr id="52" name="Freeform 35"/>
              <p:cNvSpPr>
                <a:spLocks/>
              </p:cNvSpPr>
              <p:nvPr/>
            </p:nvSpPr>
            <p:spPr bwMode="auto">
              <a:xfrm>
                <a:off x="1246" y="873"/>
                <a:ext cx="278" cy="207"/>
              </a:xfrm>
              <a:custGeom>
                <a:avLst/>
                <a:gdLst>
                  <a:gd name="T0" fmla="*/ 3838 w 5261"/>
                  <a:gd name="T1" fmla="*/ 1327 h 3897"/>
                  <a:gd name="T2" fmla="*/ 3612 w 5261"/>
                  <a:gd name="T3" fmla="*/ 1347 h 3897"/>
                  <a:gd name="T4" fmla="*/ 1564 w 5261"/>
                  <a:gd name="T5" fmla="*/ 126 h 3897"/>
                  <a:gd name="T6" fmla="*/ 0 w 5261"/>
                  <a:gd name="T7" fmla="*/ 1527 h 3897"/>
                  <a:gd name="T8" fmla="*/ 182 w 5261"/>
                  <a:gd name="T9" fmla="*/ 1574 h 3897"/>
                  <a:gd name="T10" fmla="*/ 1884 w 5261"/>
                  <a:gd name="T11" fmla="*/ 295 h 3897"/>
                  <a:gd name="T12" fmla="*/ 3487 w 5261"/>
                  <a:gd name="T13" fmla="*/ 1569 h 3897"/>
                  <a:gd name="T14" fmla="*/ 4528 w 5261"/>
                  <a:gd name="T15" fmla="*/ 1761 h 3897"/>
                  <a:gd name="T16" fmla="*/ 4927 w 5261"/>
                  <a:gd name="T17" fmla="*/ 2735 h 3897"/>
                  <a:gd name="T18" fmla="*/ 4280 w 5261"/>
                  <a:gd name="T19" fmla="*/ 3614 h 3897"/>
                  <a:gd name="T20" fmla="*/ 3634 w 5261"/>
                  <a:gd name="T21" fmla="*/ 3698 h 3897"/>
                  <a:gd name="T22" fmla="*/ 3634 w 5261"/>
                  <a:gd name="T23" fmla="*/ 3886 h 3897"/>
                  <a:gd name="T24" fmla="*/ 4290 w 5261"/>
                  <a:gd name="T25" fmla="*/ 3814 h 3897"/>
                  <a:gd name="T26" fmla="*/ 5094 w 5261"/>
                  <a:gd name="T27" fmla="*/ 2880 h 3897"/>
                  <a:gd name="T28" fmla="*/ 3838 w 5261"/>
                  <a:gd name="T29" fmla="*/ 1327 h 38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261" h="3897">
                    <a:moveTo>
                      <a:pt x="3838" y="1327"/>
                    </a:moveTo>
                    <a:cubicBezTo>
                      <a:pt x="3763" y="1327"/>
                      <a:pt x="3687" y="1334"/>
                      <a:pt x="3612" y="1347"/>
                    </a:cubicBezTo>
                    <a:cubicBezTo>
                      <a:pt x="3308" y="517"/>
                      <a:pt x="2439" y="0"/>
                      <a:pt x="1564" y="126"/>
                    </a:cubicBezTo>
                    <a:cubicBezTo>
                      <a:pt x="816" y="234"/>
                      <a:pt x="189" y="794"/>
                      <a:pt x="0" y="1527"/>
                    </a:cubicBezTo>
                    <a:lnTo>
                      <a:pt x="182" y="1574"/>
                    </a:lnTo>
                    <a:cubicBezTo>
                      <a:pt x="379" y="811"/>
                      <a:pt x="1097" y="273"/>
                      <a:pt x="1884" y="295"/>
                    </a:cubicBezTo>
                    <a:cubicBezTo>
                      <a:pt x="2662" y="317"/>
                      <a:pt x="3259" y="848"/>
                      <a:pt x="3487" y="1569"/>
                    </a:cubicBezTo>
                    <a:cubicBezTo>
                      <a:pt x="3856" y="1478"/>
                      <a:pt x="4226" y="1515"/>
                      <a:pt x="4528" y="1761"/>
                    </a:cubicBezTo>
                    <a:cubicBezTo>
                      <a:pt x="4816" y="1994"/>
                      <a:pt x="4970" y="2366"/>
                      <a:pt x="4927" y="2735"/>
                    </a:cubicBezTo>
                    <a:cubicBezTo>
                      <a:pt x="4882" y="3119"/>
                      <a:pt x="4632" y="3455"/>
                      <a:pt x="4280" y="3614"/>
                    </a:cubicBezTo>
                    <a:cubicBezTo>
                      <a:pt x="4067" y="3710"/>
                      <a:pt x="3862" y="3698"/>
                      <a:pt x="3634" y="3698"/>
                    </a:cubicBezTo>
                    <a:lnTo>
                      <a:pt x="3634" y="3886"/>
                    </a:lnTo>
                    <a:cubicBezTo>
                      <a:pt x="3863" y="3886"/>
                      <a:pt x="4071" y="3897"/>
                      <a:pt x="4290" y="3814"/>
                    </a:cubicBezTo>
                    <a:cubicBezTo>
                      <a:pt x="4734" y="3646"/>
                      <a:pt x="5002" y="3309"/>
                      <a:pt x="5094" y="2880"/>
                    </a:cubicBezTo>
                    <a:cubicBezTo>
                      <a:pt x="5261" y="2093"/>
                      <a:pt x="4643" y="1327"/>
                      <a:pt x="3838" y="132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36"/>
              <p:cNvSpPr>
                <a:spLocks/>
              </p:cNvSpPr>
              <p:nvPr/>
            </p:nvSpPr>
            <p:spPr bwMode="auto">
              <a:xfrm>
                <a:off x="1169" y="958"/>
                <a:ext cx="111" cy="122"/>
              </a:xfrm>
              <a:custGeom>
                <a:avLst/>
                <a:gdLst>
                  <a:gd name="T0" fmla="*/ 1103 w 2100"/>
                  <a:gd name="T1" fmla="*/ 2089 h 2312"/>
                  <a:gd name="T2" fmla="*/ 514 w 2100"/>
                  <a:gd name="T3" fmla="*/ 758 h 2312"/>
                  <a:gd name="T4" fmla="*/ 1963 w 2100"/>
                  <a:gd name="T5" fmla="*/ 623 h 2312"/>
                  <a:gd name="T6" fmla="*/ 2100 w 2100"/>
                  <a:gd name="T7" fmla="*/ 494 h 2312"/>
                  <a:gd name="T8" fmla="*/ 1507 w 2100"/>
                  <a:gd name="T9" fmla="*/ 146 h 2312"/>
                  <a:gd name="T10" fmla="*/ 1507 w 2100"/>
                  <a:gd name="T11" fmla="*/ 147 h 2312"/>
                  <a:gd name="T12" fmla="*/ 256 w 2100"/>
                  <a:gd name="T13" fmla="*/ 1544 h 2312"/>
                  <a:gd name="T14" fmla="*/ 1066 w 2100"/>
                  <a:gd name="T15" fmla="*/ 2274 h 2312"/>
                  <a:gd name="T16" fmla="*/ 1691 w 2100"/>
                  <a:gd name="T17" fmla="*/ 2295 h 2312"/>
                  <a:gd name="T18" fmla="*/ 1691 w 2100"/>
                  <a:gd name="T19" fmla="*/ 2107 h 2312"/>
                  <a:gd name="T20" fmla="*/ 1103 w 2100"/>
                  <a:gd name="T21" fmla="*/ 2089 h 2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00" h="2312">
                    <a:moveTo>
                      <a:pt x="1103" y="2089"/>
                    </a:moveTo>
                    <a:cubicBezTo>
                      <a:pt x="515" y="1965"/>
                      <a:pt x="210" y="1276"/>
                      <a:pt x="514" y="758"/>
                    </a:cubicBezTo>
                    <a:cubicBezTo>
                      <a:pt x="828" y="223"/>
                      <a:pt x="1553" y="182"/>
                      <a:pt x="1963" y="623"/>
                    </a:cubicBezTo>
                    <a:lnTo>
                      <a:pt x="2100" y="494"/>
                    </a:lnTo>
                    <a:cubicBezTo>
                      <a:pt x="1939" y="321"/>
                      <a:pt x="1740" y="194"/>
                      <a:pt x="1507" y="146"/>
                    </a:cubicBezTo>
                    <a:lnTo>
                      <a:pt x="1507" y="147"/>
                    </a:lnTo>
                    <a:cubicBezTo>
                      <a:pt x="710" y="0"/>
                      <a:pt x="0" y="756"/>
                      <a:pt x="256" y="1544"/>
                    </a:cubicBezTo>
                    <a:cubicBezTo>
                      <a:pt x="374" y="1905"/>
                      <a:pt x="689" y="2202"/>
                      <a:pt x="1066" y="2274"/>
                    </a:cubicBezTo>
                    <a:cubicBezTo>
                      <a:pt x="1269" y="2312"/>
                      <a:pt x="1486" y="2295"/>
                      <a:pt x="1691" y="2295"/>
                    </a:cubicBezTo>
                    <a:lnTo>
                      <a:pt x="1691" y="2107"/>
                    </a:lnTo>
                    <a:cubicBezTo>
                      <a:pt x="1496" y="2107"/>
                      <a:pt x="1296" y="2119"/>
                      <a:pt x="1103" y="208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Rectangle 37"/>
              <p:cNvSpPr>
                <a:spLocks noChangeArrowheads="1"/>
              </p:cNvSpPr>
              <p:nvPr/>
            </p:nvSpPr>
            <p:spPr bwMode="auto">
              <a:xfrm>
                <a:off x="1289" y="1128"/>
                <a:ext cx="10" cy="1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38"/>
              <p:cNvSpPr>
                <a:spLocks noChangeArrowheads="1"/>
              </p:cNvSpPr>
              <p:nvPr/>
            </p:nvSpPr>
            <p:spPr bwMode="auto">
              <a:xfrm>
                <a:off x="1309" y="1128"/>
                <a:ext cx="9" cy="1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39"/>
              <p:cNvSpPr>
                <a:spLocks noChangeArrowheads="1"/>
              </p:cNvSpPr>
              <p:nvPr/>
            </p:nvSpPr>
            <p:spPr bwMode="auto">
              <a:xfrm>
                <a:off x="1368" y="1128"/>
                <a:ext cx="40" cy="1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40"/>
              <p:cNvSpPr>
                <a:spLocks noChangeArrowheads="1"/>
              </p:cNvSpPr>
              <p:nvPr/>
            </p:nvSpPr>
            <p:spPr bwMode="auto">
              <a:xfrm>
                <a:off x="1344" y="1168"/>
                <a:ext cx="10" cy="1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41"/>
              <p:cNvSpPr>
                <a:spLocks noChangeArrowheads="1"/>
              </p:cNvSpPr>
              <p:nvPr/>
            </p:nvSpPr>
            <p:spPr bwMode="auto">
              <a:xfrm>
                <a:off x="1289" y="1188"/>
                <a:ext cx="10" cy="1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42"/>
              <p:cNvSpPr>
                <a:spLocks noChangeArrowheads="1"/>
              </p:cNvSpPr>
              <p:nvPr/>
            </p:nvSpPr>
            <p:spPr bwMode="auto">
              <a:xfrm>
                <a:off x="1309" y="1188"/>
                <a:ext cx="9" cy="1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43"/>
              <p:cNvSpPr>
                <a:spLocks noChangeArrowheads="1"/>
              </p:cNvSpPr>
              <p:nvPr/>
            </p:nvSpPr>
            <p:spPr bwMode="auto">
              <a:xfrm>
                <a:off x="1368" y="1188"/>
                <a:ext cx="40" cy="1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Rectangle 44"/>
              <p:cNvSpPr>
                <a:spLocks noChangeArrowheads="1"/>
              </p:cNvSpPr>
              <p:nvPr/>
            </p:nvSpPr>
            <p:spPr bwMode="auto">
              <a:xfrm>
                <a:off x="1344" y="1089"/>
                <a:ext cx="10" cy="1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45"/>
              <p:cNvSpPr>
                <a:spLocks noChangeArrowheads="1"/>
              </p:cNvSpPr>
              <p:nvPr/>
            </p:nvSpPr>
            <p:spPr bwMode="auto">
              <a:xfrm>
                <a:off x="1289" y="1069"/>
                <a:ext cx="10" cy="1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46"/>
              <p:cNvSpPr>
                <a:spLocks noChangeArrowheads="1"/>
              </p:cNvSpPr>
              <p:nvPr/>
            </p:nvSpPr>
            <p:spPr bwMode="auto">
              <a:xfrm>
                <a:off x="1309" y="1069"/>
                <a:ext cx="9" cy="1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47"/>
              <p:cNvSpPr>
                <a:spLocks noChangeArrowheads="1"/>
              </p:cNvSpPr>
              <p:nvPr/>
            </p:nvSpPr>
            <p:spPr bwMode="auto">
              <a:xfrm>
                <a:off x="1368" y="1069"/>
                <a:ext cx="40" cy="1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48"/>
              <p:cNvSpPr>
                <a:spLocks noEditPoints="1"/>
              </p:cNvSpPr>
              <p:nvPr/>
            </p:nvSpPr>
            <p:spPr bwMode="auto">
              <a:xfrm>
                <a:off x="1269" y="909"/>
                <a:ext cx="159" cy="309"/>
              </a:xfrm>
              <a:custGeom>
                <a:avLst/>
                <a:gdLst>
                  <a:gd name="T0" fmla="*/ 2453 w 3006"/>
                  <a:gd name="T1" fmla="*/ 1888 h 5830"/>
                  <a:gd name="T2" fmla="*/ 3003 w 3006"/>
                  <a:gd name="T3" fmla="*/ 1789 h 5830"/>
                  <a:gd name="T4" fmla="*/ 2450 w 3006"/>
                  <a:gd name="T5" fmla="*/ 1700 h 5830"/>
                  <a:gd name="T6" fmla="*/ 1973 w 3006"/>
                  <a:gd name="T7" fmla="*/ 2640 h 5830"/>
                  <a:gd name="T8" fmla="*/ 1785 w 3006"/>
                  <a:gd name="T9" fmla="*/ 1256 h 5830"/>
                  <a:gd name="T10" fmla="*/ 2122 w 3006"/>
                  <a:gd name="T11" fmla="*/ 1082 h 5830"/>
                  <a:gd name="T12" fmla="*/ 2122 w 3006"/>
                  <a:gd name="T13" fmla="*/ 514 h 5830"/>
                  <a:gd name="T14" fmla="*/ 1862 w 3006"/>
                  <a:gd name="T15" fmla="*/ 913 h 5830"/>
                  <a:gd name="T16" fmla="*/ 1597 w 3006"/>
                  <a:gd name="T17" fmla="*/ 2640 h 5830"/>
                  <a:gd name="T18" fmla="*/ 1409 w 3006"/>
                  <a:gd name="T19" fmla="*/ 634 h 5830"/>
                  <a:gd name="T20" fmla="*/ 1176 w 3006"/>
                  <a:gd name="T21" fmla="*/ 284 h 5830"/>
                  <a:gd name="T22" fmla="*/ 609 w 3006"/>
                  <a:gd name="T23" fmla="*/ 284 h 5830"/>
                  <a:gd name="T24" fmla="*/ 1036 w 3006"/>
                  <a:gd name="T25" fmla="*/ 528 h 5830"/>
                  <a:gd name="T26" fmla="*/ 1220 w 3006"/>
                  <a:gd name="T27" fmla="*/ 2640 h 5830"/>
                  <a:gd name="T28" fmla="*/ 1032 w 3006"/>
                  <a:gd name="T29" fmla="*/ 1879 h 5830"/>
                  <a:gd name="T30" fmla="*/ 289 w 3006"/>
                  <a:gd name="T31" fmla="*/ 1695 h 5830"/>
                  <a:gd name="T32" fmla="*/ 289 w 3006"/>
                  <a:gd name="T33" fmla="*/ 2262 h 5830"/>
                  <a:gd name="T34" fmla="*/ 844 w 3006"/>
                  <a:gd name="T35" fmla="*/ 2068 h 5830"/>
                  <a:gd name="T36" fmla="*/ 0 w 3006"/>
                  <a:gd name="T37" fmla="*/ 2640 h 5830"/>
                  <a:gd name="T38" fmla="*/ 192 w 3006"/>
                  <a:gd name="T39" fmla="*/ 3581 h 5830"/>
                  <a:gd name="T40" fmla="*/ 0 w 3006"/>
                  <a:gd name="T41" fmla="*/ 3765 h 5830"/>
                  <a:gd name="T42" fmla="*/ 192 w 3006"/>
                  <a:gd name="T43" fmla="*/ 4705 h 5830"/>
                  <a:gd name="T44" fmla="*/ 0 w 3006"/>
                  <a:gd name="T45" fmla="*/ 4889 h 5830"/>
                  <a:gd name="T46" fmla="*/ 3006 w 3006"/>
                  <a:gd name="T47" fmla="*/ 5830 h 5830"/>
                  <a:gd name="T48" fmla="*/ 2826 w 3006"/>
                  <a:gd name="T49" fmla="*/ 4889 h 5830"/>
                  <a:gd name="T50" fmla="*/ 3006 w 3006"/>
                  <a:gd name="T51" fmla="*/ 4705 h 5830"/>
                  <a:gd name="T52" fmla="*/ 2826 w 3006"/>
                  <a:gd name="T53" fmla="*/ 3765 h 5830"/>
                  <a:gd name="T54" fmla="*/ 3006 w 3006"/>
                  <a:gd name="T55" fmla="*/ 3581 h 5830"/>
                  <a:gd name="T56" fmla="*/ 2161 w 3006"/>
                  <a:gd name="T57" fmla="*/ 2640 h 5830"/>
                  <a:gd name="T58" fmla="*/ 2719 w 3006"/>
                  <a:gd name="T59" fmla="*/ 1693 h 5830"/>
                  <a:gd name="T60" fmla="*/ 2719 w 3006"/>
                  <a:gd name="T61" fmla="*/ 1884 h 5830"/>
                  <a:gd name="T62" fmla="*/ 2719 w 3006"/>
                  <a:gd name="T63" fmla="*/ 1693 h 5830"/>
                  <a:gd name="T64" fmla="*/ 2217 w 3006"/>
                  <a:gd name="T65" fmla="*/ 798 h 5830"/>
                  <a:gd name="T66" fmla="*/ 2026 w 3006"/>
                  <a:gd name="T67" fmla="*/ 798 h 5830"/>
                  <a:gd name="T68" fmla="*/ 797 w 3006"/>
                  <a:gd name="T69" fmla="*/ 284 h 5830"/>
                  <a:gd name="T70" fmla="*/ 988 w 3006"/>
                  <a:gd name="T71" fmla="*/ 284 h 5830"/>
                  <a:gd name="T72" fmla="*/ 797 w 3006"/>
                  <a:gd name="T73" fmla="*/ 284 h 5830"/>
                  <a:gd name="T74" fmla="*/ 193 w 3006"/>
                  <a:gd name="T75" fmla="*/ 1979 h 5830"/>
                  <a:gd name="T76" fmla="*/ 384 w 3006"/>
                  <a:gd name="T77" fmla="*/ 1979 h 5830"/>
                  <a:gd name="T78" fmla="*/ 188 w 3006"/>
                  <a:gd name="T79" fmla="*/ 3953 h 5830"/>
                  <a:gd name="T80" fmla="*/ 2818 w 3006"/>
                  <a:gd name="T81" fmla="*/ 4517 h 5830"/>
                  <a:gd name="T82" fmla="*/ 188 w 3006"/>
                  <a:gd name="T83" fmla="*/ 3953 h 5830"/>
                  <a:gd name="T84" fmla="*/ 1791 w 3006"/>
                  <a:gd name="T85" fmla="*/ 4889 h 5830"/>
                  <a:gd name="T86" fmla="*/ 2818 w 3006"/>
                  <a:gd name="T87" fmla="*/ 5077 h 5830"/>
                  <a:gd name="T88" fmla="*/ 188 w 3006"/>
                  <a:gd name="T89" fmla="*/ 5642 h 5830"/>
                  <a:gd name="T90" fmla="*/ 1227 w 3006"/>
                  <a:gd name="T91" fmla="*/ 5077 h 5830"/>
                  <a:gd name="T92" fmla="*/ 380 w 3006"/>
                  <a:gd name="T93" fmla="*/ 4889 h 5830"/>
                  <a:gd name="T94" fmla="*/ 2638 w 3006"/>
                  <a:gd name="T95" fmla="*/ 4705 h 5830"/>
                  <a:gd name="T96" fmla="*/ 2818 w 3006"/>
                  <a:gd name="T97" fmla="*/ 3393 h 5830"/>
                  <a:gd name="T98" fmla="*/ 1791 w 3006"/>
                  <a:gd name="T99" fmla="*/ 3581 h 5830"/>
                  <a:gd name="T100" fmla="*/ 2638 w 3006"/>
                  <a:gd name="T101" fmla="*/ 3765 h 5830"/>
                  <a:gd name="T102" fmla="*/ 380 w 3006"/>
                  <a:gd name="T103" fmla="*/ 3581 h 5830"/>
                  <a:gd name="T104" fmla="*/ 1227 w 3006"/>
                  <a:gd name="T105" fmla="*/ 3393 h 5830"/>
                  <a:gd name="T106" fmla="*/ 188 w 3006"/>
                  <a:gd name="T107" fmla="*/ 2828 h 5830"/>
                  <a:gd name="T108" fmla="*/ 2818 w 3006"/>
                  <a:gd name="T109" fmla="*/ 3393 h 58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006" h="5830">
                    <a:moveTo>
                      <a:pt x="2161" y="1888"/>
                    </a:moveTo>
                    <a:lnTo>
                      <a:pt x="2453" y="1888"/>
                    </a:lnTo>
                    <a:cubicBezTo>
                      <a:pt x="2494" y="1996"/>
                      <a:pt x="2598" y="2073"/>
                      <a:pt x="2719" y="2073"/>
                    </a:cubicBezTo>
                    <a:cubicBezTo>
                      <a:pt x="2876" y="2073"/>
                      <a:pt x="3003" y="1945"/>
                      <a:pt x="3003" y="1789"/>
                    </a:cubicBezTo>
                    <a:cubicBezTo>
                      <a:pt x="3003" y="1633"/>
                      <a:pt x="2876" y="1505"/>
                      <a:pt x="2719" y="1505"/>
                    </a:cubicBezTo>
                    <a:cubicBezTo>
                      <a:pt x="2594" y="1505"/>
                      <a:pt x="2488" y="1587"/>
                      <a:pt x="2450" y="1700"/>
                    </a:cubicBezTo>
                    <a:lnTo>
                      <a:pt x="1973" y="1700"/>
                    </a:lnTo>
                    <a:lnTo>
                      <a:pt x="1973" y="2640"/>
                    </a:lnTo>
                    <a:lnTo>
                      <a:pt x="1785" y="2640"/>
                    </a:lnTo>
                    <a:lnTo>
                      <a:pt x="1785" y="1256"/>
                    </a:lnTo>
                    <a:lnTo>
                      <a:pt x="1991" y="1050"/>
                    </a:lnTo>
                    <a:cubicBezTo>
                      <a:pt x="2030" y="1070"/>
                      <a:pt x="2074" y="1082"/>
                      <a:pt x="2122" y="1082"/>
                    </a:cubicBezTo>
                    <a:cubicBezTo>
                      <a:pt x="2278" y="1082"/>
                      <a:pt x="2405" y="954"/>
                      <a:pt x="2405" y="798"/>
                    </a:cubicBezTo>
                    <a:cubicBezTo>
                      <a:pt x="2405" y="642"/>
                      <a:pt x="2278" y="514"/>
                      <a:pt x="2122" y="514"/>
                    </a:cubicBezTo>
                    <a:cubicBezTo>
                      <a:pt x="1965" y="514"/>
                      <a:pt x="1838" y="642"/>
                      <a:pt x="1838" y="798"/>
                    </a:cubicBezTo>
                    <a:cubicBezTo>
                      <a:pt x="1838" y="839"/>
                      <a:pt x="1847" y="877"/>
                      <a:pt x="1862" y="913"/>
                    </a:cubicBezTo>
                    <a:lnTo>
                      <a:pt x="1597" y="1178"/>
                    </a:lnTo>
                    <a:lnTo>
                      <a:pt x="1597" y="2640"/>
                    </a:lnTo>
                    <a:lnTo>
                      <a:pt x="1409" y="2640"/>
                    </a:lnTo>
                    <a:lnTo>
                      <a:pt x="1409" y="634"/>
                    </a:lnTo>
                    <a:lnTo>
                      <a:pt x="1158" y="384"/>
                    </a:lnTo>
                    <a:cubicBezTo>
                      <a:pt x="1170" y="353"/>
                      <a:pt x="1176" y="319"/>
                      <a:pt x="1176" y="284"/>
                    </a:cubicBezTo>
                    <a:cubicBezTo>
                      <a:pt x="1176" y="127"/>
                      <a:pt x="1049" y="0"/>
                      <a:pt x="893" y="0"/>
                    </a:cubicBezTo>
                    <a:cubicBezTo>
                      <a:pt x="736" y="0"/>
                      <a:pt x="609" y="127"/>
                      <a:pt x="609" y="284"/>
                    </a:cubicBezTo>
                    <a:cubicBezTo>
                      <a:pt x="609" y="440"/>
                      <a:pt x="736" y="567"/>
                      <a:pt x="893" y="567"/>
                    </a:cubicBezTo>
                    <a:cubicBezTo>
                      <a:pt x="945" y="567"/>
                      <a:pt x="994" y="553"/>
                      <a:pt x="1036" y="528"/>
                    </a:cubicBezTo>
                    <a:lnTo>
                      <a:pt x="1220" y="712"/>
                    </a:lnTo>
                    <a:lnTo>
                      <a:pt x="1220" y="2640"/>
                    </a:lnTo>
                    <a:lnTo>
                      <a:pt x="1032" y="2640"/>
                    </a:lnTo>
                    <a:lnTo>
                      <a:pt x="1032" y="1879"/>
                    </a:lnTo>
                    <a:lnTo>
                      <a:pt x="554" y="1879"/>
                    </a:lnTo>
                    <a:cubicBezTo>
                      <a:pt x="514" y="1772"/>
                      <a:pt x="410" y="1695"/>
                      <a:pt x="289" y="1695"/>
                    </a:cubicBezTo>
                    <a:cubicBezTo>
                      <a:pt x="132" y="1695"/>
                      <a:pt x="5" y="1822"/>
                      <a:pt x="5" y="1979"/>
                    </a:cubicBezTo>
                    <a:cubicBezTo>
                      <a:pt x="5" y="2135"/>
                      <a:pt x="132" y="2262"/>
                      <a:pt x="289" y="2262"/>
                    </a:cubicBezTo>
                    <a:cubicBezTo>
                      <a:pt x="414" y="2262"/>
                      <a:pt x="520" y="2181"/>
                      <a:pt x="558" y="2068"/>
                    </a:cubicBezTo>
                    <a:lnTo>
                      <a:pt x="844" y="2068"/>
                    </a:lnTo>
                    <a:lnTo>
                      <a:pt x="844" y="2640"/>
                    </a:lnTo>
                    <a:lnTo>
                      <a:pt x="0" y="2640"/>
                    </a:lnTo>
                    <a:lnTo>
                      <a:pt x="0" y="3581"/>
                    </a:lnTo>
                    <a:lnTo>
                      <a:pt x="192" y="3581"/>
                    </a:lnTo>
                    <a:lnTo>
                      <a:pt x="192" y="3765"/>
                    </a:lnTo>
                    <a:lnTo>
                      <a:pt x="0" y="3765"/>
                    </a:lnTo>
                    <a:lnTo>
                      <a:pt x="0" y="4705"/>
                    </a:lnTo>
                    <a:lnTo>
                      <a:pt x="192" y="4705"/>
                    </a:lnTo>
                    <a:lnTo>
                      <a:pt x="192" y="4889"/>
                    </a:lnTo>
                    <a:lnTo>
                      <a:pt x="0" y="4889"/>
                    </a:lnTo>
                    <a:lnTo>
                      <a:pt x="0" y="5830"/>
                    </a:lnTo>
                    <a:lnTo>
                      <a:pt x="3006" y="5830"/>
                    </a:lnTo>
                    <a:lnTo>
                      <a:pt x="3006" y="4889"/>
                    </a:lnTo>
                    <a:lnTo>
                      <a:pt x="2826" y="4889"/>
                    </a:lnTo>
                    <a:lnTo>
                      <a:pt x="2826" y="4705"/>
                    </a:lnTo>
                    <a:lnTo>
                      <a:pt x="3006" y="4705"/>
                    </a:lnTo>
                    <a:lnTo>
                      <a:pt x="3006" y="3765"/>
                    </a:lnTo>
                    <a:lnTo>
                      <a:pt x="2826" y="3765"/>
                    </a:lnTo>
                    <a:lnTo>
                      <a:pt x="2826" y="3581"/>
                    </a:lnTo>
                    <a:lnTo>
                      <a:pt x="3006" y="3581"/>
                    </a:lnTo>
                    <a:lnTo>
                      <a:pt x="3006" y="2640"/>
                    </a:lnTo>
                    <a:lnTo>
                      <a:pt x="2161" y="2640"/>
                    </a:lnTo>
                    <a:lnTo>
                      <a:pt x="2161" y="1888"/>
                    </a:lnTo>
                    <a:close/>
                    <a:moveTo>
                      <a:pt x="2719" y="1693"/>
                    </a:moveTo>
                    <a:cubicBezTo>
                      <a:pt x="2772" y="1693"/>
                      <a:pt x="2815" y="1736"/>
                      <a:pt x="2815" y="1789"/>
                    </a:cubicBezTo>
                    <a:cubicBezTo>
                      <a:pt x="2815" y="1842"/>
                      <a:pt x="2772" y="1884"/>
                      <a:pt x="2719" y="1884"/>
                    </a:cubicBezTo>
                    <a:cubicBezTo>
                      <a:pt x="2667" y="1884"/>
                      <a:pt x="2624" y="1842"/>
                      <a:pt x="2624" y="1789"/>
                    </a:cubicBezTo>
                    <a:cubicBezTo>
                      <a:pt x="2624" y="1736"/>
                      <a:pt x="2667" y="1693"/>
                      <a:pt x="2719" y="1693"/>
                    </a:cubicBezTo>
                    <a:close/>
                    <a:moveTo>
                      <a:pt x="2122" y="703"/>
                    </a:moveTo>
                    <a:cubicBezTo>
                      <a:pt x="2174" y="703"/>
                      <a:pt x="2217" y="745"/>
                      <a:pt x="2217" y="798"/>
                    </a:cubicBezTo>
                    <a:cubicBezTo>
                      <a:pt x="2217" y="851"/>
                      <a:pt x="2174" y="894"/>
                      <a:pt x="2122" y="894"/>
                    </a:cubicBezTo>
                    <a:cubicBezTo>
                      <a:pt x="2069" y="894"/>
                      <a:pt x="2026" y="851"/>
                      <a:pt x="2026" y="798"/>
                    </a:cubicBezTo>
                    <a:cubicBezTo>
                      <a:pt x="2026" y="745"/>
                      <a:pt x="2069" y="703"/>
                      <a:pt x="2122" y="703"/>
                    </a:cubicBezTo>
                    <a:close/>
                    <a:moveTo>
                      <a:pt x="797" y="284"/>
                    </a:moveTo>
                    <a:cubicBezTo>
                      <a:pt x="797" y="231"/>
                      <a:pt x="840" y="188"/>
                      <a:pt x="893" y="188"/>
                    </a:cubicBezTo>
                    <a:cubicBezTo>
                      <a:pt x="945" y="188"/>
                      <a:pt x="988" y="231"/>
                      <a:pt x="988" y="284"/>
                    </a:cubicBezTo>
                    <a:cubicBezTo>
                      <a:pt x="988" y="336"/>
                      <a:pt x="945" y="379"/>
                      <a:pt x="893" y="379"/>
                    </a:cubicBezTo>
                    <a:cubicBezTo>
                      <a:pt x="840" y="379"/>
                      <a:pt x="797" y="336"/>
                      <a:pt x="797" y="284"/>
                    </a:cubicBezTo>
                    <a:close/>
                    <a:moveTo>
                      <a:pt x="289" y="2074"/>
                    </a:moveTo>
                    <a:cubicBezTo>
                      <a:pt x="236" y="2074"/>
                      <a:pt x="193" y="2031"/>
                      <a:pt x="193" y="1979"/>
                    </a:cubicBezTo>
                    <a:cubicBezTo>
                      <a:pt x="193" y="1926"/>
                      <a:pt x="236" y="1883"/>
                      <a:pt x="289" y="1883"/>
                    </a:cubicBezTo>
                    <a:cubicBezTo>
                      <a:pt x="341" y="1883"/>
                      <a:pt x="384" y="1926"/>
                      <a:pt x="384" y="1979"/>
                    </a:cubicBezTo>
                    <a:cubicBezTo>
                      <a:pt x="384" y="2031"/>
                      <a:pt x="341" y="2074"/>
                      <a:pt x="289" y="2074"/>
                    </a:cubicBezTo>
                    <a:close/>
                    <a:moveTo>
                      <a:pt x="188" y="3953"/>
                    </a:moveTo>
                    <a:lnTo>
                      <a:pt x="2818" y="3953"/>
                    </a:lnTo>
                    <a:lnTo>
                      <a:pt x="2818" y="4517"/>
                    </a:lnTo>
                    <a:lnTo>
                      <a:pt x="188" y="4517"/>
                    </a:lnTo>
                    <a:lnTo>
                      <a:pt x="188" y="3953"/>
                    </a:lnTo>
                    <a:close/>
                    <a:moveTo>
                      <a:pt x="2638" y="4889"/>
                    </a:moveTo>
                    <a:lnTo>
                      <a:pt x="1791" y="4889"/>
                    </a:lnTo>
                    <a:lnTo>
                      <a:pt x="1791" y="5077"/>
                    </a:lnTo>
                    <a:lnTo>
                      <a:pt x="2818" y="5077"/>
                    </a:lnTo>
                    <a:lnTo>
                      <a:pt x="2818" y="5642"/>
                    </a:lnTo>
                    <a:lnTo>
                      <a:pt x="188" y="5642"/>
                    </a:lnTo>
                    <a:lnTo>
                      <a:pt x="188" y="5077"/>
                    </a:lnTo>
                    <a:lnTo>
                      <a:pt x="1227" y="5077"/>
                    </a:lnTo>
                    <a:lnTo>
                      <a:pt x="1227" y="4889"/>
                    </a:lnTo>
                    <a:lnTo>
                      <a:pt x="380" y="4889"/>
                    </a:lnTo>
                    <a:lnTo>
                      <a:pt x="380" y="4705"/>
                    </a:lnTo>
                    <a:lnTo>
                      <a:pt x="2638" y="4705"/>
                    </a:lnTo>
                    <a:lnTo>
                      <a:pt x="2638" y="4889"/>
                    </a:lnTo>
                    <a:close/>
                    <a:moveTo>
                      <a:pt x="2818" y="3393"/>
                    </a:moveTo>
                    <a:lnTo>
                      <a:pt x="1791" y="3393"/>
                    </a:lnTo>
                    <a:lnTo>
                      <a:pt x="1791" y="3581"/>
                    </a:lnTo>
                    <a:lnTo>
                      <a:pt x="2638" y="3581"/>
                    </a:lnTo>
                    <a:lnTo>
                      <a:pt x="2638" y="3765"/>
                    </a:lnTo>
                    <a:lnTo>
                      <a:pt x="380" y="3765"/>
                    </a:lnTo>
                    <a:lnTo>
                      <a:pt x="380" y="3581"/>
                    </a:lnTo>
                    <a:lnTo>
                      <a:pt x="1227" y="3581"/>
                    </a:lnTo>
                    <a:lnTo>
                      <a:pt x="1227" y="3393"/>
                    </a:lnTo>
                    <a:lnTo>
                      <a:pt x="188" y="3393"/>
                    </a:lnTo>
                    <a:lnTo>
                      <a:pt x="188" y="2828"/>
                    </a:lnTo>
                    <a:lnTo>
                      <a:pt x="2818" y="2828"/>
                    </a:lnTo>
                    <a:lnTo>
                      <a:pt x="2818" y="339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826143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zajwxi23jKNXvT03Zs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90</TotalTime>
  <Words>1894</Words>
  <Application>Microsoft Macintosh PowerPoint</Application>
  <PresentationFormat>Widescreen</PresentationFormat>
  <Paragraphs>223</Paragraphs>
  <Slides>2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9" baseType="lpstr">
      <vt:lpstr>Montserrat Black</vt:lpstr>
      <vt:lpstr>Montserrat</vt:lpstr>
      <vt:lpstr>Calibri</vt:lpstr>
      <vt:lpstr>Montserrat Medium</vt:lpstr>
      <vt:lpstr>Lato</vt:lpstr>
      <vt:lpstr>Lato Medium</vt:lpstr>
      <vt:lpstr>Lato Light</vt:lpstr>
      <vt:lpstr>Arial</vt:lpstr>
      <vt:lpstr>Tahoma</vt:lpstr>
      <vt:lpstr>Lato Black</vt:lpstr>
      <vt:lpstr>Calibri Light</vt:lpstr>
      <vt:lpstr>Thème Office</vt:lpstr>
      <vt:lpstr>Diapositive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C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DAKHISSI Aassem</dc:creator>
  <cp:lastModifiedBy>Ross Sampson</cp:lastModifiedBy>
  <cp:revision>169</cp:revision>
  <dcterms:created xsi:type="dcterms:W3CDTF">2020-06-04T09:30:55Z</dcterms:created>
  <dcterms:modified xsi:type="dcterms:W3CDTF">2021-02-05T07:20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NXPowerLiteLastOptimized" pid="2">
    <vt:lpwstr>13540936</vt:lpwstr>
  </property>
  <property fmtid="{D5CDD505-2E9C-101B-9397-08002B2CF9AE}" name="NXPowerLiteSettings" pid="3">
    <vt:lpwstr>C7000400038000</vt:lpwstr>
  </property>
  <property fmtid="{D5CDD505-2E9C-101B-9397-08002B2CF9AE}" name="NXPowerLiteVersion" pid="4">
    <vt:lpwstr>S9.0.3</vt:lpwstr>
  </property>
</Properties>
</file>